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8"/>
  </p:notesMasterIdLst>
  <p:handoutMasterIdLst>
    <p:handoutMasterId r:id="rId29"/>
  </p:handoutMasterIdLst>
  <p:sldIdLst>
    <p:sldId id="260" r:id="rId5"/>
    <p:sldId id="264" r:id="rId6"/>
    <p:sldId id="2146849628" r:id="rId7"/>
    <p:sldId id="3883" r:id="rId8"/>
    <p:sldId id="2146849611" r:id="rId9"/>
    <p:sldId id="2146849609" r:id="rId10"/>
    <p:sldId id="2146849612" r:id="rId11"/>
    <p:sldId id="265" r:id="rId12"/>
    <p:sldId id="2146849613" r:id="rId13"/>
    <p:sldId id="2146849614" r:id="rId14"/>
    <p:sldId id="2146849615" r:id="rId15"/>
    <p:sldId id="2146849616" r:id="rId16"/>
    <p:sldId id="2146849617" r:id="rId17"/>
    <p:sldId id="2146849629" r:id="rId18"/>
    <p:sldId id="2146849619" r:id="rId19"/>
    <p:sldId id="2146849621" r:id="rId20"/>
    <p:sldId id="2146849622" r:id="rId21"/>
    <p:sldId id="2146849626" r:id="rId22"/>
    <p:sldId id="2146849627" r:id="rId23"/>
    <p:sldId id="2146849624" r:id="rId24"/>
    <p:sldId id="2146849625" r:id="rId25"/>
    <p:sldId id="3633" r:id="rId26"/>
    <p:sldId id="2146849632"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9DF0"/>
    <a:srgbClr val="AFAFAF"/>
    <a:srgbClr val="A6A6A6"/>
    <a:srgbClr val="B7B7B7"/>
    <a:srgbClr val="00AEEF"/>
    <a:srgbClr val="D9EDE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480DD1-6EB6-40E9-AA5D-F0885641F18B}" v="55" dt="2022-11-26T08:59:55.65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3697" autoAdjust="0"/>
  </p:normalViewPr>
  <p:slideViewPr>
    <p:cSldViewPr snapToGrid="0" showGuides="1">
      <p:cViewPr varScale="1">
        <p:scale>
          <a:sx n="110" d="100"/>
          <a:sy n="110" d="100"/>
        </p:scale>
        <p:origin x="438"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00" d="100"/>
          <a:sy n="100" d="100"/>
        </p:scale>
        <p:origin x="5400" y="6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rs Boe Riber" userId="a0746655-6c86-46e8-9fa0-3fdc9fc77da6" providerId="ADAL" clId="{B603C8DF-16E3-4208-8001-E320ACF2A7C1}"/>
    <pc:docChg chg="undo redo custSel addSld delSld modSld">
      <pc:chgData name="Lars Boe Riber" userId="a0746655-6c86-46e8-9fa0-3fdc9fc77da6" providerId="ADAL" clId="{B603C8DF-16E3-4208-8001-E320ACF2A7C1}" dt="2022-11-17T14:55:27.417" v="8325" actId="207"/>
      <pc:docMkLst>
        <pc:docMk/>
      </pc:docMkLst>
      <pc:sldChg chg="modSp add del mod">
        <pc:chgData name="Lars Boe Riber" userId="a0746655-6c86-46e8-9fa0-3fdc9fc77da6" providerId="ADAL" clId="{B603C8DF-16E3-4208-8001-E320ACF2A7C1}" dt="2022-11-11T09:35:09.033" v="192" actId="47"/>
        <pc:sldMkLst>
          <pc:docMk/>
          <pc:sldMk cId="1088763729" sldId="261"/>
        </pc:sldMkLst>
        <pc:spChg chg="mod">
          <ac:chgData name="Lars Boe Riber" userId="a0746655-6c86-46e8-9fa0-3fdc9fc77da6" providerId="ADAL" clId="{B603C8DF-16E3-4208-8001-E320ACF2A7C1}" dt="2022-11-11T09:34:47.611" v="157" actId="2711"/>
          <ac:spMkLst>
            <pc:docMk/>
            <pc:sldMk cId="1088763729" sldId="261"/>
            <ac:spMk id="2" creationId="{F2A5F00C-DE1D-46B2-8BE6-3DE756964500}"/>
          </ac:spMkLst>
        </pc:spChg>
      </pc:sldChg>
      <pc:sldChg chg="addSp delSp modSp add del mod">
        <pc:chgData name="Lars Boe Riber" userId="a0746655-6c86-46e8-9fa0-3fdc9fc77da6" providerId="ADAL" clId="{B603C8DF-16E3-4208-8001-E320ACF2A7C1}" dt="2022-11-11T11:23:15.158" v="2902" actId="20577"/>
        <pc:sldMkLst>
          <pc:docMk/>
          <pc:sldMk cId="2391777431" sldId="264"/>
        </pc:sldMkLst>
        <pc:spChg chg="mod">
          <ac:chgData name="Lars Boe Riber" userId="a0746655-6c86-46e8-9fa0-3fdc9fc77da6" providerId="ADAL" clId="{B603C8DF-16E3-4208-8001-E320ACF2A7C1}" dt="2022-11-11T11:23:15.158" v="2902" actId="20577"/>
          <ac:spMkLst>
            <pc:docMk/>
            <pc:sldMk cId="2391777431" sldId="264"/>
            <ac:spMk id="3" creationId="{8CC17705-E959-42D8-9C78-958F4F59AA0D}"/>
          </ac:spMkLst>
        </pc:spChg>
        <pc:spChg chg="mod ord">
          <ac:chgData name="Lars Boe Riber" userId="a0746655-6c86-46e8-9fa0-3fdc9fc77da6" providerId="ADAL" clId="{B603C8DF-16E3-4208-8001-E320ACF2A7C1}" dt="2022-11-11T09:59:43.168" v="1363" actId="207"/>
          <ac:spMkLst>
            <pc:docMk/>
            <pc:sldMk cId="2391777431" sldId="264"/>
            <ac:spMk id="4" creationId="{33DD5336-13B4-4577-A4C8-18C47680D005}"/>
          </ac:spMkLst>
        </pc:spChg>
        <pc:picChg chg="add del mod ord replST">
          <ac:chgData name="Lars Boe Riber" userId="a0746655-6c86-46e8-9fa0-3fdc9fc77da6" providerId="ADAL" clId="{B603C8DF-16E3-4208-8001-E320ACF2A7C1}" dt="2022-11-11T09:15:15.580" v="17" actId="478"/>
          <ac:picMkLst>
            <pc:docMk/>
            <pc:sldMk cId="2391777431" sldId="264"/>
            <ac:picMk id="6" creationId="{64DAADF3-86AC-43CF-9A62-5860C6E9AA75}"/>
          </ac:picMkLst>
        </pc:picChg>
        <pc:picChg chg="add del mod ord replST">
          <ac:chgData name="Lars Boe Riber" userId="a0746655-6c86-46e8-9fa0-3fdc9fc77da6" providerId="ADAL" clId="{B603C8DF-16E3-4208-8001-E320ACF2A7C1}" dt="2022-11-11T09:15:22.900" v="34" actId="478"/>
          <ac:picMkLst>
            <pc:docMk/>
            <pc:sldMk cId="2391777431" sldId="264"/>
            <ac:picMk id="8" creationId="{87387D87-3EB9-4EE3-B6E9-5F8D1046AD55}"/>
          </ac:picMkLst>
        </pc:picChg>
        <pc:picChg chg="add del mod ord replST">
          <ac:chgData name="Lars Boe Riber" userId="a0746655-6c86-46e8-9fa0-3fdc9fc77da6" providerId="ADAL" clId="{B603C8DF-16E3-4208-8001-E320ACF2A7C1}" dt="2022-11-11T09:15:27.237" v="51" actId="478"/>
          <ac:picMkLst>
            <pc:docMk/>
            <pc:sldMk cId="2391777431" sldId="264"/>
            <ac:picMk id="10" creationId="{2A5BA576-651D-4D3A-89FE-C50843BB6671}"/>
          </ac:picMkLst>
        </pc:picChg>
        <pc:picChg chg="add del mod ord replST modCrop">
          <ac:chgData name="Lars Boe Riber" userId="a0746655-6c86-46e8-9fa0-3fdc9fc77da6" providerId="ADAL" clId="{B603C8DF-16E3-4208-8001-E320ACF2A7C1}" dt="2022-11-11T09:16:47.957" v="75" actId="478"/>
          <ac:picMkLst>
            <pc:docMk/>
            <pc:sldMk cId="2391777431" sldId="264"/>
            <ac:picMk id="12" creationId="{31635388-DBD0-459F-B0E5-E6755693A0B9}"/>
          </ac:picMkLst>
        </pc:picChg>
        <pc:picChg chg="del">
          <ac:chgData name="Lars Boe Riber" userId="a0746655-6c86-46e8-9fa0-3fdc9fc77da6" providerId="ADAL" clId="{B603C8DF-16E3-4208-8001-E320ACF2A7C1}" dt="2022-11-11T09:14:34.719" v="0" actId="478"/>
          <ac:picMkLst>
            <pc:docMk/>
            <pc:sldMk cId="2391777431" sldId="264"/>
            <ac:picMk id="13" creationId="{2E4687CC-70A0-4248-ABC4-23505B321FD2}"/>
          </ac:picMkLst>
        </pc:picChg>
        <pc:picChg chg="add mod ord replST">
          <ac:chgData name="Lars Boe Riber" userId="a0746655-6c86-46e8-9fa0-3fdc9fc77da6" providerId="ADAL" clId="{B603C8DF-16E3-4208-8001-E320ACF2A7C1}" dt="2022-11-11T09:59:49.228" v="1364" actId="1076"/>
          <ac:picMkLst>
            <pc:docMk/>
            <pc:sldMk cId="2391777431" sldId="264"/>
            <ac:picMk id="15" creationId="{D12F4742-B9AB-45BF-838B-11391813DF37}"/>
          </ac:picMkLst>
        </pc:picChg>
      </pc:sldChg>
      <pc:sldChg chg="addSp delSp modSp mod">
        <pc:chgData name="Lars Boe Riber" userId="a0746655-6c86-46e8-9fa0-3fdc9fc77da6" providerId="ADAL" clId="{B603C8DF-16E3-4208-8001-E320ACF2A7C1}" dt="2022-11-17T10:11:29.291" v="6485" actId="207"/>
        <pc:sldMkLst>
          <pc:docMk/>
          <pc:sldMk cId="2155786169" sldId="265"/>
        </pc:sldMkLst>
        <pc:spChg chg="mod">
          <ac:chgData name="Lars Boe Riber" userId="a0746655-6c86-46e8-9fa0-3fdc9fc77da6" providerId="ADAL" clId="{B603C8DF-16E3-4208-8001-E320ACF2A7C1}" dt="2022-11-11T09:41:42.188" v="323" actId="14100"/>
          <ac:spMkLst>
            <pc:docMk/>
            <pc:sldMk cId="2155786169" sldId="265"/>
            <ac:spMk id="2" creationId="{B6F763EE-0553-49D7-AD06-2F72BA2E0850}"/>
          </ac:spMkLst>
        </pc:spChg>
        <pc:spChg chg="del mod">
          <ac:chgData name="Lars Boe Riber" userId="a0746655-6c86-46e8-9fa0-3fdc9fc77da6" providerId="ADAL" clId="{B603C8DF-16E3-4208-8001-E320ACF2A7C1}" dt="2022-11-11T09:42:25.977" v="326"/>
          <ac:spMkLst>
            <pc:docMk/>
            <pc:sldMk cId="2155786169" sldId="265"/>
            <ac:spMk id="3" creationId="{42DB3391-6DE0-4C1D-9E0A-EC29006F777B}"/>
          </ac:spMkLst>
        </pc:spChg>
        <pc:spChg chg="mod ord">
          <ac:chgData name="Lars Boe Riber" userId="a0746655-6c86-46e8-9fa0-3fdc9fc77da6" providerId="ADAL" clId="{B603C8DF-16E3-4208-8001-E320ACF2A7C1}" dt="2022-11-11T09:59:24.493" v="1361" actId="207"/>
          <ac:spMkLst>
            <pc:docMk/>
            <pc:sldMk cId="2155786169" sldId="265"/>
            <ac:spMk id="4" creationId="{6A9A7116-CF6A-4877-9B16-6268A79AFDCD}"/>
          </ac:spMkLst>
        </pc:spChg>
        <pc:spChg chg="add mod">
          <ac:chgData name="Lars Boe Riber" userId="a0746655-6c86-46e8-9fa0-3fdc9fc77da6" providerId="ADAL" clId="{B603C8DF-16E3-4208-8001-E320ACF2A7C1}" dt="2022-11-17T08:44:00.186" v="4226" actId="207"/>
          <ac:spMkLst>
            <pc:docMk/>
            <pc:sldMk cId="2155786169" sldId="265"/>
            <ac:spMk id="5" creationId="{E674344D-1568-4800-9521-8D7B693922CB}"/>
          </ac:spMkLst>
        </pc:spChg>
        <pc:spChg chg="add del mod ord">
          <ac:chgData name="Lars Boe Riber" userId="a0746655-6c86-46e8-9fa0-3fdc9fc77da6" providerId="ADAL" clId="{B603C8DF-16E3-4208-8001-E320ACF2A7C1}" dt="2022-11-11T09:42:44.249" v="359"/>
          <ac:spMkLst>
            <pc:docMk/>
            <pc:sldMk cId="2155786169" sldId="265"/>
            <ac:spMk id="8" creationId="{53536CD6-4C76-47B1-A14E-619D07E1DA8F}"/>
          </ac:spMkLst>
        </pc:spChg>
        <pc:spChg chg="add del mod ord">
          <ac:chgData name="Lars Boe Riber" userId="a0746655-6c86-46e8-9fa0-3fdc9fc77da6" providerId="ADAL" clId="{B603C8DF-16E3-4208-8001-E320ACF2A7C1}" dt="2022-11-11T09:42:48.206" v="391"/>
          <ac:spMkLst>
            <pc:docMk/>
            <pc:sldMk cId="2155786169" sldId="265"/>
            <ac:spMk id="11" creationId="{D8AE5FB1-6FAB-4C75-8C49-D236EC063A6F}"/>
          </ac:spMkLst>
        </pc:spChg>
        <pc:spChg chg="add del mod ord">
          <ac:chgData name="Lars Boe Riber" userId="a0746655-6c86-46e8-9fa0-3fdc9fc77da6" providerId="ADAL" clId="{B603C8DF-16E3-4208-8001-E320ACF2A7C1}" dt="2022-11-11T09:42:56.017" v="423"/>
          <ac:spMkLst>
            <pc:docMk/>
            <pc:sldMk cId="2155786169" sldId="265"/>
            <ac:spMk id="14" creationId="{A7EBCA1D-8097-4CA8-AD9E-28B4B5EC50A3}"/>
          </ac:spMkLst>
        </pc:spChg>
        <pc:spChg chg="add del mod ord">
          <ac:chgData name="Lars Boe Riber" userId="a0746655-6c86-46e8-9fa0-3fdc9fc77da6" providerId="ADAL" clId="{B603C8DF-16E3-4208-8001-E320ACF2A7C1}" dt="2022-11-11T09:43:31.226" v="456"/>
          <ac:spMkLst>
            <pc:docMk/>
            <pc:sldMk cId="2155786169" sldId="265"/>
            <ac:spMk id="17" creationId="{A108A9DF-F9D9-4DFC-9358-93C70A0777A5}"/>
          </ac:spMkLst>
        </pc:spChg>
        <pc:spChg chg="add del mod ord">
          <ac:chgData name="Lars Boe Riber" userId="a0746655-6c86-46e8-9fa0-3fdc9fc77da6" providerId="ADAL" clId="{B603C8DF-16E3-4208-8001-E320ACF2A7C1}" dt="2022-11-11T09:43:55.188" v="489"/>
          <ac:spMkLst>
            <pc:docMk/>
            <pc:sldMk cId="2155786169" sldId="265"/>
            <ac:spMk id="20" creationId="{5038CCC1-647C-43C7-AB45-9C22E688FB65}"/>
          </ac:spMkLst>
        </pc:spChg>
        <pc:spChg chg="add del mod ord">
          <ac:chgData name="Lars Boe Riber" userId="a0746655-6c86-46e8-9fa0-3fdc9fc77da6" providerId="ADAL" clId="{B603C8DF-16E3-4208-8001-E320ACF2A7C1}" dt="2022-11-11T09:44:51.105" v="575"/>
          <ac:spMkLst>
            <pc:docMk/>
            <pc:sldMk cId="2155786169" sldId="265"/>
            <ac:spMk id="23" creationId="{AC307E33-AB1C-4F69-95D9-B817C2766DF7}"/>
          </ac:spMkLst>
        </pc:spChg>
        <pc:spChg chg="add del mod ord">
          <ac:chgData name="Lars Boe Riber" userId="a0746655-6c86-46e8-9fa0-3fdc9fc77da6" providerId="ADAL" clId="{B603C8DF-16E3-4208-8001-E320ACF2A7C1}" dt="2022-11-11T09:45:56.322" v="609"/>
          <ac:spMkLst>
            <pc:docMk/>
            <pc:sldMk cId="2155786169" sldId="265"/>
            <ac:spMk id="26" creationId="{A5323DD1-48A6-47AF-A3B8-580FF8EAD605}"/>
          </ac:spMkLst>
        </pc:spChg>
        <pc:spChg chg="add del mod ord">
          <ac:chgData name="Lars Boe Riber" userId="a0746655-6c86-46e8-9fa0-3fdc9fc77da6" providerId="ADAL" clId="{B603C8DF-16E3-4208-8001-E320ACF2A7C1}" dt="2022-11-11T09:46:16.672" v="649"/>
          <ac:spMkLst>
            <pc:docMk/>
            <pc:sldMk cId="2155786169" sldId="265"/>
            <ac:spMk id="29" creationId="{9B923803-CC23-4D0E-86B1-9C38B52F99CD}"/>
          </ac:spMkLst>
        </pc:spChg>
        <pc:spChg chg="add del mod ord">
          <ac:chgData name="Lars Boe Riber" userId="a0746655-6c86-46e8-9fa0-3fdc9fc77da6" providerId="ADAL" clId="{B603C8DF-16E3-4208-8001-E320ACF2A7C1}" dt="2022-11-11T09:46:23.604" v="681"/>
          <ac:spMkLst>
            <pc:docMk/>
            <pc:sldMk cId="2155786169" sldId="265"/>
            <ac:spMk id="32" creationId="{9A4A3D93-7E25-478E-8977-12448094D979}"/>
          </ac:spMkLst>
        </pc:spChg>
        <pc:spChg chg="add del mod ord">
          <ac:chgData name="Lars Boe Riber" userId="a0746655-6c86-46e8-9fa0-3fdc9fc77da6" providerId="ADAL" clId="{B603C8DF-16E3-4208-8001-E320ACF2A7C1}" dt="2022-11-11T09:46:30.621" v="713"/>
          <ac:spMkLst>
            <pc:docMk/>
            <pc:sldMk cId="2155786169" sldId="265"/>
            <ac:spMk id="35" creationId="{4A153DAA-ADBE-4339-84D9-EFFC6C934F7E}"/>
          </ac:spMkLst>
        </pc:spChg>
        <pc:spChg chg="add mod ord">
          <ac:chgData name="Lars Boe Riber" userId="a0746655-6c86-46e8-9fa0-3fdc9fc77da6" providerId="ADAL" clId="{B603C8DF-16E3-4208-8001-E320ACF2A7C1}" dt="2022-11-17T10:11:29.291" v="6485" actId="207"/>
          <ac:spMkLst>
            <pc:docMk/>
            <pc:sldMk cId="2155786169" sldId="265"/>
            <ac:spMk id="38" creationId="{31A0B557-2F7C-4B94-A5A2-F7A21780B114}"/>
          </ac:spMkLst>
        </pc:spChg>
        <pc:spChg chg="add del">
          <ac:chgData name="Lars Boe Riber" userId="a0746655-6c86-46e8-9fa0-3fdc9fc77da6" providerId="ADAL" clId="{B603C8DF-16E3-4208-8001-E320ACF2A7C1}" dt="2022-11-11T10:09:07.506" v="1949" actId="22"/>
          <ac:spMkLst>
            <pc:docMk/>
            <pc:sldMk cId="2155786169" sldId="265"/>
            <ac:spMk id="44" creationId="{88A0B907-73B7-46FE-9FCF-2222EC2679BD}"/>
          </ac:spMkLst>
        </pc:spChg>
        <pc:spChg chg="add del">
          <ac:chgData name="Lars Boe Riber" userId="a0746655-6c86-46e8-9fa0-3fdc9fc77da6" providerId="ADAL" clId="{B603C8DF-16E3-4208-8001-E320ACF2A7C1}" dt="2022-11-11T10:09:09.449" v="1951" actId="22"/>
          <ac:spMkLst>
            <pc:docMk/>
            <pc:sldMk cId="2155786169" sldId="265"/>
            <ac:spMk id="46" creationId="{217F097D-A5F1-48A8-B338-8DBD5C7605F9}"/>
          </ac:spMkLst>
        </pc:spChg>
        <pc:spChg chg="add del mod">
          <ac:chgData name="Lars Boe Riber" userId="a0746655-6c86-46e8-9fa0-3fdc9fc77da6" providerId="ADAL" clId="{B603C8DF-16E3-4208-8001-E320ACF2A7C1}" dt="2022-11-11T10:09:44.958" v="1962"/>
          <ac:spMkLst>
            <pc:docMk/>
            <pc:sldMk cId="2155786169" sldId="265"/>
            <ac:spMk id="48" creationId="{716E2540-BA2F-4121-B45D-6E31B34318AB}"/>
          </ac:spMkLst>
        </pc:spChg>
        <pc:spChg chg="add mod">
          <ac:chgData name="Lars Boe Riber" userId="a0746655-6c86-46e8-9fa0-3fdc9fc77da6" providerId="ADAL" clId="{B603C8DF-16E3-4208-8001-E320ACF2A7C1}" dt="2022-11-11T10:13:12.034" v="2235" actId="120"/>
          <ac:spMkLst>
            <pc:docMk/>
            <pc:sldMk cId="2155786169" sldId="265"/>
            <ac:spMk id="49" creationId="{C9F9DCA6-1BDB-4FD5-814D-7C8EBA84849E}"/>
          </ac:spMkLst>
        </pc:spChg>
        <pc:picChg chg="add del mod ord replST">
          <ac:chgData name="Lars Boe Riber" userId="a0746655-6c86-46e8-9fa0-3fdc9fc77da6" providerId="ADAL" clId="{B603C8DF-16E3-4208-8001-E320ACF2A7C1}" dt="2022-11-11T09:42:36.825" v="357" actId="478"/>
          <ac:picMkLst>
            <pc:docMk/>
            <pc:sldMk cId="2155786169" sldId="265"/>
            <ac:picMk id="7" creationId="{0E5F19F3-51FC-40F2-96D5-3482072337F8}"/>
          </ac:picMkLst>
        </pc:picChg>
        <pc:picChg chg="add del mod ord replST">
          <ac:chgData name="Lars Boe Riber" userId="a0746655-6c86-46e8-9fa0-3fdc9fc77da6" providerId="ADAL" clId="{B603C8DF-16E3-4208-8001-E320ACF2A7C1}" dt="2022-11-11T09:42:46.257" v="389" actId="478"/>
          <ac:picMkLst>
            <pc:docMk/>
            <pc:sldMk cId="2155786169" sldId="265"/>
            <ac:picMk id="10" creationId="{772EDB63-7D2A-4C2D-AFED-BBF1EFF3075B}"/>
          </ac:picMkLst>
        </pc:picChg>
        <pc:picChg chg="add del mod ord replST">
          <ac:chgData name="Lars Boe Riber" userId="a0746655-6c86-46e8-9fa0-3fdc9fc77da6" providerId="ADAL" clId="{B603C8DF-16E3-4208-8001-E320ACF2A7C1}" dt="2022-11-11T09:42:52.800" v="421" actId="478"/>
          <ac:picMkLst>
            <pc:docMk/>
            <pc:sldMk cId="2155786169" sldId="265"/>
            <ac:picMk id="13" creationId="{4526D06E-DB6D-43E8-A9B9-283CA58D1F74}"/>
          </ac:picMkLst>
        </pc:picChg>
        <pc:picChg chg="add del mod ord replST">
          <ac:chgData name="Lars Boe Riber" userId="a0746655-6c86-46e8-9fa0-3fdc9fc77da6" providerId="ADAL" clId="{B603C8DF-16E3-4208-8001-E320ACF2A7C1}" dt="2022-11-11T09:43:10.345" v="454" actId="478"/>
          <ac:picMkLst>
            <pc:docMk/>
            <pc:sldMk cId="2155786169" sldId="265"/>
            <ac:picMk id="16" creationId="{8679FFA5-520F-4598-AB48-4C0594CD0D4A}"/>
          </ac:picMkLst>
        </pc:picChg>
        <pc:picChg chg="add del mod ord replST">
          <ac:chgData name="Lars Boe Riber" userId="a0746655-6c86-46e8-9fa0-3fdc9fc77da6" providerId="ADAL" clId="{B603C8DF-16E3-4208-8001-E320ACF2A7C1}" dt="2022-11-11T09:43:36.787" v="487" actId="478"/>
          <ac:picMkLst>
            <pc:docMk/>
            <pc:sldMk cId="2155786169" sldId="265"/>
            <ac:picMk id="19" creationId="{7234331E-4E13-4C73-BF88-02EDA24125CB}"/>
          </ac:picMkLst>
        </pc:picChg>
        <pc:picChg chg="add del mod ord replST">
          <ac:chgData name="Lars Boe Riber" userId="a0746655-6c86-46e8-9fa0-3fdc9fc77da6" providerId="ADAL" clId="{B603C8DF-16E3-4208-8001-E320ACF2A7C1}" dt="2022-11-11T09:44:47.844" v="573" actId="478"/>
          <ac:picMkLst>
            <pc:docMk/>
            <pc:sldMk cId="2155786169" sldId="265"/>
            <ac:picMk id="22" creationId="{480A32DE-1D20-4529-91CF-9C292B75DDE4}"/>
          </ac:picMkLst>
        </pc:picChg>
        <pc:picChg chg="add del mod ord replST">
          <ac:chgData name="Lars Boe Riber" userId="a0746655-6c86-46e8-9fa0-3fdc9fc77da6" providerId="ADAL" clId="{B603C8DF-16E3-4208-8001-E320ACF2A7C1}" dt="2022-11-11T09:45:55.269" v="607" actId="478"/>
          <ac:picMkLst>
            <pc:docMk/>
            <pc:sldMk cId="2155786169" sldId="265"/>
            <ac:picMk id="25" creationId="{7028BBE9-EF3C-4165-86C8-7E65B131ABD4}"/>
          </ac:picMkLst>
        </pc:picChg>
        <pc:picChg chg="add del mod ord replST">
          <ac:chgData name="Lars Boe Riber" userId="a0746655-6c86-46e8-9fa0-3fdc9fc77da6" providerId="ADAL" clId="{B603C8DF-16E3-4208-8001-E320ACF2A7C1}" dt="2022-11-11T09:46:13.598" v="647" actId="478"/>
          <ac:picMkLst>
            <pc:docMk/>
            <pc:sldMk cId="2155786169" sldId="265"/>
            <ac:picMk id="28" creationId="{0C025B9D-1A89-4922-B89C-148F0DD42CFE}"/>
          </ac:picMkLst>
        </pc:picChg>
        <pc:picChg chg="add del mod ord replST">
          <ac:chgData name="Lars Boe Riber" userId="a0746655-6c86-46e8-9fa0-3fdc9fc77da6" providerId="ADAL" clId="{B603C8DF-16E3-4208-8001-E320ACF2A7C1}" dt="2022-11-11T09:46:19.389" v="679" actId="478"/>
          <ac:picMkLst>
            <pc:docMk/>
            <pc:sldMk cId="2155786169" sldId="265"/>
            <ac:picMk id="31" creationId="{E60D77D8-0F9A-4E64-8FB8-C749FFA11D35}"/>
          </ac:picMkLst>
        </pc:picChg>
        <pc:picChg chg="add del mod ord replST">
          <ac:chgData name="Lars Boe Riber" userId="a0746655-6c86-46e8-9fa0-3fdc9fc77da6" providerId="ADAL" clId="{B603C8DF-16E3-4208-8001-E320ACF2A7C1}" dt="2022-11-11T09:46:27.142" v="711" actId="478"/>
          <ac:picMkLst>
            <pc:docMk/>
            <pc:sldMk cId="2155786169" sldId="265"/>
            <ac:picMk id="34" creationId="{21AF8192-1EA6-4104-BD2D-6E6D8853D62D}"/>
          </ac:picMkLst>
        </pc:picChg>
        <pc:picChg chg="add del mod ord replST modCrop">
          <ac:chgData name="Lars Boe Riber" userId="a0746655-6c86-46e8-9fa0-3fdc9fc77da6" providerId="ADAL" clId="{B603C8DF-16E3-4208-8001-E320ACF2A7C1}" dt="2022-11-11T09:57:31.681" v="1337" actId="478"/>
          <ac:picMkLst>
            <pc:docMk/>
            <pc:sldMk cId="2155786169" sldId="265"/>
            <ac:picMk id="37" creationId="{E60DF583-4EBD-4109-96B3-5EEEC55DF067}"/>
          </ac:picMkLst>
        </pc:picChg>
        <pc:picChg chg="add mod ord replST modCrop">
          <ac:chgData name="Lars Boe Riber" userId="a0746655-6c86-46e8-9fa0-3fdc9fc77da6" providerId="ADAL" clId="{B603C8DF-16E3-4208-8001-E320ACF2A7C1}" dt="2022-11-11T09:59:14.242" v="1359" actId="732"/>
          <ac:picMkLst>
            <pc:docMk/>
            <pc:sldMk cId="2155786169" sldId="265"/>
            <ac:picMk id="40" creationId="{F71C8189-16BB-4E0D-8946-62EC13FCAAA0}"/>
          </ac:picMkLst>
        </pc:picChg>
        <pc:picChg chg="add mod">
          <ac:chgData name="Lars Boe Riber" userId="a0746655-6c86-46e8-9fa0-3fdc9fc77da6" providerId="ADAL" clId="{B603C8DF-16E3-4208-8001-E320ACF2A7C1}" dt="2022-11-11T09:58:58.279" v="1358" actId="14100"/>
          <ac:picMkLst>
            <pc:docMk/>
            <pc:sldMk cId="2155786169" sldId="265"/>
            <ac:picMk id="42" creationId="{9FE41966-A6AF-487E-BDFF-0AA70154D4B3}"/>
          </ac:picMkLst>
        </pc:picChg>
      </pc:sldChg>
      <pc:sldChg chg="addSp delSp modSp add mod">
        <pc:chgData name="Lars Boe Riber" userId="a0746655-6c86-46e8-9fa0-3fdc9fc77da6" providerId="ADAL" clId="{B603C8DF-16E3-4208-8001-E320ACF2A7C1}" dt="2022-11-17T09:35:50.660" v="5344" actId="20577"/>
        <pc:sldMkLst>
          <pc:docMk/>
          <pc:sldMk cId="3740626961" sldId="3633"/>
        </pc:sldMkLst>
        <pc:spChg chg="mod">
          <ac:chgData name="Lars Boe Riber" userId="a0746655-6c86-46e8-9fa0-3fdc9fc77da6" providerId="ADAL" clId="{B603C8DF-16E3-4208-8001-E320ACF2A7C1}" dt="2022-11-17T09:25:33.335" v="4812" actId="404"/>
          <ac:spMkLst>
            <pc:docMk/>
            <pc:sldMk cId="3740626961" sldId="3633"/>
            <ac:spMk id="3" creationId="{2B2E5716-378F-442A-AD23-1C1C5A9D168C}"/>
          </ac:spMkLst>
        </pc:spChg>
        <pc:spChg chg="mod">
          <ac:chgData name="Lars Boe Riber" userId="a0746655-6c86-46e8-9fa0-3fdc9fc77da6" providerId="ADAL" clId="{B603C8DF-16E3-4208-8001-E320ACF2A7C1}" dt="2022-11-17T09:26:40.740" v="4945" actId="1038"/>
          <ac:spMkLst>
            <pc:docMk/>
            <pc:sldMk cId="3740626961" sldId="3633"/>
            <ac:spMk id="6" creationId="{2CD1E48A-3C64-41EA-A00F-43E2B09F993A}"/>
          </ac:spMkLst>
        </pc:spChg>
        <pc:spChg chg="add mod">
          <ac:chgData name="Lars Boe Riber" userId="a0746655-6c86-46e8-9fa0-3fdc9fc77da6" providerId="ADAL" clId="{B603C8DF-16E3-4208-8001-E320ACF2A7C1}" dt="2022-11-17T09:26:02.267" v="4892" actId="20577"/>
          <ac:spMkLst>
            <pc:docMk/>
            <pc:sldMk cId="3740626961" sldId="3633"/>
            <ac:spMk id="7" creationId="{D66F87CF-16CD-46CF-9FAE-0CD4D1BC30BF}"/>
          </ac:spMkLst>
        </pc:spChg>
        <pc:spChg chg="add mod">
          <ac:chgData name="Lars Boe Riber" userId="a0746655-6c86-46e8-9fa0-3fdc9fc77da6" providerId="ADAL" clId="{B603C8DF-16E3-4208-8001-E320ACF2A7C1}" dt="2022-11-17T09:35:50.660" v="5344" actId="20577"/>
          <ac:spMkLst>
            <pc:docMk/>
            <pc:sldMk cId="3740626961" sldId="3633"/>
            <ac:spMk id="8" creationId="{C0A5136C-E9F2-4228-B587-A9B15E86DC4F}"/>
          </ac:spMkLst>
        </pc:spChg>
        <pc:picChg chg="add mod">
          <ac:chgData name="Lars Boe Riber" userId="a0746655-6c86-46e8-9fa0-3fdc9fc77da6" providerId="ADAL" clId="{B603C8DF-16E3-4208-8001-E320ACF2A7C1}" dt="2022-11-17T09:27:22.106" v="4954" actId="1076"/>
          <ac:picMkLst>
            <pc:docMk/>
            <pc:sldMk cId="3740626961" sldId="3633"/>
            <ac:picMk id="5" creationId="{866C0366-A096-4CEE-AC95-7E0311778E4C}"/>
          </ac:picMkLst>
        </pc:picChg>
        <pc:picChg chg="add del mod">
          <ac:chgData name="Lars Boe Riber" userId="a0746655-6c86-46e8-9fa0-3fdc9fc77da6" providerId="ADAL" clId="{B603C8DF-16E3-4208-8001-E320ACF2A7C1}" dt="2022-11-17T09:27:20.473" v="4953" actId="478"/>
          <ac:picMkLst>
            <pc:docMk/>
            <pc:sldMk cId="3740626961" sldId="3633"/>
            <ac:picMk id="9" creationId="{3D2A98F7-8CFA-4DEF-BC7F-BCB8D40476A4}"/>
          </ac:picMkLst>
        </pc:picChg>
        <pc:picChg chg="mod">
          <ac:chgData name="Lars Boe Riber" userId="a0746655-6c86-46e8-9fa0-3fdc9fc77da6" providerId="ADAL" clId="{B603C8DF-16E3-4208-8001-E320ACF2A7C1}" dt="2022-11-17T09:26:40.740" v="4945" actId="1038"/>
          <ac:picMkLst>
            <pc:docMk/>
            <pc:sldMk cId="3740626961" sldId="3633"/>
            <ac:picMk id="11" creationId="{5F3DAB7A-8954-434F-BCF6-D8AF199BDBE3}"/>
          </ac:picMkLst>
        </pc:picChg>
      </pc:sldChg>
      <pc:sldChg chg="modSp add mod">
        <pc:chgData name="Lars Boe Riber" userId="a0746655-6c86-46e8-9fa0-3fdc9fc77da6" providerId="ADAL" clId="{B603C8DF-16E3-4208-8001-E320ACF2A7C1}" dt="2022-11-11T10:14:36.705" v="2251" actId="404"/>
        <pc:sldMkLst>
          <pc:docMk/>
          <pc:sldMk cId="2295548715" sldId="3883"/>
        </pc:sldMkLst>
        <pc:spChg chg="mod">
          <ac:chgData name="Lars Boe Riber" userId="a0746655-6c86-46e8-9fa0-3fdc9fc77da6" providerId="ADAL" clId="{B603C8DF-16E3-4208-8001-E320ACF2A7C1}" dt="2022-11-11T10:14:36.705" v="2251" actId="404"/>
          <ac:spMkLst>
            <pc:docMk/>
            <pc:sldMk cId="2295548715" sldId="3883"/>
            <ac:spMk id="6" creationId="{5486C23E-09D4-4D07-98BF-091CFA984150}"/>
          </ac:spMkLst>
        </pc:spChg>
      </pc:sldChg>
      <pc:sldChg chg="modSp add mod">
        <pc:chgData name="Lars Boe Riber" userId="a0746655-6c86-46e8-9fa0-3fdc9fc77da6" providerId="ADAL" clId="{B603C8DF-16E3-4208-8001-E320ACF2A7C1}" dt="2022-11-11T10:14:33.710" v="2250" actId="404"/>
        <pc:sldMkLst>
          <pc:docMk/>
          <pc:sldMk cId="3341388410" sldId="2146849609"/>
        </pc:sldMkLst>
        <pc:spChg chg="mod">
          <ac:chgData name="Lars Boe Riber" userId="a0746655-6c86-46e8-9fa0-3fdc9fc77da6" providerId="ADAL" clId="{B603C8DF-16E3-4208-8001-E320ACF2A7C1}" dt="2022-11-11T10:14:33.710" v="2250" actId="404"/>
          <ac:spMkLst>
            <pc:docMk/>
            <pc:sldMk cId="3341388410" sldId="2146849609"/>
            <ac:spMk id="2" creationId="{7F856200-BFB5-4399-9599-DF4F212BE114}"/>
          </ac:spMkLst>
        </pc:spChg>
      </pc:sldChg>
      <pc:sldChg chg="addSp delSp modSp new mod">
        <pc:chgData name="Lars Boe Riber" userId="a0746655-6c86-46e8-9fa0-3fdc9fc77da6" providerId="ADAL" clId="{B603C8DF-16E3-4208-8001-E320ACF2A7C1}" dt="2022-11-17T14:40:37.794" v="8270" actId="1038"/>
        <pc:sldMkLst>
          <pc:docMk/>
          <pc:sldMk cId="1008292413" sldId="2146849610"/>
        </pc:sldMkLst>
        <pc:spChg chg="mod">
          <ac:chgData name="Lars Boe Riber" userId="a0746655-6c86-46e8-9fa0-3fdc9fc77da6" providerId="ADAL" clId="{B603C8DF-16E3-4208-8001-E320ACF2A7C1}" dt="2022-11-11T09:35:03.865" v="189" actId="20577"/>
          <ac:spMkLst>
            <pc:docMk/>
            <pc:sldMk cId="1008292413" sldId="2146849610"/>
            <ac:spMk id="2" creationId="{92D401DD-79DD-447A-B681-2DF7BE4E0350}"/>
          </ac:spMkLst>
        </pc:spChg>
        <pc:spChg chg="del">
          <ac:chgData name="Lars Boe Riber" userId="a0746655-6c86-46e8-9fa0-3fdc9fc77da6" providerId="ADAL" clId="{B603C8DF-16E3-4208-8001-E320ACF2A7C1}" dt="2022-11-11T09:34:57.466" v="161" actId="478"/>
          <ac:spMkLst>
            <pc:docMk/>
            <pc:sldMk cId="1008292413" sldId="2146849610"/>
            <ac:spMk id="3" creationId="{E9AC4F85-246C-43F6-A1CA-33D08113D2C6}"/>
          </ac:spMkLst>
        </pc:spChg>
        <pc:spChg chg="add del mod">
          <ac:chgData name="Lars Boe Riber" userId="a0746655-6c86-46e8-9fa0-3fdc9fc77da6" providerId="ADAL" clId="{B603C8DF-16E3-4208-8001-E320ACF2A7C1}" dt="2022-11-11T09:34:55.900" v="160"/>
          <ac:spMkLst>
            <pc:docMk/>
            <pc:sldMk cId="1008292413" sldId="2146849610"/>
            <ac:spMk id="5" creationId="{1DB144DD-6AA1-4D41-98A2-A4A02F7D9647}"/>
          </ac:spMkLst>
        </pc:spChg>
        <pc:spChg chg="add del mod">
          <ac:chgData name="Lars Boe Riber" userId="a0746655-6c86-46e8-9fa0-3fdc9fc77da6" providerId="ADAL" clId="{B603C8DF-16E3-4208-8001-E320ACF2A7C1}" dt="2022-11-11T09:34:55.900" v="160"/>
          <ac:spMkLst>
            <pc:docMk/>
            <pc:sldMk cId="1008292413" sldId="2146849610"/>
            <ac:spMk id="6" creationId="{DD143991-F104-4A2D-86EA-93EBB8BAC113}"/>
          </ac:spMkLst>
        </pc:spChg>
        <pc:spChg chg="add del mod">
          <ac:chgData name="Lars Boe Riber" userId="a0746655-6c86-46e8-9fa0-3fdc9fc77da6" providerId="ADAL" clId="{B603C8DF-16E3-4208-8001-E320ACF2A7C1}" dt="2022-11-11T09:34:55.900" v="160"/>
          <ac:spMkLst>
            <pc:docMk/>
            <pc:sldMk cId="1008292413" sldId="2146849610"/>
            <ac:spMk id="7" creationId="{A0F5FFC5-CAE8-4899-A594-78707C878BCA}"/>
          </ac:spMkLst>
        </pc:spChg>
        <pc:spChg chg="add del mod">
          <ac:chgData name="Lars Boe Riber" userId="a0746655-6c86-46e8-9fa0-3fdc9fc77da6" providerId="ADAL" clId="{B603C8DF-16E3-4208-8001-E320ACF2A7C1}" dt="2022-11-11T09:34:55.900" v="160"/>
          <ac:spMkLst>
            <pc:docMk/>
            <pc:sldMk cId="1008292413" sldId="2146849610"/>
            <ac:spMk id="10" creationId="{0FCA1B7D-0781-45E1-BD72-B857CB26F70D}"/>
          </ac:spMkLst>
        </pc:spChg>
        <pc:spChg chg="add del mod">
          <ac:chgData name="Lars Boe Riber" userId="a0746655-6c86-46e8-9fa0-3fdc9fc77da6" providerId="ADAL" clId="{B603C8DF-16E3-4208-8001-E320ACF2A7C1}" dt="2022-11-11T09:34:55.900" v="160"/>
          <ac:spMkLst>
            <pc:docMk/>
            <pc:sldMk cId="1008292413" sldId="2146849610"/>
            <ac:spMk id="11" creationId="{44707456-45EC-4BFB-8CAA-6967144FBFDB}"/>
          </ac:spMkLst>
        </pc:spChg>
        <pc:spChg chg="add del mod">
          <ac:chgData name="Lars Boe Riber" userId="a0746655-6c86-46e8-9fa0-3fdc9fc77da6" providerId="ADAL" clId="{B603C8DF-16E3-4208-8001-E320ACF2A7C1}" dt="2022-11-11T09:34:55.900" v="160"/>
          <ac:spMkLst>
            <pc:docMk/>
            <pc:sldMk cId="1008292413" sldId="2146849610"/>
            <ac:spMk id="12" creationId="{8E8A2605-AD9C-49CA-B7B3-EFCFE86B2956}"/>
          </ac:spMkLst>
        </pc:spChg>
        <pc:spChg chg="add mod">
          <ac:chgData name="Lars Boe Riber" userId="a0746655-6c86-46e8-9fa0-3fdc9fc77da6" providerId="ADAL" clId="{B603C8DF-16E3-4208-8001-E320ACF2A7C1}" dt="2022-11-11T09:36:35.752" v="214" actId="1035"/>
          <ac:spMkLst>
            <pc:docMk/>
            <pc:sldMk cId="1008292413" sldId="2146849610"/>
            <ac:spMk id="15" creationId="{71A1F6E4-474B-4326-A45E-937311206635}"/>
          </ac:spMkLst>
        </pc:spChg>
        <pc:spChg chg="add mod">
          <ac:chgData name="Lars Boe Riber" userId="a0746655-6c86-46e8-9fa0-3fdc9fc77da6" providerId="ADAL" clId="{B603C8DF-16E3-4208-8001-E320ACF2A7C1}" dt="2022-11-11T09:36:35.752" v="214" actId="1035"/>
          <ac:spMkLst>
            <pc:docMk/>
            <pc:sldMk cId="1008292413" sldId="2146849610"/>
            <ac:spMk id="16" creationId="{CF4E23B0-4D2F-4B64-94D9-C571AC790418}"/>
          </ac:spMkLst>
        </pc:spChg>
        <pc:spChg chg="add mod">
          <ac:chgData name="Lars Boe Riber" userId="a0746655-6c86-46e8-9fa0-3fdc9fc77da6" providerId="ADAL" clId="{B603C8DF-16E3-4208-8001-E320ACF2A7C1}" dt="2022-11-11T09:36:35.752" v="214" actId="1035"/>
          <ac:spMkLst>
            <pc:docMk/>
            <pc:sldMk cId="1008292413" sldId="2146849610"/>
            <ac:spMk id="17" creationId="{DD83E31B-CB12-4296-A050-51E0E379E2AB}"/>
          </ac:spMkLst>
        </pc:spChg>
        <pc:spChg chg="add mod">
          <ac:chgData name="Lars Boe Riber" userId="a0746655-6c86-46e8-9fa0-3fdc9fc77da6" providerId="ADAL" clId="{B603C8DF-16E3-4208-8001-E320ACF2A7C1}" dt="2022-11-11T09:36:35.752" v="214" actId="1035"/>
          <ac:spMkLst>
            <pc:docMk/>
            <pc:sldMk cId="1008292413" sldId="2146849610"/>
            <ac:spMk id="20" creationId="{DAD026C0-A856-4BE3-9F65-53B8C0AADDAB}"/>
          </ac:spMkLst>
        </pc:spChg>
        <pc:spChg chg="add mod">
          <ac:chgData name="Lars Boe Riber" userId="a0746655-6c86-46e8-9fa0-3fdc9fc77da6" providerId="ADAL" clId="{B603C8DF-16E3-4208-8001-E320ACF2A7C1}" dt="2022-11-11T09:36:35.752" v="214" actId="1035"/>
          <ac:spMkLst>
            <pc:docMk/>
            <pc:sldMk cId="1008292413" sldId="2146849610"/>
            <ac:spMk id="21" creationId="{D93D7409-15E2-4DC4-9303-1F20C6B00ED3}"/>
          </ac:spMkLst>
        </pc:spChg>
        <pc:spChg chg="add mod">
          <ac:chgData name="Lars Boe Riber" userId="a0746655-6c86-46e8-9fa0-3fdc9fc77da6" providerId="ADAL" clId="{B603C8DF-16E3-4208-8001-E320ACF2A7C1}" dt="2022-11-11T09:36:35.752" v="214" actId="1035"/>
          <ac:spMkLst>
            <pc:docMk/>
            <pc:sldMk cId="1008292413" sldId="2146849610"/>
            <ac:spMk id="22" creationId="{7F69521A-BD07-4AC6-BAF5-1971D694F0FC}"/>
          </ac:spMkLst>
        </pc:spChg>
        <pc:picChg chg="add del mod">
          <ac:chgData name="Lars Boe Riber" userId="a0746655-6c86-46e8-9fa0-3fdc9fc77da6" providerId="ADAL" clId="{B603C8DF-16E3-4208-8001-E320ACF2A7C1}" dt="2022-11-11T09:34:55.900" v="160"/>
          <ac:picMkLst>
            <pc:docMk/>
            <pc:sldMk cId="1008292413" sldId="2146849610"/>
            <ac:picMk id="9" creationId="{E169E2D7-6D05-4A03-ADF4-01CD4B01D828}"/>
          </ac:picMkLst>
        </pc:picChg>
        <pc:picChg chg="add del mod">
          <ac:chgData name="Lars Boe Riber" userId="a0746655-6c86-46e8-9fa0-3fdc9fc77da6" providerId="ADAL" clId="{B603C8DF-16E3-4208-8001-E320ACF2A7C1}" dt="2022-11-11T09:34:55.900" v="160"/>
          <ac:picMkLst>
            <pc:docMk/>
            <pc:sldMk cId="1008292413" sldId="2146849610"/>
            <ac:picMk id="14" creationId="{4AC3945F-4F61-4732-B526-032F3DFE8ACD}"/>
          </ac:picMkLst>
        </pc:picChg>
        <pc:picChg chg="add mod">
          <ac:chgData name="Lars Boe Riber" userId="a0746655-6c86-46e8-9fa0-3fdc9fc77da6" providerId="ADAL" clId="{B603C8DF-16E3-4208-8001-E320ACF2A7C1}" dt="2022-11-11T09:36:35.752" v="214" actId="1035"/>
          <ac:picMkLst>
            <pc:docMk/>
            <pc:sldMk cId="1008292413" sldId="2146849610"/>
            <ac:picMk id="19" creationId="{CBE1AE5C-E514-4B0B-AD5C-CBD193519E00}"/>
          </ac:picMkLst>
        </pc:picChg>
        <pc:picChg chg="add mod">
          <ac:chgData name="Lars Boe Riber" userId="a0746655-6c86-46e8-9fa0-3fdc9fc77da6" providerId="ADAL" clId="{B603C8DF-16E3-4208-8001-E320ACF2A7C1}" dt="2022-11-11T09:36:35.752" v="214" actId="1035"/>
          <ac:picMkLst>
            <pc:docMk/>
            <pc:sldMk cId="1008292413" sldId="2146849610"/>
            <ac:picMk id="24" creationId="{C590FB0B-8310-4202-AECE-7CD43C22FABA}"/>
          </ac:picMkLst>
        </pc:picChg>
        <pc:cxnChg chg="add del mod">
          <ac:chgData name="Lars Boe Riber" userId="a0746655-6c86-46e8-9fa0-3fdc9fc77da6" providerId="ADAL" clId="{B603C8DF-16E3-4208-8001-E320ACF2A7C1}" dt="2022-11-11T09:34:55.900" v="160"/>
          <ac:cxnSpMkLst>
            <pc:docMk/>
            <pc:sldMk cId="1008292413" sldId="2146849610"/>
            <ac:cxnSpMk id="8" creationId="{B55C1945-0B52-4E87-BE35-DE15156FB00A}"/>
          </ac:cxnSpMkLst>
        </pc:cxnChg>
        <pc:cxnChg chg="add del mod">
          <ac:chgData name="Lars Boe Riber" userId="a0746655-6c86-46e8-9fa0-3fdc9fc77da6" providerId="ADAL" clId="{B603C8DF-16E3-4208-8001-E320ACF2A7C1}" dt="2022-11-11T09:34:55.900" v="160"/>
          <ac:cxnSpMkLst>
            <pc:docMk/>
            <pc:sldMk cId="1008292413" sldId="2146849610"/>
            <ac:cxnSpMk id="13" creationId="{677D351D-DD3B-4B85-9410-55160A5EED7F}"/>
          </ac:cxnSpMkLst>
        </pc:cxnChg>
        <pc:cxnChg chg="add mod">
          <ac:chgData name="Lars Boe Riber" userId="a0746655-6c86-46e8-9fa0-3fdc9fc77da6" providerId="ADAL" clId="{B603C8DF-16E3-4208-8001-E320ACF2A7C1}" dt="2022-11-11T09:36:35.752" v="214" actId="1035"/>
          <ac:cxnSpMkLst>
            <pc:docMk/>
            <pc:sldMk cId="1008292413" sldId="2146849610"/>
            <ac:cxnSpMk id="18" creationId="{0BBA68A7-2AB8-4CA2-8D83-E80A339BF6BC}"/>
          </ac:cxnSpMkLst>
        </pc:cxnChg>
        <pc:cxnChg chg="add mod">
          <ac:chgData name="Lars Boe Riber" userId="a0746655-6c86-46e8-9fa0-3fdc9fc77da6" providerId="ADAL" clId="{B603C8DF-16E3-4208-8001-E320ACF2A7C1}" dt="2022-11-17T14:40:37.794" v="8270" actId="1038"/>
          <ac:cxnSpMkLst>
            <pc:docMk/>
            <pc:sldMk cId="1008292413" sldId="2146849610"/>
            <ac:cxnSpMk id="23" creationId="{A48903C3-9B54-4874-A1A9-29422DF04D21}"/>
          </ac:cxnSpMkLst>
        </pc:cxnChg>
      </pc:sldChg>
      <pc:sldChg chg="add">
        <pc:chgData name="Lars Boe Riber" userId="a0746655-6c86-46e8-9fa0-3fdc9fc77da6" providerId="ADAL" clId="{B603C8DF-16E3-4208-8001-E320ACF2A7C1}" dt="2022-11-11T09:37:05.014" v="215"/>
        <pc:sldMkLst>
          <pc:docMk/>
          <pc:sldMk cId="2574806156" sldId="2146849611"/>
        </pc:sldMkLst>
      </pc:sldChg>
      <pc:sldChg chg="addSp delSp modSp new mod">
        <pc:chgData name="Lars Boe Riber" userId="a0746655-6c86-46e8-9fa0-3fdc9fc77da6" providerId="ADAL" clId="{B603C8DF-16E3-4208-8001-E320ACF2A7C1}" dt="2022-11-11T09:40:16.732" v="253" actId="14100"/>
        <pc:sldMkLst>
          <pc:docMk/>
          <pc:sldMk cId="3692277136" sldId="2146849612"/>
        </pc:sldMkLst>
        <pc:spChg chg="del">
          <ac:chgData name="Lars Boe Riber" userId="a0746655-6c86-46e8-9fa0-3fdc9fc77da6" providerId="ADAL" clId="{B603C8DF-16E3-4208-8001-E320ACF2A7C1}" dt="2022-11-11T09:38:01.830" v="217"/>
          <ac:spMkLst>
            <pc:docMk/>
            <pc:sldMk cId="3692277136" sldId="2146849612"/>
            <ac:spMk id="3" creationId="{362208FC-D241-4426-837A-58AAC929CDD0}"/>
          </ac:spMkLst>
        </pc:spChg>
        <pc:spChg chg="del mod">
          <ac:chgData name="Lars Boe Riber" userId="a0746655-6c86-46e8-9fa0-3fdc9fc77da6" providerId="ADAL" clId="{B603C8DF-16E3-4208-8001-E320ACF2A7C1}" dt="2022-11-11T09:39:25.789" v="244" actId="478"/>
          <ac:spMkLst>
            <pc:docMk/>
            <pc:sldMk cId="3692277136" sldId="2146849612"/>
            <ac:spMk id="4" creationId="{88FF37CA-9C1A-445C-AEE7-E5EC00F5B9E7}"/>
          </ac:spMkLst>
        </pc:spChg>
        <pc:spChg chg="add mod">
          <ac:chgData name="Lars Boe Riber" userId="a0746655-6c86-46e8-9fa0-3fdc9fc77da6" providerId="ADAL" clId="{B603C8DF-16E3-4208-8001-E320ACF2A7C1}" dt="2022-11-11T09:40:16.732" v="253" actId="14100"/>
          <ac:spMkLst>
            <pc:docMk/>
            <pc:sldMk cId="3692277136" sldId="2146849612"/>
            <ac:spMk id="7" creationId="{36C4B18A-0758-4DAD-B57B-E5A6BE206099}"/>
          </ac:spMkLst>
        </pc:spChg>
        <pc:spChg chg="add del mod">
          <ac:chgData name="Lars Boe Riber" userId="a0746655-6c86-46e8-9fa0-3fdc9fc77da6" providerId="ADAL" clId="{B603C8DF-16E3-4208-8001-E320ACF2A7C1}" dt="2022-11-11T09:39:27.926" v="245" actId="478"/>
          <ac:spMkLst>
            <pc:docMk/>
            <pc:sldMk cId="3692277136" sldId="2146849612"/>
            <ac:spMk id="9" creationId="{82AEA605-BF03-402B-A989-4C5B11ACBD3B}"/>
          </ac:spMkLst>
        </pc:spChg>
        <pc:picChg chg="add mod replST modCrop">
          <ac:chgData name="Lars Boe Riber" userId="a0746655-6c86-46e8-9fa0-3fdc9fc77da6" providerId="ADAL" clId="{B603C8DF-16E3-4208-8001-E320ACF2A7C1}" dt="2022-11-11T09:38:17.648" v="230" actId="18131"/>
          <ac:picMkLst>
            <pc:docMk/>
            <pc:sldMk cId="3692277136" sldId="2146849612"/>
            <ac:picMk id="6" creationId="{78BD8988-4285-4670-95A7-C12D464C5B06}"/>
          </ac:picMkLst>
        </pc:picChg>
      </pc:sldChg>
      <pc:sldChg chg="addSp delSp modSp add mod">
        <pc:chgData name="Lars Boe Riber" userId="a0746655-6c86-46e8-9fa0-3fdc9fc77da6" providerId="ADAL" clId="{B603C8DF-16E3-4208-8001-E320ACF2A7C1}" dt="2022-11-17T10:12:07.651" v="6653" actId="20577"/>
        <pc:sldMkLst>
          <pc:docMk/>
          <pc:sldMk cId="635138456" sldId="2146849613"/>
        </pc:sldMkLst>
        <pc:spChg chg="mod">
          <ac:chgData name="Lars Boe Riber" userId="a0746655-6c86-46e8-9fa0-3fdc9fc77da6" providerId="ADAL" clId="{B603C8DF-16E3-4208-8001-E320ACF2A7C1}" dt="2022-11-11T09:53:32.975" v="1187" actId="20577"/>
          <ac:spMkLst>
            <pc:docMk/>
            <pc:sldMk cId="635138456" sldId="2146849613"/>
            <ac:spMk id="2" creationId="{B6F763EE-0553-49D7-AD06-2F72BA2E0850}"/>
          </ac:spMkLst>
        </pc:spChg>
        <pc:spChg chg="mod ord">
          <ac:chgData name="Lars Boe Riber" userId="a0746655-6c86-46e8-9fa0-3fdc9fc77da6" providerId="ADAL" clId="{B603C8DF-16E3-4208-8001-E320ACF2A7C1}" dt="2022-11-11T09:56:26.195" v="1289" actId="207"/>
          <ac:spMkLst>
            <pc:docMk/>
            <pc:sldMk cId="635138456" sldId="2146849613"/>
            <ac:spMk id="4" creationId="{6A9A7116-CF6A-4877-9B16-6268A79AFDCD}"/>
          </ac:spMkLst>
        </pc:spChg>
        <pc:spChg chg="mod">
          <ac:chgData name="Lars Boe Riber" userId="a0746655-6c86-46e8-9fa0-3fdc9fc77da6" providerId="ADAL" clId="{B603C8DF-16E3-4208-8001-E320ACF2A7C1}" dt="2022-11-17T08:43:55.897" v="4225" actId="207"/>
          <ac:spMkLst>
            <pc:docMk/>
            <pc:sldMk cId="635138456" sldId="2146849613"/>
            <ac:spMk id="5" creationId="{E674344D-1568-4800-9521-8D7B693922CB}"/>
          </ac:spMkLst>
        </pc:spChg>
        <pc:spChg chg="add mod">
          <ac:chgData name="Lars Boe Riber" userId="a0746655-6c86-46e8-9fa0-3fdc9fc77da6" providerId="ADAL" clId="{B603C8DF-16E3-4208-8001-E320ACF2A7C1}" dt="2022-11-11T10:12:56.504" v="2147" actId="1038"/>
          <ac:spMkLst>
            <pc:docMk/>
            <pc:sldMk cId="635138456" sldId="2146849613"/>
            <ac:spMk id="8" creationId="{E56A51B6-C1A7-4838-B44D-05FE2DBA696B}"/>
          </ac:spMkLst>
        </pc:spChg>
        <pc:spChg chg="add mod">
          <ac:chgData name="Lars Boe Riber" userId="a0746655-6c86-46e8-9fa0-3fdc9fc77da6" providerId="ADAL" clId="{B603C8DF-16E3-4208-8001-E320ACF2A7C1}" dt="2022-11-11T10:12:56.504" v="2147" actId="1038"/>
          <ac:spMkLst>
            <pc:docMk/>
            <pc:sldMk cId="635138456" sldId="2146849613"/>
            <ac:spMk id="9" creationId="{E234F57E-C6C9-4B2D-ADDE-6420D526D4D4}"/>
          </ac:spMkLst>
        </pc:spChg>
        <pc:spChg chg="mod">
          <ac:chgData name="Lars Boe Riber" userId="a0746655-6c86-46e8-9fa0-3fdc9fc77da6" providerId="ADAL" clId="{B603C8DF-16E3-4208-8001-E320ACF2A7C1}" dt="2022-11-17T10:12:07.651" v="6653" actId="20577"/>
          <ac:spMkLst>
            <pc:docMk/>
            <pc:sldMk cId="635138456" sldId="2146849613"/>
            <ac:spMk id="38" creationId="{31A0B557-2F7C-4B94-A5A2-F7A21780B114}"/>
          </ac:spMkLst>
        </pc:spChg>
        <pc:picChg chg="del">
          <ac:chgData name="Lars Boe Riber" userId="a0746655-6c86-46e8-9fa0-3fdc9fc77da6" providerId="ADAL" clId="{B603C8DF-16E3-4208-8001-E320ACF2A7C1}" dt="2022-11-11T09:54:07.288" v="1188" actId="478"/>
          <ac:picMkLst>
            <pc:docMk/>
            <pc:sldMk cId="635138456" sldId="2146849613"/>
            <ac:picMk id="37" creationId="{E60DF583-4EBD-4109-96B3-5EEEC55DF067}"/>
          </ac:picMkLst>
        </pc:picChg>
        <pc:picChg chg="add mod">
          <ac:chgData name="Lars Boe Riber" userId="a0746655-6c86-46e8-9fa0-3fdc9fc77da6" providerId="ADAL" clId="{B603C8DF-16E3-4208-8001-E320ACF2A7C1}" dt="2022-11-11T09:56:34.629" v="1290" actId="732"/>
          <ac:picMkLst>
            <pc:docMk/>
            <pc:sldMk cId="635138456" sldId="2146849613"/>
            <ac:picMk id="1026" creationId="{3415BFBB-7313-4AE5-86B4-FA614A19301C}"/>
          </ac:picMkLst>
        </pc:picChg>
      </pc:sldChg>
      <pc:sldChg chg="addSp delSp modSp add mod">
        <pc:chgData name="Lars Boe Riber" userId="a0746655-6c86-46e8-9fa0-3fdc9fc77da6" providerId="ADAL" clId="{B603C8DF-16E3-4208-8001-E320ACF2A7C1}" dt="2022-11-17T10:12:28.012" v="6675" actId="20577"/>
        <pc:sldMkLst>
          <pc:docMk/>
          <pc:sldMk cId="2670005573" sldId="2146849614"/>
        </pc:sldMkLst>
        <pc:spChg chg="mod">
          <ac:chgData name="Lars Boe Riber" userId="a0746655-6c86-46e8-9fa0-3fdc9fc77da6" providerId="ADAL" clId="{B603C8DF-16E3-4208-8001-E320ACF2A7C1}" dt="2022-11-11T10:15:52.665" v="2306" actId="20577"/>
          <ac:spMkLst>
            <pc:docMk/>
            <pc:sldMk cId="2670005573" sldId="2146849614"/>
            <ac:spMk id="2" creationId="{B6F763EE-0553-49D7-AD06-2F72BA2E0850}"/>
          </ac:spMkLst>
        </pc:spChg>
        <pc:spChg chg="add mod">
          <ac:chgData name="Lars Boe Riber" userId="a0746655-6c86-46e8-9fa0-3fdc9fc77da6" providerId="ADAL" clId="{B603C8DF-16E3-4208-8001-E320ACF2A7C1}" dt="2022-11-11T10:18:01.498" v="2495" actId="207"/>
          <ac:spMkLst>
            <pc:docMk/>
            <pc:sldMk cId="2670005573" sldId="2146849614"/>
            <ac:spMk id="3" creationId="{E935D2B9-8A7A-4F23-8ADC-DC57B7099635}"/>
          </ac:spMkLst>
        </pc:spChg>
        <pc:spChg chg="add del mod">
          <ac:chgData name="Lars Boe Riber" userId="a0746655-6c86-46e8-9fa0-3fdc9fc77da6" providerId="ADAL" clId="{B603C8DF-16E3-4208-8001-E320ACF2A7C1}" dt="2022-11-11T09:55:44.468" v="1199"/>
          <ac:spMkLst>
            <pc:docMk/>
            <pc:sldMk cId="2670005573" sldId="2146849614"/>
            <ac:spMk id="7" creationId="{899245FD-1D4A-47E2-9CF5-4FBA6D7AB8FD}"/>
          </ac:spMkLst>
        </pc:spChg>
        <pc:spChg chg="add del mod">
          <ac:chgData name="Lars Boe Riber" userId="a0746655-6c86-46e8-9fa0-3fdc9fc77da6" providerId="ADAL" clId="{B603C8DF-16E3-4208-8001-E320ACF2A7C1}" dt="2022-11-11T09:55:44.468" v="1199"/>
          <ac:spMkLst>
            <pc:docMk/>
            <pc:sldMk cId="2670005573" sldId="2146849614"/>
            <ac:spMk id="9" creationId="{62A04C79-D8A5-4C66-97AC-F253861E38B5}"/>
          </ac:spMkLst>
        </pc:spChg>
        <pc:spChg chg="add del mod">
          <ac:chgData name="Lars Boe Riber" userId="a0746655-6c86-46e8-9fa0-3fdc9fc77da6" providerId="ADAL" clId="{B603C8DF-16E3-4208-8001-E320ACF2A7C1}" dt="2022-11-11T09:55:44.468" v="1199"/>
          <ac:spMkLst>
            <pc:docMk/>
            <pc:sldMk cId="2670005573" sldId="2146849614"/>
            <ac:spMk id="13" creationId="{6BB23D74-E115-409E-AD03-E950718C65FE}"/>
          </ac:spMkLst>
        </pc:spChg>
        <pc:spChg chg="add mod">
          <ac:chgData name="Lars Boe Riber" userId="a0746655-6c86-46e8-9fa0-3fdc9fc77da6" providerId="ADAL" clId="{B603C8DF-16E3-4208-8001-E320ACF2A7C1}" dt="2022-11-11T10:13:40.055" v="2240"/>
          <ac:spMkLst>
            <pc:docMk/>
            <pc:sldMk cId="2670005573" sldId="2146849614"/>
            <ac:spMk id="14" creationId="{F39EC336-F82A-4D94-9D42-B72F4E9D8AAF}"/>
          </ac:spMkLst>
        </pc:spChg>
        <pc:spChg chg="add mod">
          <ac:chgData name="Lars Boe Riber" userId="a0746655-6c86-46e8-9fa0-3fdc9fc77da6" providerId="ADAL" clId="{B603C8DF-16E3-4208-8001-E320ACF2A7C1}" dt="2022-11-11T10:13:48.527" v="2242"/>
          <ac:spMkLst>
            <pc:docMk/>
            <pc:sldMk cId="2670005573" sldId="2146849614"/>
            <ac:spMk id="16" creationId="{57585194-B4E6-4901-B3D9-77101023F2D9}"/>
          </ac:spMkLst>
        </pc:spChg>
        <pc:spChg chg="add del mod">
          <ac:chgData name="Lars Boe Riber" userId="a0746655-6c86-46e8-9fa0-3fdc9fc77da6" providerId="ADAL" clId="{B603C8DF-16E3-4208-8001-E320ACF2A7C1}" dt="2022-11-11T10:01:23.709" v="1462" actId="478"/>
          <ac:spMkLst>
            <pc:docMk/>
            <pc:sldMk cId="2670005573" sldId="2146849614"/>
            <ac:spMk id="20" creationId="{7E511E03-58CD-4D01-955F-66247257F963}"/>
          </ac:spMkLst>
        </pc:spChg>
        <pc:spChg chg="add mod">
          <ac:chgData name="Lars Boe Riber" userId="a0746655-6c86-46e8-9fa0-3fdc9fc77da6" providerId="ADAL" clId="{B603C8DF-16E3-4208-8001-E320ACF2A7C1}" dt="2022-11-11T10:17:38.399" v="2489" actId="1035"/>
          <ac:spMkLst>
            <pc:docMk/>
            <pc:sldMk cId="2670005573" sldId="2146849614"/>
            <ac:spMk id="21" creationId="{B6203EA0-B72A-449B-8F63-A8DBB1BE7466}"/>
          </ac:spMkLst>
        </pc:spChg>
        <pc:spChg chg="add mod ord">
          <ac:chgData name="Lars Boe Riber" userId="a0746655-6c86-46e8-9fa0-3fdc9fc77da6" providerId="ADAL" clId="{B603C8DF-16E3-4208-8001-E320ACF2A7C1}" dt="2022-11-11T10:17:46.890" v="2491" actId="14100"/>
          <ac:spMkLst>
            <pc:docMk/>
            <pc:sldMk cId="2670005573" sldId="2146849614"/>
            <ac:spMk id="22" creationId="{53C390BB-4451-43CC-A5EE-4C09658BA186}"/>
          </ac:spMkLst>
        </pc:spChg>
        <pc:spChg chg="mod">
          <ac:chgData name="Lars Boe Riber" userId="a0746655-6c86-46e8-9fa0-3fdc9fc77da6" providerId="ADAL" clId="{B603C8DF-16E3-4208-8001-E320ACF2A7C1}" dt="2022-11-17T10:12:28.012" v="6675" actId="20577"/>
          <ac:spMkLst>
            <pc:docMk/>
            <pc:sldMk cId="2670005573" sldId="2146849614"/>
            <ac:spMk id="38" creationId="{31A0B557-2F7C-4B94-A5A2-F7A21780B114}"/>
          </ac:spMkLst>
        </pc:spChg>
        <pc:picChg chg="add del mod">
          <ac:chgData name="Lars Boe Riber" userId="a0746655-6c86-46e8-9fa0-3fdc9fc77da6" providerId="ADAL" clId="{B603C8DF-16E3-4208-8001-E320ACF2A7C1}" dt="2022-11-11T09:55:44.468" v="1199"/>
          <ac:picMkLst>
            <pc:docMk/>
            <pc:sldMk cId="2670005573" sldId="2146849614"/>
            <ac:picMk id="8" creationId="{1AB8B438-3C01-4BB5-AD61-A38271D11693}"/>
          </ac:picMkLst>
        </pc:picChg>
        <pc:picChg chg="add del mod">
          <ac:chgData name="Lars Boe Riber" userId="a0746655-6c86-46e8-9fa0-3fdc9fc77da6" providerId="ADAL" clId="{B603C8DF-16E3-4208-8001-E320ACF2A7C1}" dt="2022-11-11T09:55:44.468" v="1199"/>
          <ac:picMkLst>
            <pc:docMk/>
            <pc:sldMk cId="2670005573" sldId="2146849614"/>
            <ac:picMk id="10" creationId="{8679C5CE-BBCC-4DE7-B324-68D89F1629AA}"/>
          </ac:picMkLst>
        </pc:picChg>
        <pc:picChg chg="add del mod">
          <ac:chgData name="Lars Boe Riber" userId="a0746655-6c86-46e8-9fa0-3fdc9fc77da6" providerId="ADAL" clId="{B603C8DF-16E3-4208-8001-E320ACF2A7C1}" dt="2022-11-11T09:55:44.468" v="1199"/>
          <ac:picMkLst>
            <pc:docMk/>
            <pc:sldMk cId="2670005573" sldId="2146849614"/>
            <ac:picMk id="11" creationId="{CCA606A3-19AE-44DB-B2A5-D455870F43BA}"/>
          </ac:picMkLst>
        </pc:picChg>
        <pc:picChg chg="add del mod">
          <ac:chgData name="Lars Boe Riber" userId="a0746655-6c86-46e8-9fa0-3fdc9fc77da6" providerId="ADAL" clId="{B603C8DF-16E3-4208-8001-E320ACF2A7C1}" dt="2022-11-11T09:55:44.468" v="1199"/>
          <ac:picMkLst>
            <pc:docMk/>
            <pc:sldMk cId="2670005573" sldId="2146849614"/>
            <ac:picMk id="12" creationId="{9AD55491-5AC2-4B5F-9676-E68795D24114}"/>
          </ac:picMkLst>
        </pc:picChg>
        <pc:picChg chg="add del mod">
          <ac:chgData name="Lars Boe Riber" userId="a0746655-6c86-46e8-9fa0-3fdc9fc77da6" providerId="ADAL" clId="{B603C8DF-16E3-4208-8001-E320ACF2A7C1}" dt="2022-11-11T10:17:38.399" v="2489" actId="1035"/>
          <ac:picMkLst>
            <pc:docMk/>
            <pc:sldMk cId="2670005573" sldId="2146849614"/>
            <ac:picMk id="15" creationId="{80852752-F2BB-474A-BF6C-95A8CEFE881B}"/>
          </ac:picMkLst>
        </pc:picChg>
        <pc:picChg chg="add del mod">
          <ac:chgData name="Lars Boe Riber" userId="a0746655-6c86-46e8-9fa0-3fdc9fc77da6" providerId="ADAL" clId="{B603C8DF-16E3-4208-8001-E320ACF2A7C1}" dt="2022-11-11T10:01:23.709" v="1462" actId="478"/>
          <ac:picMkLst>
            <pc:docMk/>
            <pc:sldMk cId="2670005573" sldId="2146849614"/>
            <ac:picMk id="17" creationId="{179DA889-6749-409E-AF99-CCAF578D6B47}"/>
          </ac:picMkLst>
        </pc:picChg>
        <pc:picChg chg="add mod">
          <ac:chgData name="Lars Boe Riber" userId="a0746655-6c86-46e8-9fa0-3fdc9fc77da6" providerId="ADAL" clId="{B603C8DF-16E3-4208-8001-E320ACF2A7C1}" dt="2022-11-11T10:17:38.399" v="2489" actId="1035"/>
          <ac:picMkLst>
            <pc:docMk/>
            <pc:sldMk cId="2670005573" sldId="2146849614"/>
            <ac:picMk id="18" creationId="{6E4BA46D-6D61-435D-A988-244D560E732A}"/>
          </ac:picMkLst>
        </pc:picChg>
        <pc:picChg chg="add mod">
          <ac:chgData name="Lars Boe Riber" userId="a0746655-6c86-46e8-9fa0-3fdc9fc77da6" providerId="ADAL" clId="{B603C8DF-16E3-4208-8001-E320ACF2A7C1}" dt="2022-11-11T10:17:38.399" v="2489" actId="1035"/>
          <ac:picMkLst>
            <pc:docMk/>
            <pc:sldMk cId="2670005573" sldId="2146849614"/>
            <ac:picMk id="19" creationId="{A9BB8585-5770-413C-A92F-8A27C66383DE}"/>
          </ac:picMkLst>
        </pc:picChg>
        <pc:picChg chg="del">
          <ac:chgData name="Lars Boe Riber" userId="a0746655-6c86-46e8-9fa0-3fdc9fc77da6" providerId="ADAL" clId="{B603C8DF-16E3-4208-8001-E320ACF2A7C1}" dt="2022-11-11T09:54:46.671" v="1197" actId="478"/>
          <ac:picMkLst>
            <pc:docMk/>
            <pc:sldMk cId="2670005573" sldId="2146849614"/>
            <ac:picMk id="1026" creationId="{3415BFBB-7313-4AE5-86B4-FA614A19301C}"/>
          </ac:picMkLst>
        </pc:picChg>
      </pc:sldChg>
      <pc:sldChg chg="addSp delSp modSp add mod">
        <pc:chgData name="Lars Boe Riber" userId="a0746655-6c86-46e8-9fa0-3fdc9fc77da6" providerId="ADAL" clId="{B603C8DF-16E3-4208-8001-E320ACF2A7C1}" dt="2022-11-17T10:12:44.477" v="6698" actId="20577"/>
        <pc:sldMkLst>
          <pc:docMk/>
          <pc:sldMk cId="1252934280" sldId="2146849615"/>
        </pc:sldMkLst>
        <pc:spChg chg="mod">
          <ac:chgData name="Lars Boe Riber" userId="a0746655-6c86-46e8-9fa0-3fdc9fc77da6" providerId="ADAL" clId="{B603C8DF-16E3-4208-8001-E320ACF2A7C1}" dt="2022-11-11T10:15:54.863" v="2307" actId="20577"/>
          <ac:spMkLst>
            <pc:docMk/>
            <pc:sldMk cId="1252934280" sldId="2146849615"/>
            <ac:spMk id="2" creationId="{B6F763EE-0553-49D7-AD06-2F72BA2E0850}"/>
          </ac:spMkLst>
        </pc:spChg>
        <pc:spChg chg="mod">
          <ac:chgData name="Lars Boe Riber" userId="a0746655-6c86-46e8-9fa0-3fdc9fc77da6" providerId="ADAL" clId="{B603C8DF-16E3-4208-8001-E320ACF2A7C1}" dt="2022-11-11T10:24:48.032" v="2539" actId="207"/>
          <ac:spMkLst>
            <pc:docMk/>
            <pc:sldMk cId="1252934280" sldId="2146849615"/>
            <ac:spMk id="4" creationId="{6A9A7116-CF6A-4877-9B16-6268A79AFDCD}"/>
          </ac:spMkLst>
        </pc:spChg>
        <pc:spChg chg="mod">
          <ac:chgData name="Lars Boe Riber" userId="a0746655-6c86-46e8-9fa0-3fdc9fc77da6" providerId="ADAL" clId="{B603C8DF-16E3-4208-8001-E320ACF2A7C1}" dt="2022-11-17T08:43:52.997" v="4224" actId="207"/>
          <ac:spMkLst>
            <pc:docMk/>
            <pc:sldMk cId="1252934280" sldId="2146849615"/>
            <ac:spMk id="5" creationId="{E674344D-1568-4800-9521-8D7B693922CB}"/>
          </ac:spMkLst>
        </pc:spChg>
        <pc:spChg chg="mod">
          <ac:chgData name="Lars Boe Riber" userId="a0746655-6c86-46e8-9fa0-3fdc9fc77da6" providerId="ADAL" clId="{B603C8DF-16E3-4208-8001-E320ACF2A7C1}" dt="2022-11-11T10:24:57.896" v="2578" actId="1038"/>
          <ac:spMkLst>
            <pc:docMk/>
            <pc:sldMk cId="1252934280" sldId="2146849615"/>
            <ac:spMk id="14" creationId="{F39EC336-F82A-4D94-9D42-B72F4E9D8AAF}"/>
          </ac:spMkLst>
        </pc:spChg>
        <pc:spChg chg="mod">
          <ac:chgData name="Lars Boe Riber" userId="a0746655-6c86-46e8-9fa0-3fdc9fc77da6" providerId="ADAL" clId="{B603C8DF-16E3-4208-8001-E320ACF2A7C1}" dt="2022-11-11T10:26:17.208" v="2585" actId="20577"/>
          <ac:spMkLst>
            <pc:docMk/>
            <pc:sldMk cId="1252934280" sldId="2146849615"/>
            <ac:spMk id="16" creationId="{57585194-B4E6-4901-B3D9-77101023F2D9}"/>
          </ac:spMkLst>
        </pc:spChg>
        <pc:spChg chg="del">
          <ac:chgData name="Lars Boe Riber" userId="a0746655-6c86-46e8-9fa0-3fdc9fc77da6" providerId="ADAL" clId="{B603C8DF-16E3-4208-8001-E320ACF2A7C1}" dt="2022-11-11T10:16:05.015" v="2309" actId="478"/>
          <ac:spMkLst>
            <pc:docMk/>
            <pc:sldMk cId="1252934280" sldId="2146849615"/>
            <ac:spMk id="21" creationId="{B6203EA0-B72A-449B-8F63-A8DBB1BE7466}"/>
          </ac:spMkLst>
        </pc:spChg>
        <pc:spChg chg="del">
          <ac:chgData name="Lars Boe Riber" userId="a0746655-6c86-46e8-9fa0-3fdc9fc77da6" providerId="ADAL" clId="{B603C8DF-16E3-4208-8001-E320ACF2A7C1}" dt="2022-11-11T10:16:03.935" v="2308" actId="478"/>
          <ac:spMkLst>
            <pc:docMk/>
            <pc:sldMk cId="1252934280" sldId="2146849615"/>
            <ac:spMk id="22" creationId="{53C390BB-4451-43CC-A5EE-4C09658BA186}"/>
          </ac:spMkLst>
        </pc:spChg>
        <pc:spChg chg="mod">
          <ac:chgData name="Lars Boe Riber" userId="a0746655-6c86-46e8-9fa0-3fdc9fc77da6" providerId="ADAL" clId="{B603C8DF-16E3-4208-8001-E320ACF2A7C1}" dt="2022-11-17T10:12:44.477" v="6698" actId="20577"/>
          <ac:spMkLst>
            <pc:docMk/>
            <pc:sldMk cId="1252934280" sldId="2146849615"/>
            <ac:spMk id="38" creationId="{31A0B557-2F7C-4B94-A5A2-F7A21780B114}"/>
          </ac:spMkLst>
        </pc:spChg>
        <pc:picChg chg="add del mod">
          <ac:chgData name="Lars Boe Riber" userId="a0746655-6c86-46e8-9fa0-3fdc9fc77da6" providerId="ADAL" clId="{B603C8DF-16E3-4208-8001-E320ACF2A7C1}" dt="2022-11-11T10:24:09.224" v="2533" actId="478"/>
          <ac:picMkLst>
            <pc:docMk/>
            <pc:sldMk cId="1252934280" sldId="2146849615"/>
            <ac:picMk id="3" creationId="{05396356-D655-463F-98FC-B72A18028554}"/>
          </ac:picMkLst>
        </pc:picChg>
        <pc:picChg chg="add mod ord modCrop">
          <ac:chgData name="Lars Boe Riber" userId="a0746655-6c86-46e8-9fa0-3fdc9fc77da6" providerId="ADAL" clId="{B603C8DF-16E3-4208-8001-E320ACF2A7C1}" dt="2022-11-11T11:12:45.227" v="2586" actId="732"/>
          <ac:picMkLst>
            <pc:docMk/>
            <pc:sldMk cId="1252934280" sldId="2146849615"/>
            <ac:picMk id="6" creationId="{AAC010F8-1807-4463-997D-8E072E891052}"/>
          </ac:picMkLst>
        </pc:picChg>
        <pc:picChg chg="del">
          <ac:chgData name="Lars Boe Riber" userId="a0746655-6c86-46e8-9fa0-3fdc9fc77da6" providerId="ADAL" clId="{B603C8DF-16E3-4208-8001-E320ACF2A7C1}" dt="2022-11-11T10:16:03.935" v="2308" actId="478"/>
          <ac:picMkLst>
            <pc:docMk/>
            <pc:sldMk cId="1252934280" sldId="2146849615"/>
            <ac:picMk id="15" creationId="{80852752-F2BB-474A-BF6C-95A8CEFE881B}"/>
          </ac:picMkLst>
        </pc:picChg>
        <pc:picChg chg="del">
          <ac:chgData name="Lars Boe Riber" userId="a0746655-6c86-46e8-9fa0-3fdc9fc77da6" providerId="ADAL" clId="{B603C8DF-16E3-4208-8001-E320ACF2A7C1}" dt="2022-11-11T10:16:03.935" v="2308" actId="478"/>
          <ac:picMkLst>
            <pc:docMk/>
            <pc:sldMk cId="1252934280" sldId="2146849615"/>
            <ac:picMk id="18" creationId="{6E4BA46D-6D61-435D-A988-244D560E732A}"/>
          </ac:picMkLst>
        </pc:picChg>
        <pc:picChg chg="del">
          <ac:chgData name="Lars Boe Riber" userId="a0746655-6c86-46e8-9fa0-3fdc9fc77da6" providerId="ADAL" clId="{B603C8DF-16E3-4208-8001-E320ACF2A7C1}" dt="2022-11-11T10:16:03.935" v="2308" actId="478"/>
          <ac:picMkLst>
            <pc:docMk/>
            <pc:sldMk cId="1252934280" sldId="2146849615"/>
            <ac:picMk id="19" creationId="{A9BB8585-5770-413C-A92F-8A27C66383DE}"/>
          </ac:picMkLst>
        </pc:picChg>
      </pc:sldChg>
      <pc:sldChg chg="addSp delSp modSp add mod">
        <pc:chgData name="Lars Boe Riber" userId="a0746655-6c86-46e8-9fa0-3fdc9fc77da6" providerId="ADAL" clId="{B603C8DF-16E3-4208-8001-E320ACF2A7C1}" dt="2022-11-11T13:37:43.927" v="2931" actId="1076"/>
        <pc:sldMkLst>
          <pc:docMk/>
          <pc:sldMk cId="3588561201" sldId="2146849616"/>
        </pc:sldMkLst>
        <pc:spChg chg="add del mod">
          <ac:chgData name="Lars Boe Riber" userId="a0746655-6c86-46e8-9fa0-3fdc9fc77da6" providerId="ADAL" clId="{B603C8DF-16E3-4208-8001-E320ACF2A7C1}" dt="2022-11-11T11:16:25.571" v="2589"/>
          <ac:spMkLst>
            <pc:docMk/>
            <pc:sldMk cId="3588561201" sldId="2146849616"/>
            <ac:spMk id="4" creationId="{6932F58F-04AC-4D9F-91CB-DEB76CED7CBB}"/>
          </ac:spMkLst>
        </pc:spChg>
        <pc:spChg chg="add del mod">
          <ac:chgData name="Lars Boe Riber" userId="a0746655-6c86-46e8-9fa0-3fdc9fc77da6" providerId="ADAL" clId="{B603C8DF-16E3-4208-8001-E320ACF2A7C1}" dt="2022-11-11T11:17:33.182" v="2603"/>
          <ac:spMkLst>
            <pc:docMk/>
            <pc:sldMk cId="3588561201" sldId="2146849616"/>
            <ac:spMk id="10" creationId="{7D5CA0A0-540B-49E0-9305-74E48C0F6A75}"/>
          </ac:spMkLst>
        </pc:spChg>
        <pc:spChg chg="add del mod">
          <ac:chgData name="Lars Boe Riber" userId="a0746655-6c86-46e8-9fa0-3fdc9fc77da6" providerId="ADAL" clId="{B603C8DF-16E3-4208-8001-E320ACF2A7C1}" dt="2022-11-11T11:17:57.650" v="2619"/>
          <ac:spMkLst>
            <pc:docMk/>
            <pc:sldMk cId="3588561201" sldId="2146849616"/>
            <ac:spMk id="14" creationId="{D59D44DB-DAB7-4907-AA73-349B2DFC5619}"/>
          </ac:spMkLst>
        </pc:spChg>
        <pc:spChg chg="add del mod ord">
          <ac:chgData name="Lars Boe Riber" userId="a0746655-6c86-46e8-9fa0-3fdc9fc77da6" providerId="ADAL" clId="{B603C8DF-16E3-4208-8001-E320ACF2A7C1}" dt="2022-11-11T11:18:08.799" v="2646"/>
          <ac:spMkLst>
            <pc:docMk/>
            <pc:sldMk cId="3588561201" sldId="2146849616"/>
            <ac:spMk id="17" creationId="{16AE8C40-2E7F-4B23-B408-E5A1A37FE5B9}"/>
          </ac:spMkLst>
        </pc:spChg>
        <pc:spChg chg="add del mod">
          <ac:chgData name="Lars Boe Riber" userId="a0746655-6c86-46e8-9fa0-3fdc9fc77da6" providerId="ADAL" clId="{B603C8DF-16E3-4208-8001-E320ACF2A7C1}" dt="2022-11-11T11:19:13.513" v="2660"/>
          <ac:spMkLst>
            <pc:docMk/>
            <pc:sldMk cId="3588561201" sldId="2146849616"/>
            <ac:spMk id="21" creationId="{9EE6E9B4-87A3-4756-9AC2-0398A81E7688}"/>
          </ac:spMkLst>
        </pc:spChg>
        <pc:spChg chg="add del mod ord">
          <ac:chgData name="Lars Boe Riber" userId="a0746655-6c86-46e8-9fa0-3fdc9fc77da6" providerId="ADAL" clId="{B603C8DF-16E3-4208-8001-E320ACF2A7C1}" dt="2022-11-11T11:19:17.886" v="2687"/>
          <ac:spMkLst>
            <pc:docMk/>
            <pc:sldMk cId="3588561201" sldId="2146849616"/>
            <ac:spMk id="24" creationId="{44BB7E78-FA59-4445-8B46-833D03703235}"/>
          </ac:spMkLst>
        </pc:spChg>
        <pc:spChg chg="add del mod">
          <ac:chgData name="Lars Boe Riber" userId="a0746655-6c86-46e8-9fa0-3fdc9fc77da6" providerId="ADAL" clId="{B603C8DF-16E3-4208-8001-E320ACF2A7C1}" dt="2022-11-11T11:19:48.304" v="2702"/>
          <ac:spMkLst>
            <pc:docMk/>
            <pc:sldMk cId="3588561201" sldId="2146849616"/>
            <ac:spMk id="28" creationId="{767E1653-B6D2-4946-98B3-61FD7DE0ACD2}"/>
          </ac:spMkLst>
        </pc:spChg>
        <pc:spChg chg="add del mod ord">
          <ac:chgData name="Lars Boe Riber" userId="a0746655-6c86-46e8-9fa0-3fdc9fc77da6" providerId="ADAL" clId="{B603C8DF-16E3-4208-8001-E320ACF2A7C1}" dt="2022-11-11T11:20:26.702" v="2731"/>
          <ac:spMkLst>
            <pc:docMk/>
            <pc:sldMk cId="3588561201" sldId="2146849616"/>
            <ac:spMk id="31" creationId="{5B84B6B9-BF9A-46FC-8BEB-A2FAC19D1770}"/>
          </ac:spMkLst>
        </pc:spChg>
        <pc:spChg chg="add del mod ord">
          <ac:chgData name="Lars Boe Riber" userId="a0746655-6c86-46e8-9fa0-3fdc9fc77da6" providerId="ADAL" clId="{B603C8DF-16E3-4208-8001-E320ACF2A7C1}" dt="2022-11-11T11:21:23.455" v="2777"/>
          <ac:spMkLst>
            <pc:docMk/>
            <pc:sldMk cId="3588561201" sldId="2146849616"/>
            <ac:spMk id="34" creationId="{50B1D51B-5202-4594-B2A3-5FDD11E46934}"/>
          </ac:spMkLst>
        </pc:spChg>
        <pc:spChg chg="add del mod">
          <ac:chgData name="Lars Boe Riber" userId="a0746655-6c86-46e8-9fa0-3fdc9fc77da6" providerId="ADAL" clId="{B603C8DF-16E3-4208-8001-E320ACF2A7C1}" dt="2022-11-11T11:21:31.715" v="2792"/>
          <ac:spMkLst>
            <pc:docMk/>
            <pc:sldMk cId="3588561201" sldId="2146849616"/>
            <ac:spMk id="40" creationId="{2F04CE45-B307-41A1-AC4F-4EC87B5866B2}"/>
          </ac:spMkLst>
        </pc:spChg>
        <pc:spChg chg="add del mod ord">
          <ac:chgData name="Lars Boe Riber" userId="a0746655-6c86-46e8-9fa0-3fdc9fc77da6" providerId="ADAL" clId="{B603C8DF-16E3-4208-8001-E320ACF2A7C1}" dt="2022-11-11T11:21:44.927" v="2820"/>
          <ac:spMkLst>
            <pc:docMk/>
            <pc:sldMk cId="3588561201" sldId="2146849616"/>
            <ac:spMk id="43" creationId="{08907682-45A1-48EC-99D9-86DC7B9288E9}"/>
          </ac:spMkLst>
        </pc:spChg>
        <pc:spChg chg="add del mod ord">
          <ac:chgData name="Lars Boe Riber" userId="a0746655-6c86-46e8-9fa0-3fdc9fc77da6" providerId="ADAL" clId="{B603C8DF-16E3-4208-8001-E320ACF2A7C1}" dt="2022-11-11T11:22:05.067" v="2864"/>
          <ac:spMkLst>
            <pc:docMk/>
            <pc:sldMk cId="3588561201" sldId="2146849616"/>
            <ac:spMk id="46" creationId="{90BA8D84-0FC4-4475-AB2A-17058CEF21AB}"/>
          </ac:spMkLst>
        </pc:spChg>
        <pc:spChg chg="add mod">
          <ac:chgData name="Lars Boe Riber" userId="a0746655-6c86-46e8-9fa0-3fdc9fc77da6" providerId="ADAL" clId="{B603C8DF-16E3-4208-8001-E320ACF2A7C1}" dt="2022-11-11T11:23:28.735" v="2905" actId="1076"/>
          <ac:spMkLst>
            <pc:docMk/>
            <pc:sldMk cId="3588561201" sldId="2146849616"/>
            <ac:spMk id="51" creationId="{88BCB7A5-896C-400E-8CF4-DBF373CE1587}"/>
          </ac:spMkLst>
        </pc:spChg>
        <pc:spChg chg="add del mod">
          <ac:chgData name="Lars Boe Riber" userId="a0746655-6c86-46e8-9fa0-3fdc9fc77da6" providerId="ADAL" clId="{B603C8DF-16E3-4208-8001-E320ACF2A7C1}" dt="2022-11-11T11:26:37.250" v="2911"/>
          <ac:spMkLst>
            <pc:docMk/>
            <pc:sldMk cId="3588561201" sldId="2146849616"/>
            <ac:spMk id="55" creationId="{B2818443-FCA9-44EA-8692-7DF53D994F5F}"/>
          </ac:spMkLst>
        </pc:spChg>
        <pc:spChg chg="add mod">
          <ac:chgData name="Lars Boe Riber" userId="a0746655-6c86-46e8-9fa0-3fdc9fc77da6" providerId="ADAL" clId="{B603C8DF-16E3-4208-8001-E320ACF2A7C1}" dt="2022-11-11T13:37:43.927" v="2931" actId="1076"/>
          <ac:spMkLst>
            <pc:docMk/>
            <pc:sldMk cId="3588561201" sldId="2146849616"/>
            <ac:spMk id="58" creationId="{70A81755-D1F8-46B3-A799-71E1B51CE805}"/>
          </ac:spMkLst>
        </pc:spChg>
        <pc:picChg chg="del">
          <ac:chgData name="Lars Boe Riber" userId="a0746655-6c86-46e8-9fa0-3fdc9fc77da6" providerId="ADAL" clId="{B603C8DF-16E3-4208-8001-E320ACF2A7C1}" dt="2022-11-11T11:15:42.095" v="2588" actId="478"/>
          <ac:picMkLst>
            <pc:docMk/>
            <pc:sldMk cId="3588561201" sldId="2146849616"/>
            <ac:picMk id="6" creationId="{78BD8988-4285-4670-95A7-C12D464C5B06}"/>
          </ac:picMkLst>
        </pc:picChg>
        <pc:picChg chg="add del mod replST modCrop">
          <ac:chgData name="Lars Boe Riber" userId="a0746655-6c86-46e8-9fa0-3fdc9fc77da6" providerId="ADAL" clId="{B603C8DF-16E3-4208-8001-E320ACF2A7C1}" dt="2022-11-11T11:16:40.039" v="2602" actId="478"/>
          <ac:picMkLst>
            <pc:docMk/>
            <pc:sldMk cId="3588561201" sldId="2146849616"/>
            <ac:picMk id="8" creationId="{D105AAF3-DC40-41E2-A937-AD87655B0564}"/>
          </ac:picMkLst>
        </pc:picChg>
        <pc:picChg chg="add del mod replST modCrop">
          <ac:chgData name="Lars Boe Riber" userId="a0746655-6c86-46e8-9fa0-3fdc9fc77da6" providerId="ADAL" clId="{B603C8DF-16E3-4208-8001-E320ACF2A7C1}" dt="2022-11-11T11:17:46.543" v="2617" actId="478"/>
          <ac:picMkLst>
            <pc:docMk/>
            <pc:sldMk cId="3588561201" sldId="2146849616"/>
            <ac:picMk id="12" creationId="{BCDEBD60-C39D-4C33-8851-DA3B651C0B96}"/>
          </ac:picMkLst>
        </pc:picChg>
        <pc:picChg chg="add del mod ord replST">
          <ac:chgData name="Lars Boe Riber" userId="a0746655-6c86-46e8-9fa0-3fdc9fc77da6" providerId="ADAL" clId="{B603C8DF-16E3-4208-8001-E320ACF2A7C1}" dt="2022-11-11T11:18:00.975" v="2645" actId="478"/>
          <ac:picMkLst>
            <pc:docMk/>
            <pc:sldMk cId="3588561201" sldId="2146849616"/>
            <ac:picMk id="16" creationId="{32016EE7-9763-4AF1-81FB-A719B332F936}"/>
          </ac:picMkLst>
        </pc:picChg>
        <pc:picChg chg="add del mod replST">
          <ac:chgData name="Lars Boe Riber" userId="a0746655-6c86-46e8-9fa0-3fdc9fc77da6" providerId="ADAL" clId="{B603C8DF-16E3-4208-8001-E320ACF2A7C1}" dt="2022-11-11T11:18:13.873" v="2658" actId="478"/>
          <ac:picMkLst>
            <pc:docMk/>
            <pc:sldMk cId="3588561201" sldId="2146849616"/>
            <ac:picMk id="19" creationId="{400971EB-95AB-4BF6-AAF8-238B1FE6639A}"/>
          </ac:picMkLst>
        </pc:picChg>
        <pc:picChg chg="add del mod ord replST">
          <ac:chgData name="Lars Boe Riber" userId="a0746655-6c86-46e8-9fa0-3fdc9fc77da6" providerId="ADAL" clId="{B603C8DF-16E3-4208-8001-E320ACF2A7C1}" dt="2022-11-11T11:19:15.608" v="2686" actId="478"/>
          <ac:picMkLst>
            <pc:docMk/>
            <pc:sldMk cId="3588561201" sldId="2146849616"/>
            <ac:picMk id="23" creationId="{E074600E-A751-473D-A219-DD93410DFDA7}"/>
          </ac:picMkLst>
        </pc:picChg>
        <pc:picChg chg="add del mod replST modCrop">
          <ac:chgData name="Lars Boe Riber" userId="a0746655-6c86-46e8-9fa0-3fdc9fc77da6" providerId="ADAL" clId="{B603C8DF-16E3-4208-8001-E320ACF2A7C1}" dt="2022-11-11T11:19:24.892" v="2700" actId="478"/>
          <ac:picMkLst>
            <pc:docMk/>
            <pc:sldMk cId="3588561201" sldId="2146849616"/>
            <ac:picMk id="26" creationId="{13F42920-C98F-436B-805C-BCBE3BFFE90D}"/>
          </ac:picMkLst>
        </pc:picChg>
        <pc:picChg chg="add del mod ord replST">
          <ac:chgData name="Lars Boe Riber" userId="a0746655-6c86-46e8-9fa0-3fdc9fc77da6" providerId="ADAL" clId="{B603C8DF-16E3-4208-8001-E320ACF2A7C1}" dt="2022-11-11T11:19:53.408" v="2729" actId="478"/>
          <ac:picMkLst>
            <pc:docMk/>
            <pc:sldMk cId="3588561201" sldId="2146849616"/>
            <ac:picMk id="30" creationId="{BAB4216D-0218-4202-8910-24F5F02D85BE}"/>
          </ac:picMkLst>
        </pc:picChg>
        <pc:picChg chg="add del mod ord replST">
          <ac:chgData name="Lars Boe Riber" userId="a0746655-6c86-46e8-9fa0-3fdc9fc77da6" providerId="ADAL" clId="{B603C8DF-16E3-4208-8001-E320ACF2A7C1}" dt="2022-11-11T11:20:30.122" v="2757" actId="478"/>
          <ac:picMkLst>
            <pc:docMk/>
            <pc:sldMk cId="3588561201" sldId="2146849616"/>
            <ac:picMk id="33" creationId="{75F60282-55CD-4514-8DEA-DBF02085ECB0}"/>
          </ac:picMkLst>
        </pc:picChg>
        <pc:picChg chg="add del mod replST delST modCrop">
          <ac:chgData name="Lars Boe Riber" userId="a0746655-6c86-46e8-9fa0-3fdc9fc77da6" providerId="ADAL" clId="{B603C8DF-16E3-4208-8001-E320ACF2A7C1}" dt="2022-11-11T11:21:20.593" v="2776"/>
          <ac:picMkLst>
            <pc:docMk/>
            <pc:sldMk cId="3588561201" sldId="2146849616"/>
            <ac:picMk id="36" creationId="{9DCCAF9C-C49F-4DD0-8F91-9EE42F0A98D5}"/>
          </ac:picMkLst>
        </pc:picChg>
        <pc:picChg chg="add del mod replST modCrop">
          <ac:chgData name="Lars Boe Riber" userId="a0746655-6c86-46e8-9fa0-3fdc9fc77da6" providerId="ADAL" clId="{B603C8DF-16E3-4208-8001-E320ACF2A7C1}" dt="2022-11-11T11:21:28.259" v="2790" actId="478"/>
          <ac:picMkLst>
            <pc:docMk/>
            <pc:sldMk cId="3588561201" sldId="2146849616"/>
            <ac:picMk id="38" creationId="{70A02750-FB05-445C-A109-6286846C1461}"/>
          </ac:picMkLst>
        </pc:picChg>
        <pc:picChg chg="add del mod ord replST">
          <ac:chgData name="Lars Boe Riber" userId="a0746655-6c86-46e8-9fa0-3fdc9fc77da6" providerId="ADAL" clId="{B603C8DF-16E3-4208-8001-E320ACF2A7C1}" dt="2022-11-11T11:21:37.835" v="2818" actId="478"/>
          <ac:picMkLst>
            <pc:docMk/>
            <pc:sldMk cId="3588561201" sldId="2146849616"/>
            <ac:picMk id="42" creationId="{50B11558-F848-4664-B590-18C5DFFC3568}"/>
          </ac:picMkLst>
        </pc:picChg>
        <pc:picChg chg="add del mod ord replST">
          <ac:chgData name="Lars Boe Riber" userId="a0746655-6c86-46e8-9fa0-3fdc9fc77da6" providerId="ADAL" clId="{B603C8DF-16E3-4208-8001-E320ACF2A7C1}" dt="2022-11-11T11:21:46.380" v="2846" actId="478"/>
          <ac:picMkLst>
            <pc:docMk/>
            <pc:sldMk cId="3588561201" sldId="2146849616"/>
            <ac:picMk id="45" creationId="{BA28FCE5-BEF9-4C95-9E43-83E976B5153C}"/>
          </ac:picMkLst>
        </pc:picChg>
        <pc:picChg chg="add del mod replST delST">
          <ac:chgData name="Lars Boe Riber" userId="a0746655-6c86-46e8-9fa0-3fdc9fc77da6" providerId="ADAL" clId="{B603C8DF-16E3-4208-8001-E320ACF2A7C1}" dt="2022-11-11T11:22:02.677" v="2863"/>
          <ac:picMkLst>
            <pc:docMk/>
            <pc:sldMk cId="3588561201" sldId="2146849616"/>
            <ac:picMk id="48" creationId="{9A00ECB5-941F-48F0-B76D-D5FD17EE6AE1}"/>
          </ac:picMkLst>
        </pc:picChg>
        <pc:picChg chg="add del mod replST modCrop">
          <ac:chgData name="Lars Boe Riber" userId="a0746655-6c86-46e8-9fa0-3fdc9fc77da6" providerId="ADAL" clId="{B603C8DF-16E3-4208-8001-E320ACF2A7C1}" dt="2022-11-11T11:24:40.582" v="2910" actId="478"/>
          <ac:picMkLst>
            <pc:docMk/>
            <pc:sldMk cId="3588561201" sldId="2146849616"/>
            <ac:picMk id="50" creationId="{9A411070-1BB9-4B3F-AF31-60F65F8C26E3}"/>
          </ac:picMkLst>
        </pc:picChg>
        <pc:picChg chg="add mod">
          <ac:chgData name="Lars Boe Riber" userId="a0746655-6c86-46e8-9fa0-3fdc9fc77da6" providerId="ADAL" clId="{B603C8DF-16E3-4208-8001-E320ACF2A7C1}" dt="2022-11-11T11:24:24.815" v="2909" actId="14100"/>
          <ac:picMkLst>
            <pc:docMk/>
            <pc:sldMk cId="3588561201" sldId="2146849616"/>
            <ac:picMk id="53" creationId="{E34C7C92-68AA-411F-8737-426F6DB5F834}"/>
          </ac:picMkLst>
        </pc:picChg>
        <pc:picChg chg="add mod replST modCrop">
          <ac:chgData name="Lars Boe Riber" userId="a0746655-6c86-46e8-9fa0-3fdc9fc77da6" providerId="ADAL" clId="{B603C8DF-16E3-4208-8001-E320ACF2A7C1}" dt="2022-11-11T11:26:41.748" v="2923" actId="18131"/>
          <ac:picMkLst>
            <pc:docMk/>
            <pc:sldMk cId="3588561201" sldId="2146849616"/>
            <ac:picMk id="57" creationId="{306F6ED3-D11E-48C8-A4D2-0EC30E48491F}"/>
          </ac:picMkLst>
        </pc:picChg>
      </pc:sldChg>
      <pc:sldChg chg="addSp delSp modSp new mod addAnim delAnim modAnim">
        <pc:chgData name="Lars Boe Riber" userId="a0746655-6c86-46e8-9fa0-3fdc9fc77da6" providerId="ADAL" clId="{B603C8DF-16E3-4208-8001-E320ACF2A7C1}" dt="2022-11-17T11:18:57.360" v="6931" actId="478"/>
        <pc:sldMkLst>
          <pc:docMk/>
          <pc:sldMk cId="3184406320" sldId="2146849617"/>
        </pc:sldMkLst>
        <pc:spChg chg="mod">
          <ac:chgData name="Lars Boe Riber" userId="a0746655-6c86-46e8-9fa0-3fdc9fc77da6" providerId="ADAL" clId="{B603C8DF-16E3-4208-8001-E320ACF2A7C1}" dt="2022-11-11T13:42:38.020" v="3122" actId="20577"/>
          <ac:spMkLst>
            <pc:docMk/>
            <pc:sldMk cId="3184406320" sldId="2146849617"/>
            <ac:spMk id="2" creationId="{20FCA52E-44CE-4D95-91A5-A01311FA6884}"/>
          </ac:spMkLst>
        </pc:spChg>
        <pc:spChg chg="del">
          <ac:chgData name="Lars Boe Riber" userId="a0746655-6c86-46e8-9fa0-3fdc9fc77da6" providerId="ADAL" clId="{B603C8DF-16E3-4208-8001-E320ACF2A7C1}" dt="2022-11-11T13:39:49.066" v="2933" actId="478"/>
          <ac:spMkLst>
            <pc:docMk/>
            <pc:sldMk cId="3184406320" sldId="2146849617"/>
            <ac:spMk id="3" creationId="{453E4F37-CB6D-4588-96B8-F182AC849C2A}"/>
          </ac:spMkLst>
        </pc:spChg>
        <pc:spChg chg="add mod topLvl">
          <ac:chgData name="Lars Boe Riber" userId="a0746655-6c86-46e8-9fa0-3fdc9fc77da6" providerId="ADAL" clId="{B603C8DF-16E3-4208-8001-E320ACF2A7C1}" dt="2022-11-15T15:30:06.194" v="3212" actId="165"/>
          <ac:spMkLst>
            <pc:docMk/>
            <pc:sldMk cId="3184406320" sldId="2146849617"/>
            <ac:spMk id="5" creationId="{BC8AADF3-5901-4F75-B590-33FD0B88DBD2}"/>
          </ac:spMkLst>
        </pc:spChg>
        <pc:spChg chg="add mod topLvl">
          <ac:chgData name="Lars Boe Riber" userId="a0746655-6c86-46e8-9fa0-3fdc9fc77da6" providerId="ADAL" clId="{B603C8DF-16E3-4208-8001-E320ACF2A7C1}" dt="2022-11-15T15:45:25.744" v="3971" actId="552"/>
          <ac:spMkLst>
            <pc:docMk/>
            <pc:sldMk cId="3184406320" sldId="2146849617"/>
            <ac:spMk id="6" creationId="{D1086560-CDAD-46FC-A042-EB085E8F1776}"/>
          </ac:spMkLst>
        </pc:spChg>
        <pc:spChg chg="add mod topLvl">
          <ac:chgData name="Lars Boe Riber" userId="a0746655-6c86-46e8-9fa0-3fdc9fc77da6" providerId="ADAL" clId="{B603C8DF-16E3-4208-8001-E320ACF2A7C1}" dt="2022-11-15T15:30:06.194" v="3212" actId="165"/>
          <ac:spMkLst>
            <pc:docMk/>
            <pc:sldMk cId="3184406320" sldId="2146849617"/>
            <ac:spMk id="7" creationId="{5A081ABB-14DC-485C-947C-3F10DDF5B418}"/>
          </ac:spMkLst>
        </pc:spChg>
        <pc:spChg chg="add mod topLvl">
          <ac:chgData name="Lars Boe Riber" userId="a0746655-6c86-46e8-9fa0-3fdc9fc77da6" providerId="ADAL" clId="{B603C8DF-16E3-4208-8001-E320ACF2A7C1}" dt="2022-11-15T15:30:06.194" v="3212" actId="165"/>
          <ac:spMkLst>
            <pc:docMk/>
            <pc:sldMk cId="3184406320" sldId="2146849617"/>
            <ac:spMk id="8" creationId="{1D856422-EB18-458E-9E69-7201398DB0B0}"/>
          </ac:spMkLst>
        </pc:spChg>
        <pc:spChg chg="add mod topLvl">
          <ac:chgData name="Lars Boe Riber" userId="a0746655-6c86-46e8-9fa0-3fdc9fc77da6" providerId="ADAL" clId="{B603C8DF-16E3-4208-8001-E320ACF2A7C1}" dt="2022-11-15T15:30:06.194" v="3212" actId="165"/>
          <ac:spMkLst>
            <pc:docMk/>
            <pc:sldMk cId="3184406320" sldId="2146849617"/>
            <ac:spMk id="9" creationId="{B2661B24-07AB-45A4-A873-0832A2E606EC}"/>
          </ac:spMkLst>
        </pc:spChg>
        <pc:spChg chg="add mod topLvl">
          <ac:chgData name="Lars Boe Riber" userId="a0746655-6c86-46e8-9fa0-3fdc9fc77da6" providerId="ADAL" clId="{B603C8DF-16E3-4208-8001-E320ACF2A7C1}" dt="2022-11-15T15:30:06.194" v="3212" actId="165"/>
          <ac:spMkLst>
            <pc:docMk/>
            <pc:sldMk cId="3184406320" sldId="2146849617"/>
            <ac:spMk id="10" creationId="{D6C7EAA2-3951-4400-B6E5-58F08DD03333}"/>
          </ac:spMkLst>
        </pc:spChg>
        <pc:spChg chg="add mod topLvl">
          <ac:chgData name="Lars Boe Riber" userId="a0746655-6c86-46e8-9fa0-3fdc9fc77da6" providerId="ADAL" clId="{B603C8DF-16E3-4208-8001-E320ACF2A7C1}" dt="2022-11-15T15:30:06.194" v="3212" actId="165"/>
          <ac:spMkLst>
            <pc:docMk/>
            <pc:sldMk cId="3184406320" sldId="2146849617"/>
            <ac:spMk id="11" creationId="{25E03093-58FB-4E05-B705-1DAB31B000F4}"/>
          </ac:spMkLst>
        </pc:spChg>
        <pc:spChg chg="add mod topLvl">
          <ac:chgData name="Lars Boe Riber" userId="a0746655-6c86-46e8-9fa0-3fdc9fc77da6" providerId="ADAL" clId="{B603C8DF-16E3-4208-8001-E320ACF2A7C1}" dt="2022-11-15T15:30:06.194" v="3212" actId="165"/>
          <ac:spMkLst>
            <pc:docMk/>
            <pc:sldMk cId="3184406320" sldId="2146849617"/>
            <ac:spMk id="12" creationId="{6A72C6F0-BF64-42D6-AF98-06ACAE292801}"/>
          </ac:spMkLst>
        </pc:spChg>
        <pc:spChg chg="add mod topLvl">
          <ac:chgData name="Lars Boe Riber" userId="a0746655-6c86-46e8-9fa0-3fdc9fc77da6" providerId="ADAL" clId="{B603C8DF-16E3-4208-8001-E320ACF2A7C1}" dt="2022-11-15T15:30:06.194" v="3212" actId="165"/>
          <ac:spMkLst>
            <pc:docMk/>
            <pc:sldMk cId="3184406320" sldId="2146849617"/>
            <ac:spMk id="13" creationId="{CD2F8DA2-57A8-4526-86B1-DB4C0573EB66}"/>
          </ac:spMkLst>
        </pc:spChg>
        <pc:spChg chg="add mod topLvl">
          <ac:chgData name="Lars Boe Riber" userId="a0746655-6c86-46e8-9fa0-3fdc9fc77da6" providerId="ADAL" clId="{B603C8DF-16E3-4208-8001-E320ACF2A7C1}" dt="2022-11-15T15:30:06.194" v="3212" actId="165"/>
          <ac:spMkLst>
            <pc:docMk/>
            <pc:sldMk cId="3184406320" sldId="2146849617"/>
            <ac:spMk id="14" creationId="{473537DA-40F5-414F-870E-E672D609FF7E}"/>
          </ac:spMkLst>
        </pc:spChg>
        <pc:spChg chg="add mod topLvl">
          <ac:chgData name="Lars Boe Riber" userId="a0746655-6c86-46e8-9fa0-3fdc9fc77da6" providerId="ADAL" clId="{B603C8DF-16E3-4208-8001-E320ACF2A7C1}" dt="2022-11-15T15:30:06.194" v="3212" actId="165"/>
          <ac:spMkLst>
            <pc:docMk/>
            <pc:sldMk cId="3184406320" sldId="2146849617"/>
            <ac:spMk id="15" creationId="{E996C3D3-5D7B-42D7-BA22-E625C9959D8E}"/>
          </ac:spMkLst>
        </pc:spChg>
        <pc:spChg chg="add mod topLvl">
          <ac:chgData name="Lars Boe Riber" userId="a0746655-6c86-46e8-9fa0-3fdc9fc77da6" providerId="ADAL" clId="{B603C8DF-16E3-4208-8001-E320ACF2A7C1}" dt="2022-11-15T15:30:06.194" v="3212" actId="165"/>
          <ac:spMkLst>
            <pc:docMk/>
            <pc:sldMk cId="3184406320" sldId="2146849617"/>
            <ac:spMk id="17" creationId="{0C30E3CA-A8C1-470C-A977-2152B8EA500D}"/>
          </ac:spMkLst>
        </pc:spChg>
        <pc:spChg chg="add mod topLvl">
          <ac:chgData name="Lars Boe Riber" userId="a0746655-6c86-46e8-9fa0-3fdc9fc77da6" providerId="ADAL" clId="{B603C8DF-16E3-4208-8001-E320ACF2A7C1}" dt="2022-11-15T15:30:06.194" v="3212" actId="165"/>
          <ac:spMkLst>
            <pc:docMk/>
            <pc:sldMk cId="3184406320" sldId="2146849617"/>
            <ac:spMk id="19" creationId="{CB1B2B26-858A-4F4D-95C3-4B98420A6637}"/>
          </ac:spMkLst>
        </pc:spChg>
        <pc:spChg chg="add mod topLvl">
          <ac:chgData name="Lars Boe Riber" userId="a0746655-6c86-46e8-9fa0-3fdc9fc77da6" providerId="ADAL" clId="{B603C8DF-16E3-4208-8001-E320ACF2A7C1}" dt="2022-11-15T15:30:06.194" v="3212" actId="165"/>
          <ac:spMkLst>
            <pc:docMk/>
            <pc:sldMk cId="3184406320" sldId="2146849617"/>
            <ac:spMk id="21" creationId="{8367B23F-ED7D-49AA-8826-7B1B31B5D16D}"/>
          </ac:spMkLst>
        </pc:spChg>
        <pc:spChg chg="add mod topLvl">
          <ac:chgData name="Lars Boe Riber" userId="a0746655-6c86-46e8-9fa0-3fdc9fc77da6" providerId="ADAL" clId="{B603C8DF-16E3-4208-8001-E320ACF2A7C1}" dt="2022-11-15T15:45:55.855" v="3978" actId="14100"/>
          <ac:spMkLst>
            <pc:docMk/>
            <pc:sldMk cId="3184406320" sldId="2146849617"/>
            <ac:spMk id="27" creationId="{2DFD2B59-4723-44D0-8466-011A17480F9D}"/>
          </ac:spMkLst>
        </pc:spChg>
        <pc:spChg chg="add mod topLvl">
          <ac:chgData name="Lars Boe Riber" userId="a0746655-6c86-46e8-9fa0-3fdc9fc77da6" providerId="ADAL" clId="{B603C8DF-16E3-4208-8001-E320ACF2A7C1}" dt="2022-11-15T15:30:06.194" v="3212" actId="165"/>
          <ac:spMkLst>
            <pc:docMk/>
            <pc:sldMk cId="3184406320" sldId="2146849617"/>
            <ac:spMk id="28" creationId="{9BC58A28-2D07-45D6-B037-519BCF54D5A8}"/>
          </ac:spMkLst>
        </pc:spChg>
        <pc:spChg chg="add mod topLvl">
          <ac:chgData name="Lars Boe Riber" userId="a0746655-6c86-46e8-9fa0-3fdc9fc77da6" providerId="ADAL" clId="{B603C8DF-16E3-4208-8001-E320ACF2A7C1}" dt="2022-11-15T15:30:06.194" v="3212" actId="165"/>
          <ac:spMkLst>
            <pc:docMk/>
            <pc:sldMk cId="3184406320" sldId="2146849617"/>
            <ac:spMk id="30" creationId="{00475946-5A31-45CE-B6B1-5B5009249340}"/>
          </ac:spMkLst>
        </pc:spChg>
        <pc:spChg chg="add mod topLvl">
          <ac:chgData name="Lars Boe Riber" userId="a0746655-6c86-46e8-9fa0-3fdc9fc77da6" providerId="ADAL" clId="{B603C8DF-16E3-4208-8001-E320ACF2A7C1}" dt="2022-11-15T15:30:06.194" v="3212" actId="165"/>
          <ac:spMkLst>
            <pc:docMk/>
            <pc:sldMk cId="3184406320" sldId="2146849617"/>
            <ac:spMk id="31" creationId="{CED07BE7-C962-4A60-BBAA-5D57128BA939}"/>
          </ac:spMkLst>
        </pc:spChg>
        <pc:spChg chg="add mod topLvl">
          <ac:chgData name="Lars Boe Riber" userId="a0746655-6c86-46e8-9fa0-3fdc9fc77da6" providerId="ADAL" clId="{B603C8DF-16E3-4208-8001-E320ACF2A7C1}" dt="2022-11-15T15:30:06.194" v="3212" actId="165"/>
          <ac:spMkLst>
            <pc:docMk/>
            <pc:sldMk cId="3184406320" sldId="2146849617"/>
            <ac:spMk id="33" creationId="{FE3DBB31-9F9B-4139-8318-FD4C6E62175D}"/>
          </ac:spMkLst>
        </pc:spChg>
        <pc:spChg chg="add mod topLvl">
          <ac:chgData name="Lars Boe Riber" userId="a0746655-6c86-46e8-9fa0-3fdc9fc77da6" providerId="ADAL" clId="{B603C8DF-16E3-4208-8001-E320ACF2A7C1}" dt="2022-11-15T15:30:06.194" v="3212" actId="165"/>
          <ac:spMkLst>
            <pc:docMk/>
            <pc:sldMk cId="3184406320" sldId="2146849617"/>
            <ac:spMk id="35" creationId="{836C1F91-6444-4987-9176-83087DC9D698}"/>
          </ac:spMkLst>
        </pc:spChg>
        <pc:spChg chg="add del mod">
          <ac:chgData name="Lars Boe Riber" userId="a0746655-6c86-46e8-9fa0-3fdc9fc77da6" providerId="ADAL" clId="{B603C8DF-16E3-4208-8001-E320ACF2A7C1}" dt="2022-11-17T11:18:57.360" v="6931" actId="478"/>
          <ac:spMkLst>
            <pc:docMk/>
            <pc:sldMk cId="3184406320" sldId="2146849617"/>
            <ac:spMk id="45" creationId="{B76E7DBC-FC62-433B-8A0E-5C17DD46FBA9}"/>
          </ac:spMkLst>
        </pc:spChg>
        <pc:spChg chg="add del mod">
          <ac:chgData name="Lars Boe Riber" userId="a0746655-6c86-46e8-9fa0-3fdc9fc77da6" providerId="ADAL" clId="{B603C8DF-16E3-4208-8001-E320ACF2A7C1}" dt="2022-11-17T11:18:57.360" v="6931" actId="478"/>
          <ac:spMkLst>
            <pc:docMk/>
            <pc:sldMk cId="3184406320" sldId="2146849617"/>
            <ac:spMk id="46" creationId="{8626458A-FFDD-45B2-96B0-14030C022A65}"/>
          </ac:spMkLst>
        </pc:spChg>
        <pc:spChg chg="add del mod">
          <ac:chgData name="Lars Boe Riber" userId="a0746655-6c86-46e8-9fa0-3fdc9fc77da6" providerId="ADAL" clId="{B603C8DF-16E3-4208-8001-E320ACF2A7C1}" dt="2022-11-17T11:18:57.360" v="6931" actId="478"/>
          <ac:spMkLst>
            <pc:docMk/>
            <pc:sldMk cId="3184406320" sldId="2146849617"/>
            <ac:spMk id="47" creationId="{1823ECEE-0029-4319-81BE-96DB41DCF09F}"/>
          </ac:spMkLst>
        </pc:spChg>
        <pc:spChg chg="add mod">
          <ac:chgData name="Lars Boe Riber" userId="a0746655-6c86-46e8-9fa0-3fdc9fc77da6" providerId="ADAL" clId="{B603C8DF-16E3-4208-8001-E320ACF2A7C1}" dt="2022-11-17T08:43:43.110" v="4222" actId="207"/>
          <ac:spMkLst>
            <pc:docMk/>
            <pc:sldMk cId="3184406320" sldId="2146849617"/>
            <ac:spMk id="48" creationId="{3C91852D-885E-4ABC-B918-1F41E8F1E510}"/>
          </ac:spMkLst>
        </pc:spChg>
        <pc:grpChg chg="add del mod">
          <ac:chgData name="Lars Boe Riber" userId="a0746655-6c86-46e8-9fa0-3fdc9fc77da6" providerId="ADAL" clId="{B603C8DF-16E3-4208-8001-E320ACF2A7C1}" dt="2022-11-15T15:30:06.194" v="3212" actId="165"/>
          <ac:grpSpMkLst>
            <pc:docMk/>
            <pc:sldMk cId="3184406320" sldId="2146849617"/>
            <ac:grpSpMk id="3" creationId="{945A451E-9D58-45B2-9510-1867F96B955D}"/>
          </ac:grpSpMkLst>
        </pc:grpChg>
        <pc:cxnChg chg="add mod topLvl">
          <ac:chgData name="Lars Boe Riber" userId="a0746655-6c86-46e8-9fa0-3fdc9fc77da6" providerId="ADAL" clId="{B603C8DF-16E3-4208-8001-E320ACF2A7C1}" dt="2022-11-15T15:30:06.194" v="3212" actId="165"/>
          <ac:cxnSpMkLst>
            <pc:docMk/>
            <pc:sldMk cId="3184406320" sldId="2146849617"/>
            <ac:cxnSpMk id="16" creationId="{2FA20B05-5FCC-46EC-96CD-6E5F96E97149}"/>
          </ac:cxnSpMkLst>
        </pc:cxnChg>
        <pc:cxnChg chg="add mod topLvl">
          <ac:chgData name="Lars Boe Riber" userId="a0746655-6c86-46e8-9fa0-3fdc9fc77da6" providerId="ADAL" clId="{B603C8DF-16E3-4208-8001-E320ACF2A7C1}" dt="2022-11-15T15:30:06.194" v="3212" actId="165"/>
          <ac:cxnSpMkLst>
            <pc:docMk/>
            <pc:sldMk cId="3184406320" sldId="2146849617"/>
            <ac:cxnSpMk id="18" creationId="{F5033A67-F267-4569-848A-9E571B820D3E}"/>
          </ac:cxnSpMkLst>
        </pc:cxnChg>
        <pc:cxnChg chg="add mod topLvl">
          <ac:chgData name="Lars Boe Riber" userId="a0746655-6c86-46e8-9fa0-3fdc9fc77da6" providerId="ADAL" clId="{B603C8DF-16E3-4208-8001-E320ACF2A7C1}" dt="2022-11-15T15:30:06.194" v="3212" actId="165"/>
          <ac:cxnSpMkLst>
            <pc:docMk/>
            <pc:sldMk cId="3184406320" sldId="2146849617"/>
            <ac:cxnSpMk id="20" creationId="{21F53C55-FEED-4720-946C-533C2538FBBC}"/>
          </ac:cxnSpMkLst>
        </pc:cxnChg>
        <pc:cxnChg chg="add mod topLvl">
          <ac:chgData name="Lars Boe Riber" userId="a0746655-6c86-46e8-9fa0-3fdc9fc77da6" providerId="ADAL" clId="{B603C8DF-16E3-4208-8001-E320ACF2A7C1}" dt="2022-11-15T15:30:06.194" v="3212" actId="165"/>
          <ac:cxnSpMkLst>
            <pc:docMk/>
            <pc:sldMk cId="3184406320" sldId="2146849617"/>
            <ac:cxnSpMk id="22" creationId="{77E44B03-3254-4F63-83AB-868E03FCD57D}"/>
          </ac:cxnSpMkLst>
        </pc:cxnChg>
        <pc:cxnChg chg="add mod topLvl">
          <ac:chgData name="Lars Boe Riber" userId="a0746655-6c86-46e8-9fa0-3fdc9fc77da6" providerId="ADAL" clId="{B603C8DF-16E3-4208-8001-E320ACF2A7C1}" dt="2022-11-15T15:30:06.194" v="3212" actId="165"/>
          <ac:cxnSpMkLst>
            <pc:docMk/>
            <pc:sldMk cId="3184406320" sldId="2146849617"/>
            <ac:cxnSpMk id="23" creationId="{114549C6-8767-45E0-A082-9C2C83137AA7}"/>
          </ac:cxnSpMkLst>
        </pc:cxnChg>
        <pc:cxnChg chg="add mod topLvl">
          <ac:chgData name="Lars Boe Riber" userId="a0746655-6c86-46e8-9fa0-3fdc9fc77da6" providerId="ADAL" clId="{B603C8DF-16E3-4208-8001-E320ACF2A7C1}" dt="2022-11-15T15:30:06.194" v="3212" actId="165"/>
          <ac:cxnSpMkLst>
            <pc:docMk/>
            <pc:sldMk cId="3184406320" sldId="2146849617"/>
            <ac:cxnSpMk id="24" creationId="{C8D1F012-8FAE-482E-A641-AA373BC85700}"/>
          </ac:cxnSpMkLst>
        </pc:cxnChg>
        <pc:cxnChg chg="add mod topLvl">
          <ac:chgData name="Lars Boe Riber" userId="a0746655-6c86-46e8-9fa0-3fdc9fc77da6" providerId="ADAL" clId="{B603C8DF-16E3-4208-8001-E320ACF2A7C1}" dt="2022-11-15T15:30:06.194" v="3212" actId="165"/>
          <ac:cxnSpMkLst>
            <pc:docMk/>
            <pc:sldMk cId="3184406320" sldId="2146849617"/>
            <ac:cxnSpMk id="25" creationId="{5AF0FB52-7AE0-46D2-A9D9-FD03A0333796}"/>
          </ac:cxnSpMkLst>
        </pc:cxnChg>
        <pc:cxnChg chg="add mod topLvl">
          <ac:chgData name="Lars Boe Riber" userId="a0746655-6c86-46e8-9fa0-3fdc9fc77da6" providerId="ADAL" clId="{B603C8DF-16E3-4208-8001-E320ACF2A7C1}" dt="2022-11-15T15:30:06.194" v="3212" actId="165"/>
          <ac:cxnSpMkLst>
            <pc:docMk/>
            <pc:sldMk cId="3184406320" sldId="2146849617"/>
            <ac:cxnSpMk id="26" creationId="{BA3BD29E-8271-4168-8E0A-31B24AF97DA9}"/>
          </ac:cxnSpMkLst>
        </pc:cxnChg>
        <pc:cxnChg chg="add mod topLvl">
          <ac:chgData name="Lars Boe Riber" userId="a0746655-6c86-46e8-9fa0-3fdc9fc77da6" providerId="ADAL" clId="{B603C8DF-16E3-4208-8001-E320ACF2A7C1}" dt="2022-11-15T15:30:06.194" v="3212" actId="165"/>
          <ac:cxnSpMkLst>
            <pc:docMk/>
            <pc:sldMk cId="3184406320" sldId="2146849617"/>
            <ac:cxnSpMk id="29" creationId="{343DEA07-0F78-4740-A701-562E9D985D24}"/>
          </ac:cxnSpMkLst>
        </pc:cxnChg>
        <pc:cxnChg chg="add mod topLvl">
          <ac:chgData name="Lars Boe Riber" userId="a0746655-6c86-46e8-9fa0-3fdc9fc77da6" providerId="ADAL" clId="{B603C8DF-16E3-4208-8001-E320ACF2A7C1}" dt="2022-11-15T15:30:06.194" v="3212" actId="165"/>
          <ac:cxnSpMkLst>
            <pc:docMk/>
            <pc:sldMk cId="3184406320" sldId="2146849617"/>
            <ac:cxnSpMk id="32" creationId="{03C74609-2687-4CA3-A07D-A5A786A502A3}"/>
          </ac:cxnSpMkLst>
        </pc:cxnChg>
        <pc:cxnChg chg="add mod topLvl">
          <ac:chgData name="Lars Boe Riber" userId="a0746655-6c86-46e8-9fa0-3fdc9fc77da6" providerId="ADAL" clId="{B603C8DF-16E3-4208-8001-E320ACF2A7C1}" dt="2022-11-15T15:30:06.194" v="3212" actId="165"/>
          <ac:cxnSpMkLst>
            <pc:docMk/>
            <pc:sldMk cId="3184406320" sldId="2146849617"/>
            <ac:cxnSpMk id="34" creationId="{B2593C39-7D9D-476C-B546-99640D3E5B5E}"/>
          </ac:cxnSpMkLst>
        </pc:cxnChg>
        <pc:cxnChg chg="add mod topLvl">
          <ac:chgData name="Lars Boe Riber" userId="a0746655-6c86-46e8-9fa0-3fdc9fc77da6" providerId="ADAL" clId="{B603C8DF-16E3-4208-8001-E320ACF2A7C1}" dt="2022-11-15T15:30:06.194" v="3212" actId="165"/>
          <ac:cxnSpMkLst>
            <pc:docMk/>
            <pc:sldMk cId="3184406320" sldId="2146849617"/>
            <ac:cxnSpMk id="36" creationId="{BE48FC22-2C13-465F-96B7-E891183AD9BE}"/>
          </ac:cxnSpMkLst>
        </pc:cxnChg>
        <pc:cxnChg chg="add mod topLvl">
          <ac:chgData name="Lars Boe Riber" userId="a0746655-6c86-46e8-9fa0-3fdc9fc77da6" providerId="ADAL" clId="{B603C8DF-16E3-4208-8001-E320ACF2A7C1}" dt="2022-11-15T15:30:06.194" v="3212" actId="165"/>
          <ac:cxnSpMkLst>
            <pc:docMk/>
            <pc:sldMk cId="3184406320" sldId="2146849617"/>
            <ac:cxnSpMk id="37" creationId="{80044332-9662-4455-AB55-CBCC57AC44CC}"/>
          </ac:cxnSpMkLst>
        </pc:cxnChg>
        <pc:cxnChg chg="add mod topLvl">
          <ac:chgData name="Lars Boe Riber" userId="a0746655-6c86-46e8-9fa0-3fdc9fc77da6" providerId="ADAL" clId="{B603C8DF-16E3-4208-8001-E320ACF2A7C1}" dt="2022-11-15T15:30:06.194" v="3212" actId="165"/>
          <ac:cxnSpMkLst>
            <pc:docMk/>
            <pc:sldMk cId="3184406320" sldId="2146849617"/>
            <ac:cxnSpMk id="38" creationId="{D43E2A42-8FBC-4E22-91E0-3B9AD063AA5E}"/>
          </ac:cxnSpMkLst>
        </pc:cxnChg>
        <pc:cxnChg chg="add mod topLvl">
          <ac:chgData name="Lars Boe Riber" userId="a0746655-6c86-46e8-9fa0-3fdc9fc77da6" providerId="ADAL" clId="{B603C8DF-16E3-4208-8001-E320ACF2A7C1}" dt="2022-11-15T15:30:06.194" v="3212" actId="165"/>
          <ac:cxnSpMkLst>
            <pc:docMk/>
            <pc:sldMk cId="3184406320" sldId="2146849617"/>
            <ac:cxnSpMk id="39" creationId="{04A48578-6589-455F-9B6D-AE4300232A9B}"/>
          </ac:cxnSpMkLst>
        </pc:cxnChg>
        <pc:cxnChg chg="add mod topLvl">
          <ac:chgData name="Lars Boe Riber" userId="a0746655-6c86-46e8-9fa0-3fdc9fc77da6" providerId="ADAL" clId="{B603C8DF-16E3-4208-8001-E320ACF2A7C1}" dt="2022-11-15T15:30:06.194" v="3212" actId="165"/>
          <ac:cxnSpMkLst>
            <pc:docMk/>
            <pc:sldMk cId="3184406320" sldId="2146849617"/>
            <ac:cxnSpMk id="40" creationId="{7FB89BAF-4F86-424F-863E-03A2083685EA}"/>
          </ac:cxnSpMkLst>
        </pc:cxnChg>
        <pc:cxnChg chg="add mod topLvl">
          <ac:chgData name="Lars Boe Riber" userId="a0746655-6c86-46e8-9fa0-3fdc9fc77da6" providerId="ADAL" clId="{B603C8DF-16E3-4208-8001-E320ACF2A7C1}" dt="2022-11-15T15:30:06.194" v="3212" actId="165"/>
          <ac:cxnSpMkLst>
            <pc:docMk/>
            <pc:sldMk cId="3184406320" sldId="2146849617"/>
            <ac:cxnSpMk id="41" creationId="{35AD9E90-9AC1-4E25-8E60-4D9B5C51CEFA}"/>
          </ac:cxnSpMkLst>
        </pc:cxnChg>
        <pc:cxnChg chg="add mod topLvl">
          <ac:chgData name="Lars Boe Riber" userId="a0746655-6c86-46e8-9fa0-3fdc9fc77da6" providerId="ADAL" clId="{B603C8DF-16E3-4208-8001-E320ACF2A7C1}" dt="2022-11-15T15:30:06.194" v="3212" actId="165"/>
          <ac:cxnSpMkLst>
            <pc:docMk/>
            <pc:sldMk cId="3184406320" sldId="2146849617"/>
            <ac:cxnSpMk id="42" creationId="{C3D363DD-4BFA-4335-926F-572FBA597A01}"/>
          </ac:cxnSpMkLst>
        </pc:cxnChg>
        <pc:cxnChg chg="add mod topLvl">
          <ac:chgData name="Lars Boe Riber" userId="a0746655-6c86-46e8-9fa0-3fdc9fc77da6" providerId="ADAL" clId="{B603C8DF-16E3-4208-8001-E320ACF2A7C1}" dt="2022-11-15T15:30:06.194" v="3212" actId="165"/>
          <ac:cxnSpMkLst>
            <pc:docMk/>
            <pc:sldMk cId="3184406320" sldId="2146849617"/>
            <ac:cxnSpMk id="43" creationId="{0191F768-C764-4FA9-A963-91551219A950}"/>
          </ac:cxnSpMkLst>
        </pc:cxnChg>
        <pc:cxnChg chg="add mod topLvl">
          <ac:chgData name="Lars Boe Riber" userId="a0746655-6c86-46e8-9fa0-3fdc9fc77da6" providerId="ADAL" clId="{B603C8DF-16E3-4208-8001-E320ACF2A7C1}" dt="2022-11-15T15:30:06.194" v="3212" actId="165"/>
          <ac:cxnSpMkLst>
            <pc:docMk/>
            <pc:sldMk cId="3184406320" sldId="2146849617"/>
            <ac:cxnSpMk id="44" creationId="{383A352B-28A3-42A6-8516-3B880472EAF3}"/>
          </ac:cxnSpMkLst>
        </pc:cxnChg>
      </pc:sldChg>
      <pc:sldChg chg="addSp delSp modSp new mod">
        <pc:chgData name="Lars Boe Riber" userId="a0746655-6c86-46e8-9fa0-3fdc9fc77da6" providerId="ADAL" clId="{B603C8DF-16E3-4208-8001-E320ACF2A7C1}" dt="2022-11-17T11:18:57.183" v="6930" actId="11530"/>
        <pc:sldMkLst>
          <pc:docMk/>
          <pc:sldMk cId="2346694034" sldId="2146849618"/>
        </pc:sldMkLst>
        <pc:spChg chg="mod">
          <ac:chgData name="Lars Boe Riber" userId="a0746655-6c86-46e8-9fa0-3fdc9fc77da6" providerId="ADAL" clId="{B603C8DF-16E3-4208-8001-E320ACF2A7C1}" dt="2022-11-15T15:42:02.430" v="3671" actId="20577"/>
          <ac:spMkLst>
            <pc:docMk/>
            <pc:sldMk cId="2346694034" sldId="2146849618"/>
            <ac:spMk id="2" creationId="{AE49A06D-7930-4B5F-B5A0-41474ABABEED}"/>
          </ac:spMkLst>
        </pc:spChg>
        <pc:spChg chg="del">
          <ac:chgData name="Lars Boe Riber" userId="a0746655-6c86-46e8-9fa0-3fdc9fc77da6" providerId="ADAL" clId="{B603C8DF-16E3-4208-8001-E320ACF2A7C1}" dt="2022-11-15T15:31:24.322" v="3214" actId="478"/>
          <ac:spMkLst>
            <pc:docMk/>
            <pc:sldMk cId="2346694034" sldId="2146849618"/>
            <ac:spMk id="3" creationId="{EF264324-B97F-47EA-A243-5588EBD4FAAD}"/>
          </ac:spMkLst>
        </pc:spChg>
        <pc:spChg chg="add mod">
          <ac:chgData name="Lars Boe Riber" userId="a0746655-6c86-46e8-9fa0-3fdc9fc77da6" providerId="ADAL" clId="{B603C8DF-16E3-4208-8001-E320ACF2A7C1}" dt="2022-11-15T15:31:57.407" v="3295"/>
          <ac:spMkLst>
            <pc:docMk/>
            <pc:sldMk cId="2346694034" sldId="2146849618"/>
            <ac:spMk id="6" creationId="{E58F7D17-D675-4F3B-920D-8E6AC7755896}"/>
          </ac:spMkLst>
        </pc:spChg>
        <pc:spChg chg="add del mod">
          <ac:chgData name="Lars Boe Riber" userId="a0746655-6c86-46e8-9fa0-3fdc9fc77da6" providerId="ADAL" clId="{B603C8DF-16E3-4208-8001-E320ACF2A7C1}" dt="2022-11-15T15:43:42.150" v="3956" actId="478"/>
          <ac:spMkLst>
            <pc:docMk/>
            <pc:sldMk cId="2346694034" sldId="2146849618"/>
            <ac:spMk id="7" creationId="{5F58ECCA-A49C-4B8C-BBCC-008BECA86FA2}"/>
          </ac:spMkLst>
        </pc:spChg>
        <pc:spChg chg="add mod">
          <ac:chgData name="Lars Boe Riber" userId="a0746655-6c86-46e8-9fa0-3fdc9fc77da6" providerId="ADAL" clId="{B603C8DF-16E3-4208-8001-E320ACF2A7C1}" dt="2022-11-17T11:18:57.183" v="6930" actId="11530"/>
          <ac:spMkLst>
            <pc:docMk/>
            <pc:sldMk cId="2346694034" sldId="2146849618"/>
            <ac:spMk id="8" creationId="{08C9B489-1409-48D5-8ECC-87965B2F43FC}"/>
          </ac:spMkLst>
        </pc:spChg>
        <pc:spChg chg="add mod">
          <ac:chgData name="Lars Boe Riber" userId="a0746655-6c86-46e8-9fa0-3fdc9fc77da6" providerId="ADAL" clId="{B603C8DF-16E3-4208-8001-E320ACF2A7C1}" dt="2022-11-17T11:18:57.183" v="6930" actId="11530"/>
          <ac:spMkLst>
            <pc:docMk/>
            <pc:sldMk cId="2346694034" sldId="2146849618"/>
            <ac:spMk id="9" creationId="{73EF7EE2-4EE4-4B36-AA54-473087E499C5}"/>
          </ac:spMkLst>
        </pc:spChg>
        <pc:spChg chg="add mod">
          <ac:chgData name="Lars Boe Riber" userId="a0746655-6c86-46e8-9fa0-3fdc9fc77da6" providerId="ADAL" clId="{B603C8DF-16E3-4208-8001-E320ACF2A7C1}" dt="2022-11-17T11:18:57.183" v="6930" actId="11530"/>
          <ac:spMkLst>
            <pc:docMk/>
            <pc:sldMk cId="2346694034" sldId="2146849618"/>
            <ac:spMk id="10" creationId="{55F11466-F485-4E2D-9BD2-D889A29A7DB2}"/>
          </ac:spMkLst>
        </pc:spChg>
        <pc:spChg chg="add mod">
          <ac:chgData name="Lars Boe Riber" userId="a0746655-6c86-46e8-9fa0-3fdc9fc77da6" providerId="ADAL" clId="{B603C8DF-16E3-4208-8001-E320ACF2A7C1}" dt="2022-11-17T11:18:57.183" v="6930" actId="11530"/>
          <ac:spMkLst>
            <pc:docMk/>
            <pc:sldMk cId="2346694034" sldId="2146849618"/>
            <ac:spMk id="11" creationId="{23F52D40-F2E1-4152-AE74-33FBAB9A4D93}"/>
          </ac:spMkLst>
        </pc:spChg>
        <pc:spChg chg="add mod">
          <ac:chgData name="Lars Boe Riber" userId="a0746655-6c86-46e8-9fa0-3fdc9fc77da6" providerId="ADAL" clId="{B603C8DF-16E3-4208-8001-E320ACF2A7C1}" dt="2022-11-17T11:18:57.183" v="6930" actId="11530"/>
          <ac:spMkLst>
            <pc:docMk/>
            <pc:sldMk cId="2346694034" sldId="2146849618"/>
            <ac:spMk id="12" creationId="{4520221B-705C-41F4-8BAB-4560FB91E9CD}"/>
          </ac:spMkLst>
        </pc:spChg>
        <pc:spChg chg="add mod">
          <ac:chgData name="Lars Boe Riber" userId="a0746655-6c86-46e8-9fa0-3fdc9fc77da6" providerId="ADAL" clId="{B603C8DF-16E3-4208-8001-E320ACF2A7C1}" dt="2022-11-17T11:18:57.183" v="6930" actId="11530"/>
          <ac:spMkLst>
            <pc:docMk/>
            <pc:sldMk cId="2346694034" sldId="2146849618"/>
            <ac:spMk id="13" creationId="{CF6EE739-19AE-4CB4-B835-75FDA532F0D9}"/>
          </ac:spMkLst>
        </pc:spChg>
        <pc:spChg chg="add mod">
          <ac:chgData name="Lars Boe Riber" userId="a0746655-6c86-46e8-9fa0-3fdc9fc77da6" providerId="ADAL" clId="{B603C8DF-16E3-4208-8001-E320ACF2A7C1}" dt="2022-11-15T15:35:11.896" v="3440" actId="571"/>
          <ac:spMkLst>
            <pc:docMk/>
            <pc:sldMk cId="2346694034" sldId="2146849618"/>
            <ac:spMk id="14" creationId="{41390FC1-B42C-42A5-9C3F-4E5B4BE49938}"/>
          </ac:spMkLst>
        </pc:spChg>
        <pc:spChg chg="add mod">
          <ac:chgData name="Lars Boe Riber" userId="a0746655-6c86-46e8-9fa0-3fdc9fc77da6" providerId="ADAL" clId="{B603C8DF-16E3-4208-8001-E320ACF2A7C1}" dt="2022-11-15T15:35:11.896" v="3440" actId="571"/>
          <ac:spMkLst>
            <pc:docMk/>
            <pc:sldMk cId="2346694034" sldId="2146849618"/>
            <ac:spMk id="15" creationId="{47E71D33-3862-446B-A500-D89735AAF021}"/>
          </ac:spMkLst>
        </pc:spChg>
        <pc:spChg chg="add mod">
          <ac:chgData name="Lars Boe Riber" userId="a0746655-6c86-46e8-9fa0-3fdc9fc77da6" providerId="ADAL" clId="{B603C8DF-16E3-4208-8001-E320ACF2A7C1}" dt="2022-11-15T15:35:11.896" v="3440" actId="571"/>
          <ac:spMkLst>
            <pc:docMk/>
            <pc:sldMk cId="2346694034" sldId="2146849618"/>
            <ac:spMk id="16" creationId="{00A448A1-A2ED-4505-89B4-8486FE71275F}"/>
          </ac:spMkLst>
        </pc:spChg>
        <pc:spChg chg="add mod">
          <ac:chgData name="Lars Boe Riber" userId="a0746655-6c86-46e8-9fa0-3fdc9fc77da6" providerId="ADAL" clId="{B603C8DF-16E3-4208-8001-E320ACF2A7C1}" dt="2022-11-15T15:35:11.896" v="3440" actId="571"/>
          <ac:spMkLst>
            <pc:docMk/>
            <pc:sldMk cId="2346694034" sldId="2146849618"/>
            <ac:spMk id="17" creationId="{6473958F-1DC9-492C-8FD2-07478EF4E291}"/>
          </ac:spMkLst>
        </pc:spChg>
        <pc:spChg chg="add mod">
          <ac:chgData name="Lars Boe Riber" userId="a0746655-6c86-46e8-9fa0-3fdc9fc77da6" providerId="ADAL" clId="{B603C8DF-16E3-4208-8001-E320ACF2A7C1}" dt="2022-11-15T15:35:11.896" v="3440" actId="571"/>
          <ac:spMkLst>
            <pc:docMk/>
            <pc:sldMk cId="2346694034" sldId="2146849618"/>
            <ac:spMk id="18" creationId="{90D6E886-BC21-403D-BCF9-294B9B613680}"/>
          </ac:spMkLst>
        </pc:spChg>
        <pc:spChg chg="mod">
          <ac:chgData name="Lars Boe Riber" userId="a0746655-6c86-46e8-9fa0-3fdc9fc77da6" providerId="ADAL" clId="{B603C8DF-16E3-4208-8001-E320ACF2A7C1}" dt="2022-11-15T15:37:43.369" v="3531"/>
          <ac:spMkLst>
            <pc:docMk/>
            <pc:sldMk cId="2346694034" sldId="2146849618"/>
            <ac:spMk id="20" creationId="{C181F98F-60FB-4A50-9587-478CF5DE76B4}"/>
          </ac:spMkLst>
        </pc:spChg>
        <pc:spChg chg="mod">
          <ac:chgData name="Lars Boe Riber" userId="a0746655-6c86-46e8-9fa0-3fdc9fc77da6" providerId="ADAL" clId="{B603C8DF-16E3-4208-8001-E320ACF2A7C1}" dt="2022-11-15T15:38:24.519" v="3533"/>
          <ac:spMkLst>
            <pc:docMk/>
            <pc:sldMk cId="2346694034" sldId="2146849618"/>
            <ac:spMk id="23" creationId="{CE88B6C1-03CC-4840-909F-5BE632993630}"/>
          </ac:spMkLst>
        </pc:spChg>
        <pc:spChg chg="mod">
          <ac:chgData name="Lars Boe Riber" userId="a0746655-6c86-46e8-9fa0-3fdc9fc77da6" providerId="ADAL" clId="{B603C8DF-16E3-4208-8001-E320ACF2A7C1}" dt="2022-11-15T15:38:38.155" v="3535"/>
          <ac:spMkLst>
            <pc:docMk/>
            <pc:sldMk cId="2346694034" sldId="2146849618"/>
            <ac:spMk id="26" creationId="{232F18A2-980E-47B3-ABA1-F1F8458563A3}"/>
          </ac:spMkLst>
        </pc:spChg>
        <pc:spChg chg="mod">
          <ac:chgData name="Lars Boe Riber" userId="a0746655-6c86-46e8-9fa0-3fdc9fc77da6" providerId="ADAL" clId="{B603C8DF-16E3-4208-8001-E320ACF2A7C1}" dt="2022-11-15T15:39:22.197" v="3537"/>
          <ac:spMkLst>
            <pc:docMk/>
            <pc:sldMk cId="2346694034" sldId="2146849618"/>
            <ac:spMk id="29" creationId="{96596107-3CE4-4F01-BA92-4D03DF68DF68}"/>
          </ac:spMkLst>
        </pc:spChg>
        <pc:spChg chg="mod">
          <ac:chgData name="Lars Boe Riber" userId="a0746655-6c86-46e8-9fa0-3fdc9fc77da6" providerId="ADAL" clId="{B603C8DF-16E3-4208-8001-E320ACF2A7C1}" dt="2022-11-15T15:39:35.332" v="3539"/>
          <ac:spMkLst>
            <pc:docMk/>
            <pc:sldMk cId="2346694034" sldId="2146849618"/>
            <ac:spMk id="32" creationId="{05A466C6-EAE9-43AA-8843-8D8157CF803B}"/>
          </ac:spMkLst>
        </pc:spChg>
        <pc:spChg chg="mod">
          <ac:chgData name="Lars Boe Riber" userId="a0746655-6c86-46e8-9fa0-3fdc9fc77da6" providerId="ADAL" clId="{B603C8DF-16E3-4208-8001-E320ACF2A7C1}" dt="2022-11-15T15:39:54.622" v="3541"/>
          <ac:spMkLst>
            <pc:docMk/>
            <pc:sldMk cId="2346694034" sldId="2146849618"/>
            <ac:spMk id="35" creationId="{C57E2660-3451-489A-8251-49D17A3CA844}"/>
          </ac:spMkLst>
        </pc:spChg>
        <pc:spChg chg="add mod">
          <ac:chgData name="Lars Boe Riber" userId="a0746655-6c86-46e8-9fa0-3fdc9fc77da6" providerId="ADAL" clId="{B603C8DF-16E3-4208-8001-E320ACF2A7C1}" dt="2022-11-17T10:11:10.213" v="6480" actId="207"/>
          <ac:spMkLst>
            <pc:docMk/>
            <pc:sldMk cId="2346694034" sldId="2146849618"/>
            <ac:spMk id="37" creationId="{1CAF4A50-053F-4CA7-B389-DE91934D11BB}"/>
          </ac:spMkLst>
        </pc:spChg>
        <pc:spChg chg="add mod">
          <ac:chgData name="Lars Boe Riber" userId="a0746655-6c86-46e8-9fa0-3fdc9fc77da6" providerId="ADAL" clId="{B603C8DF-16E3-4208-8001-E320ACF2A7C1}" dt="2022-11-17T08:43:45.855" v="4223"/>
          <ac:spMkLst>
            <pc:docMk/>
            <pc:sldMk cId="2346694034" sldId="2146849618"/>
            <ac:spMk id="38" creationId="{CE1B5D5F-FAA5-4D1E-963A-1EB455C4238F}"/>
          </ac:spMkLst>
        </pc:spChg>
        <pc:spChg chg="add del mod">
          <ac:chgData name="Lars Boe Riber" userId="a0746655-6c86-46e8-9fa0-3fdc9fc77da6" providerId="ADAL" clId="{B603C8DF-16E3-4208-8001-E320ACF2A7C1}" dt="2022-11-15T15:43:45.024" v="3957" actId="478"/>
          <ac:spMkLst>
            <pc:docMk/>
            <pc:sldMk cId="2346694034" sldId="2146849618"/>
            <ac:spMk id="39" creationId="{38A6586B-3573-46E9-8797-F3CBAE0CA6E7}"/>
          </ac:spMkLst>
        </pc:spChg>
        <pc:grpChg chg="add mod">
          <ac:chgData name="Lars Boe Riber" userId="a0746655-6c86-46e8-9fa0-3fdc9fc77da6" providerId="ADAL" clId="{B603C8DF-16E3-4208-8001-E320ACF2A7C1}" dt="2022-11-15T15:40:20.414" v="3545" actId="12789"/>
          <ac:grpSpMkLst>
            <pc:docMk/>
            <pc:sldMk cId="2346694034" sldId="2146849618"/>
            <ac:grpSpMk id="19" creationId="{4E043D41-8CBE-4143-A479-4AF9B0FBC90D}"/>
          </ac:grpSpMkLst>
        </pc:grpChg>
        <pc:grpChg chg="add mod">
          <ac:chgData name="Lars Boe Riber" userId="a0746655-6c86-46e8-9fa0-3fdc9fc77da6" providerId="ADAL" clId="{B603C8DF-16E3-4208-8001-E320ACF2A7C1}" dt="2022-11-15T15:40:20.414" v="3545" actId="12789"/>
          <ac:grpSpMkLst>
            <pc:docMk/>
            <pc:sldMk cId="2346694034" sldId="2146849618"/>
            <ac:grpSpMk id="22" creationId="{BF0D7BBB-F26C-4859-B835-0EFE0CB7C6DD}"/>
          </ac:grpSpMkLst>
        </pc:grpChg>
        <pc:grpChg chg="add mod">
          <ac:chgData name="Lars Boe Riber" userId="a0746655-6c86-46e8-9fa0-3fdc9fc77da6" providerId="ADAL" clId="{B603C8DF-16E3-4208-8001-E320ACF2A7C1}" dt="2022-11-15T15:40:10.987" v="3543" actId="12789"/>
          <ac:grpSpMkLst>
            <pc:docMk/>
            <pc:sldMk cId="2346694034" sldId="2146849618"/>
            <ac:grpSpMk id="25" creationId="{01643CDE-0003-4AFD-81D8-A25CBBCA94A4}"/>
          </ac:grpSpMkLst>
        </pc:grpChg>
        <pc:grpChg chg="add mod">
          <ac:chgData name="Lars Boe Riber" userId="a0746655-6c86-46e8-9fa0-3fdc9fc77da6" providerId="ADAL" clId="{B603C8DF-16E3-4208-8001-E320ACF2A7C1}" dt="2022-11-15T15:40:29.425" v="3546" actId="12789"/>
          <ac:grpSpMkLst>
            <pc:docMk/>
            <pc:sldMk cId="2346694034" sldId="2146849618"/>
            <ac:grpSpMk id="28" creationId="{EAC43ECB-84C5-40B8-AC83-EAD0420CDE8D}"/>
          </ac:grpSpMkLst>
        </pc:grpChg>
        <pc:grpChg chg="add mod">
          <ac:chgData name="Lars Boe Riber" userId="a0746655-6c86-46e8-9fa0-3fdc9fc77da6" providerId="ADAL" clId="{B603C8DF-16E3-4208-8001-E320ACF2A7C1}" dt="2022-11-15T15:40:29.425" v="3546" actId="12789"/>
          <ac:grpSpMkLst>
            <pc:docMk/>
            <pc:sldMk cId="2346694034" sldId="2146849618"/>
            <ac:grpSpMk id="31" creationId="{00CA838C-DBCA-4682-8655-505E0E86F0FB}"/>
          </ac:grpSpMkLst>
        </pc:grpChg>
        <pc:grpChg chg="add mod">
          <ac:chgData name="Lars Boe Riber" userId="a0746655-6c86-46e8-9fa0-3fdc9fc77da6" providerId="ADAL" clId="{B603C8DF-16E3-4208-8001-E320ACF2A7C1}" dt="2022-11-15T15:40:10.987" v="3543" actId="12789"/>
          <ac:grpSpMkLst>
            <pc:docMk/>
            <pc:sldMk cId="2346694034" sldId="2146849618"/>
            <ac:grpSpMk id="34" creationId="{5A507181-92FE-41F6-90CA-9A1AD9CC9B40}"/>
          </ac:grpSpMkLst>
        </pc:grpChg>
        <pc:picChg chg="add del mod">
          <ac:chgData name="Lars Boe Riber" userId="a0746655-6c86-46e8-9fa0-3fdc9fc77da6" providerId="ADAL" clId="{B603C8DF-16E3-4208-8001-E320ACF2A7C1}" dt="2022-11-15T15:40:13.845" v="3544" actId="478"/>
          <ac:picMkLst>
            <pc:docMk/>
            <pc:sldMk cId="2346694034" sldId="2146849618"/>
            <ac:picMk id="5" creationId="{F193EEDD-7526-4F03-9512-A2D2FFE4C594}"/>
          </ac:picMkLst>
        </pc:picChg>
        <pc:picChg chg="mod">
          <ac:chgData name="Lars Boe Riber" userId="a0746655-6c86-46e8-9fa0-3fdc9fc77da6" providerId="ADAL" clId="{B603C8DF-16E3-4208-8001-E320ACF2A7C1}" dt="2022-11-15T15:37:43.369" v="3531"/>
          <ac:picMkLst>
            <pc:docMk/>
            <pc:sldMk cId="2346694034" sldId="2146849618"/>
            <ac:picMk id="21" creationId="{1E6C2758-89F0-4A80-A7D4-560CA382BC27}"/>
          </ac:picMkLst>
        </pc:picChg>
        <pc:picChg chg="mod">
          <ac:chgData name="Lars Boe Riber" userId="a0746655-6c86-46e8-9fa0-3fdc9fc77da6" providerId="ADAL" clId="{B603C8DF-16E3-4208-8001-E320ACF2A7C1}" dt="2022-11-15T15:38:24.519" v="3533"/>
          <ac:picMkLst>
            <pc:docMk/>
            <pc:sldMk cId="2346694034" sldId="2146849618"/>
            <ac:picMk id="24" creationId="{98E26ACE-70D4-4280-8E19-16E7CF2E377B}"/>
          </ac:picMkLst>
        </pc:picChg>
        <pc:picChg chg="mod">
          <ac:chgData name="Lars Boe Riber" userId="a0746655-6c86-46e8-9fa0-3fdc9fc77da6" providerId="ADAL" clId="{B603C8DF-16E3-4208-8001-E320ACF2A7C1}" dt="2022-11-15T15:38:38.155" v="3535"/>
          <ac:picMkLst>
            <pc:docMk/>
            <pc:sldMk cId="2346694034" sldId="2146849618"/>
            <ac:picMk id="27" creationId="{51B0B8BE-8A05-4E6F-B9E2-1486EF0834B7}"/>
          </ac:picMkLst>
        </pc:picChg>
        <pc:picChg chg="mod">
          <ac:chgData name="Lars Boe Riber" userId="a0746655-6c86-46e8-9fa0-3fdc9fc77da6" providerId="ADAL" clId="{B603C8DF-16E3-4208-8001-E320ACF2A7C1}" dt="2022-11-15T15:39:22.197" v="3537"/>
          <ac:picMkLst>
            <pc:docMk/>
            <pc:sldMk cId="2346694034" sldId="2146849618"/>
            <ac:picMk id="30" creationId="{CDBEFD80-6464-49FC-9453-44E63B7F1F0C}"/>
          </ac:picMkLst>
        </pc:picChg>
        <pc:picChg chg="mod">
          <ac:chgData name="Lars Boe Riber" userId="a0746655-6c86-46e8-9fa0-3fdc9fc77da6" providerId="ADAL" clId="{B603C8DF-16E3-4208-8001-E320ACF2A7C1}" dt="2022-11-15T15:39:35.332" v="3539"/>
          <ac:picMkLst>
            <pc:docMk/>
            <pc:sldMk cId="2346694034" sldId="2146849618"/>
            <ac:picMk id="33" creationId="{81B14EB9-C77C-4BE7-98B4-11C456673BA9}"/>
          </ac:picMkLst>
        </pc:picChg>
        <pc:picChg chg="mod">
          <ac:chgData name="Lars Boe Riber" userId="a0746655-6c86-46e8-9fa0-3fdc9fc77da6" providerId="ADAL" clId="{B603C8DF-16E3-4208-8001-E320ACF2A7C1}" dt="2022-11-15T15:39:54.622" v="3541"/>
          <ac:picMkLst>
            <pc:docMk/>
            <pc:sldMk cId="2346694034" sldId="2146849618"/>
            <ac:picMk id="36" creationId="{BCC2B985-5345-45C3-BFEF-17FA752DAB32}"/>
          </ac:picMkLst>
        </pc:picChg>
      </pc:sldChg>
      <pc:sldChg chg="addSp delSp modSp new mod">
        <pc:chgData name="Lars Boe Riber" userId="a0746655-6c86-46e8-9fa0-3fdc9fc77da6" providerId="ADAL" clId="{B603C8DF-16E3-4208-8001-E320ACF2A7C1}" dt="2022-11-17T10:33:09.550" v="6925" actId="790"/>
        <pc:sldMkLst>
          <pc:docMk/>
          <pc:sldMk cId="3439134311" sldId="2146849619"/>
        </pc:sldMkLst>
        <pc:spChg chg="mod">
          <ac:chgData name="Lars Boe Riber" userId="a0746655-6c86-46e8-9fa0-3fdc9fc77da6" providerId="ADAL" clId="{B603C8DF-16E3-4208-8001-E320ACF2A7C1}" dt="2022-11-17T10:31:12.375" v="6868" actId="14100"/>
          <ac:spMkLst>
            <pc:docMk/>
            <pc:sldMk cId="3439134311" sldId="2146849619"/>
            <ac:spMk id="2" creationId="{BD17B0D4-2555-4F60-BC41-B3FCBE280E4A}"/>
          </ac:spMkLst>
        </pc:spChg>
        <pc:spChg chg="del">
          <ac:chgData name="Lars Boe Riber" userId="a0746655-6c86-46e8-9fa0-3fdc9fc77da6" providerId="ADAL" clId="{B603C8DF-16E3-4208-8001-E320ACF2A7C1}" dt="2022-11-17T08:53:32.380" v="4346" actId="478"/>
          <ac:spMkLst>
            <pc:docMk/>
            <pc:sldMk cId="3439134311" sldId="2146849619"/>
            <ac:spMk id="3" creationId="{60647D9B-30EC-4D2A-A67D-5317AB72E437}"/>
          </ac:spMkLst>
        </pc:spChg>
        <pc:spChg chg="add mod">
          <ac:chgData name="Lars Boe Riber" userId="a0746655-6c86-46e8-9fa0-3fdc9fc77da6" providerId="ADAL" clId="{B603C8DF-16E3-4208-8001-E320ACF2A7C1}" dt="2022-11-17T08:44:32.378" v="4227"/>
          <ac:spMkLst>
            <pc:docMk/>
            <pc:sldMk cId="3439134311" sldId="2146849619"/>
            <ac:spMk id="5" creationId="{F2904EE9-4714-46AF-AF01-922168A8B38D}"/>
          </ac:spMkLst>
        </pc:spChg>
        <pc:spChg chg="add mod">
          <ac:chgData name="Lars Boe Riber" userId="a0746655-6c86-46e8-9fa0-3fdc9fc77da6" providerId="ADAL" clId="{B603C8DF-16E3-4208-8001-E320ACF2A7C1}" dt="2022-11-17T08:53:37.139" v="4348"/>
          <ac:spMkLst>
            <pc:docMk/>
            <pc:sldMk cId="3439134311" sldId="2146849619"/>
            <ac:spMk id="10" creationId="{694205B0-3F53-421A-BC59-25A2F8D3DCEE}"/>
          </ac:spMkLst>
        </pc:spChg>
        <pc:spChg chg="add mod">
          <ac:chgData name="Lars Boe Riber" userId="a0746655-6c86-46e8-9fa0-3fdc9fc77da6" providerId="ADAL" clId="{B603C8DF-16E3-4208-8001-E320ACF2A7C1}" dt="2022-11-17T09:28:32.755" v="5037" actId="1035"/>
          <ac:spMkLst>
            <pc:docMk/>
            <pc:sldMk cId="3439134311" sldId="2146849619"/>
            <ac:spMk id="11" creationId="{186498AB-BBC6-4158-8565-25461809A486}"/>
          </ac:spMkLst>
        </pc:spChg>
        <pc:spChg chg="add mod">
          <ac:chgData name="Lars Boe Riber" userId="a0746655-6c86-46e8-9fa0-3fdc9fc77da6" providerId="ADAL" clId="{B603C8DF-16E3-4208-8001-E320ACF2A7C1}" dt="2022-11-17T10:33:09.550" v="6925" actId="790"/>
          <ac:spMkLst>
            <pc:docMk/>
            <pc:sldMk cId="3439134311" sldId="2146849619"/>
            <ac:spMk id="20" creationId="{95C474D0-361C-4ED3-AE9B-3899F4B93535}"/>
          </ac:spMkLst>
        </pc:spChg>
        <pc:grpChg chg="add del mod">
          <ac:chgData name="Lars Boe Riber" userId="a0746655-6c86-46e8-9fa0-3fdc9fc77da6" providerId="ADAL" clId="{B603C8DF-16E3-4208-8001-E320ACF2A7C1}" dt="2022-11-17T08:59:32.625" v="4424" actId="478"/>
          <ac:grpSpMkLst>
            <pc:docMk/>
            <pc:sldMk cId="3439134311" sldId="2146849619"/>
            <ac:grpSpMk id="6" creationId="{43348F6A-BF5D-46F9-A30F-016A942E6CF3}"/>
          </ac:grpSpMkLst>
        </pc:grpChg>
        <pc:picChg chg="mod topLvl">
          <ac:chgData name="Lars Boe Riber" userId="a0746655-6c86-46e8-9fa0-3fdc9fc77da6" providerId="ADAL" clId="{B603C8DF-16E3-4208-8001-E320ACF2A7C1}" dt="2022-11-17T09:28:32.755" v="5037" actId="1035"/>
          <ac:picMkLst>
            <pc:docMk/>
            <pc:sldMk cId="3439134311" sldId="2146849619"/>
            <ac:picMk id="7" creationId="{E46F24CB-1385-4151-9044-F87B47AC8CBF}"/>
          </ac:picMkLst>
        </pc:picChg>
        <pc:picChg chg="del mod">
          <ac:chgData name="Lars Boe Riber" userId="a0746655-6c86-46e8-9fa0-3fdc9fc77da6" providerId="ADAL" clId="{B603C8DF-16E3-4208-8001-E320ACF2A7C1}" dt="2022-11-17T08:59:31.026" v="4423" actId="478"/>
          <ac:picMkLst>
            <pc:docMk/>
            <pc:sldMk cId="3439134311" sldId="2146849619"/>
            <ac:picMk id="8" creationId="{F8B421DF-1EC3-47F4-9905-CD28D03E49DE}"/>
          </ac:picMkLst>
        </pc:picChg>
        <pc:picChg chg="del mod topLvl">
          <ac:chgData name="Lars Boe Riber" userId="a0746655-6c86-46e8-9fa0-3fdc9fc77da6" providerId="ADAL" clId="{B603C8DF-16E3-4208-8001-E320ACF2A7C1}" dt="2022-11-17T08:59:32.625" v="4424" actId="478"/>
          <ac:picMkLst>
            <pc:docMk/>
            <pc:sldMk cId="3439134311" sldId="2146849619"/>
            <ac:picMk id="9" creationId="{02DEB7B5-32D0-4565-B88C-8F220F64948A}"/>
          </ac:picMkLst>
        </pc:picChg>
        <pc:picChg chg="add del">
          <ac:chgData name="Lars Boe Riber" userId="a0746655-6c86-46e8-9fa0-3fdc9fc77da6" providerId="ADAL" clId="{B603C8DF-16E3-4208-8001-E320ACF2A7C1}" dt="2022-11-17T08:59:34.761" v="4426" actId="22"/>
          <ac:picMkLst>
            <pc:docMk/>
            <pc:sldMk cId="3439134311" sldId="2146849619"/>
            <ac:picMk id="13" creationId="{D159848E-8F6E-4122-A56F-2A6FC78477B6}"/>
          </ac:picMkLst>
        </pc:picChg>
        <pc:picChg chg="add mod">
          <ac:chgData name="Lars Boe Riber" userId="a0746655-6c86-46e8-9fa0-3fdc9fc77da6" providerId="ADAL" clId="{B603C8DF-16E3-4208-8001-E320ACF2A7C1}" dt="2022-11-17T09:28:32.755" v="5037" actId="1035"/>
          <ac:picMkLst>
            <pc:docMk/>
            <pc:sldMk cId="3439134311" sldId="2146849619"/>
            <ac:picMk id="15" creationId="{26A4C21D-FF89-4076-821F-BA76A9CE7E2C}"/>
          </ac:picMkLst>
        </pc:picChg>
        <pc:picChg chg="add mod">
          <ac:chgData name="Lars Boe Riber" userId="a0746655-6c86-46e8-9fa0-3fdc9fc77da6" providerId="ADAL" clId="{B603C8DF-16E3-4208-8001-E320ACF2A7C1}" dt="2022-11-17T09:28:32.755" v="5037" actId="1035"/>
          <ac:picMkLst>
            <pc:docMk/>
            <pc:sldMk cId="3439134311" sldId="2146849619"/>
            <ac:picMk id="17" creationId="{3F7AF4F9-5464-4302-A27E-90F87CFA8833}"/>
          </ac:picMkLst>
        </pc:picChg>
        <pc:picChg chg="add mod">
          <ac:chgData name="Lars Boe Riber" userId="a0746655-6c86-46e8-9fa0-3fdc9fc77da6" providerId="ADAL" clId="{B603C8DF-16E3-4208-8001-E320ACF2A7C1}" dt="2022-11-17T10:32:43.875" v="6917" actId="1076"/>
          <ac:picMkLst>
            <pc:docMk/>
            <pc:sldMk cId="3439134311" sldId="2146849619"/>
            <ac:picMk id="19" creationId="{EFA94815-EDE4-4DED-B05B-B7FF56BAFC3C}"/>
          </ac:picMkLst>
        </pc:picChg>
      </pc:sldChg>
      <pc:sldChg chg="addSp delSp modSp add del mod">
        <pc:chgData name="Lars Boe Riber" userId="a0746655-6c86-46e8-9fa0-3fdc9fc77da6" providerId="ADAL" clId="{B603C8DF-16E3-4208-8001-E320ACF2A7C1}" dt="2022-11-17T09:18:25.202" v="4532" actId="47"/>
        <pc:sldMkLst>
          <pc:docMk/>
          <pc:sldMk cId="3943738471" sldId="2146849620"/>
        </pc:sldMkLst>
        <pc:spChg chg="add mod">
          <ac:chgData name="Lars Boe Riber" userId="a0746655-6c86-46e8-9fa0-3fdc9fc77da6" providerId="ADAL" clId="{B603C8DF-16E3-4208-8001-E320ACF2A7C1}" dt="2022-11-17T09:16:41.797" v="4475" actId="478"/>
          <ac:spMkLst>
            <pc:docMk/>
            <pc:sldMk cId="3943738471" sldId="2146849620"/>
            <ac:spMk id="4" creationId="{2EF21CED-AE43-4397-A81E-3C4F0CECD519}"/>
          </ac:spMkLst>
        </pc:spChg>
        <pc:picChg chg="del">
          <ac:chgData name="Lars Boe Riber" userId="a0746655-6c86-46e8-9fa0-3fdc9fc77da6" providerId="ADAL" clId="{B603C8DF-16E3-4208-8001-E320ACF2A7C1}" dt="2022-11-17T09:16:41.797" v="4475" actId="478"/>
          <ac:picMkLst>
            <pc:docMk/>
            <pc:sldMk cId="3943738471" sldId="2146849620"/>
            <ac:picMk id="57" creationId="{306F6ED3-D11E-48C8-A4D2-0EC30E48491F}"/>
          </ac:picMkLst>
        </pc:picChg>
      </pc:sldChg>
      <pc:sldChg chg="addSp delSp modSp new mod">
        <pc:chgData name="Lars Boe Riber" userId="a0746655-6c86-46e8-9fa0-3fdc9fc77da6" providerId="ADAL" clId="{B603C8DF-16E3-4208-8001-E320ACF2A7C1}" dt="2022-11-17T09:23:05.361" v="4745" actId="1076"/>
        <pc:sldMkLst>
          <pc:docMk/>
          <pc:sldMk cId="1695522759" sldId="2146849621"/>
        </pc:sldMkLst>
        <pc:spChg chg="del">
          <ac:chgData name="Lars Boe Riber" userId="a0746655-6c86-46e8-9fa0-3fdc9fc77da6" providerId="ADAL" clId="{B603C8DF-16E3-4208-8001-E320ACF2A7C1}" dt="2022-11-17T09:17:33.616" v="4477"/>
          <ac:spMkLst>
            <pc:docMk/>
            <pc:sldMk cId="1695522759" sldId="2146849621"/>
            <ac:spMk id="3" creationId="{F2FE330B-88E9-4DF1-A56B-46774BCD3D7D}"/>
          </ac:spMkLst>
        </pc:spChg>
        <pc:spChg chg="add del mod">
          <ac:chgData name="Lars Boe Riber" userId="a0746655-6c86-46e8-9fa0-3fdc9fc77da6" providerId="ADAL" clId="{B603C8DF-16E3-4208-8001-E320ACF2A7C1}" dt="2022-11-17T09:18:01.705" v="4490"/>
          <ac:spMkLst>
            <pc:docMk/>
            <pc:sldMk cId="1695522759" sldId="2146849621"/>
            <ac:spMk id="8" creationId="{22D682BE-7043-40BB-8831-37929770024E}"/>
          </ac:spMkLst>
        </pc:spChg>
        <pc:spChg chg="add del mod">
          <ac:chgData name="Lars Boe Riber" userId="a0746655-6c86-46e8-9fa0-3fdc9fc77da6" providerId="ADAL" clId="{B603C8DF-16E3-4208-8001-E320ACF2A7C1}" dt="2022-11-17T09:18:12.804" v="4504"/>
          <ac:spMkLst>
            <pc:docMk/>
            <pc:sldMk cId="1695522759" sldId="2146849621"/>
            <ac:spMk id="12" creationId="{6CF19687-A5D6-4CDE-AFB2-2505C20A9659}"/>
          </ac:spMkLst>
        </pc:spChg>
        <pc:spChg chg="add del mod ord">
          <ac:chgData name="Lars Boe Riber" userId="a0746655-6c86-46e8-9fa0-3fdc9fc77da6" providerId="ADAL" clId="{B603C8DF-16E3-4208-8001-E320ACF2A7C1}" dt="2022-11-17T09:18:50.141" v="4537"/>
          <ac:spMkLst>
            <pc:docMk/>
            <pc:sldMk cId="1695522759" sldId="2146849621"/>
            <ac:spMk id="15" creationId="{043B1A67-09C6-4F43-BDC9-D933B02E0187}"/>
          </ac:spMkLst>
        </pc:spChg>
        <pc:spChg chg="add mod">
          <ac:chgData name="Lars Boe Riber" userId="a0746655-6c86-46e8-9fa0-3fdc9fc77da6" providerId="ADAL" clId="{B603C8DF-16E3-4208-8001-E320ACF2A7C1}" dt="2022-11-17T09:23:05.361" v="4745" actId="1076"/>
          <ac:spMkLst>
            <pc:docMk/>
            <pc:sldMk cId="1695522759" sldId="2146849621"/>
            <ac:spMk id="16" creationId="{B0D7D7C4-6449-446B-BFAF-F0CB37C354D2}"/>
          </ac:spMkLst>
        </pc:spChg>
        <pc:spChg chg="add del mod ord">
          <ac:chgData name="Lars Boe Riber" userId="a0746655-6c86-46e8-9fa0-3fdc9fc77da6" providerId="ADAL" clId="{B603C8DF-16E3-4208-8001-E320ACF2A7C1}" dt="2022-11-17T09:18:58.529" v="4567"/>
          <ac:spMkLst>
            <pc:docMk/>
            <pc:sldMk cId="1695522759" sldId="2146849621"/>
            <ac:spMk id="19" creationId="{6A5F12D4-BCC9-4A64-80C2-163BF33E78DD}"/>
          </ac:spMkLst>
        </pc:spChg>
        <pc:spChg chg="add del mod ord">
          <ac:chgData name="Lars Boe Riber" userId="a0746655-6c86-46e8-9fa0-3fdc9fc77da6" providerId="ADAL" clId="{B603C8DF-16E3-4208-8001-E320ACF2A7C1}" dt="2022-11-17T09:19:38.003" v="4597"/>
          <ac:spMkLst>
            <pc:docMk/>
            <pc:sldMk cId="1695522759" sldId="2146849621"/>
            <ac:spMk id="22" creationId="{62B13360-D0A0-480C-AE50-63C1B39E5311}"/>
          </ac:spMkLst>
        </pc:spChg>
        <pc:spChg chg="add del mod ord">
          <ac:chgData name="Lars Boe Riber" userId="a0746655-6c86-46e8-9fa0-3fdc9fc77da6" providerId="ADAL" clId="{B603C8DF-16E3-4208-8001-E320ACF2A7C1}" dt="2022-11-17T09:21:27.314" v="4627"/>
          <ac:spMkLst>
            <pc:docMk/>
            <pc:sldMk cId="1695522759" sldId="2146849621"/>
            <ac:spMk id="25" creationId="{E2F1FE61-C884-4E97-B603-5BF4D0FDD1B7}"/>
          </ac:spMkLst>
        </pc:spChg>
        <pc:spChg chg="add del mod ord">
          <ac:chgData name="Lars Boe Riber" userId="a0746655-6c86-46e8-9fa0-3fdc9fc77da6" providerId="ADAL" clId="{B603C8DF-16E3-4208-8001-E320ACF2A7C1}" dt="2022-11-17T09:22:50.734" v="4732"/>
          <ac:spMkLst>
            <pc:docMk/>
            <pc:sldMk cId="1695522759" sldId="2146849621"/>
            <ac:spMk id="28" creationId="{041FB2C1-F4F5-4574-A6FE-7E797F4205E3}"/>
          </ac:spMkLst>
        </pc:spChg>
        <pc:picChg chg="add del mod replST">
          <ac:chgData name="Lars Boe Riber" userId="a0746655-6c86-46e8-9fa0-3fdc9fc77da6" providerId="ADAL" clId="{B603C8DF-16E3-4208-8001-E320ACF2A7C1}" dt="2022-11-17T09:17:36.018" v="4489" actId="478"/>
          <ac:picMkLst>
            <pc:docMk/>
            <pc:sldMk cId="1695522759" sldId="2146849621"/>
            <ac:picMk id="6" creationId="{1F497219-7EB7-4CE0-A2BF-EA57A5B82B5B}"/>
          </ac:picMkLst>
        </pc:picChg>
        <pc:picChg chg="add del mod replST">
          <ac:chgData name="Lars Boe Riber" userId="a0746655-6c86-46e8-9fa0-3fdc9fc77da6" providerId="ADAL" clId="{B603C8DF-16E3-4208-8001-E320ACF2A7C1}" dt="2022-11-17T09:18:08.912" v="4502" actId="478"/>
          <ac:picMkLst>
            <pc:docMk/>
            <pc:sldMk cId="1695522759" sldId="2146849621"/>
            <ac:picMk id="10" creationId="{BAA95A49-5AB5-4D88-9A90-DF38B21B11B9}"/>
          </ac:picMkLst>
        </pc:picChg>
        <pc:picChg chg="add del mod ord replST">
          <ac:chgData name="Lars Boe Riber" userId="a0746655-6c86-46e8-9fa0-3fdc9fc77da6" providerId="ADAL" clId="{B603C8DF-16E3-4208-8001-E320ACF2A7C1}" dt="2022-11-17T09:18:48.951" v="4535" actId="478"/>
          <ac:picMkLst>
            <pc:docMk/>
            <pc:sldMk cId="1695522759" sldId="2146849621"/>
            <ac:picMk id="14" creationId="{6CAD89F8-2322-4F79-92E4-019CA28A80C9}"/>
          </ac:picMkLst>
        </pc:picChg>
        <pc:picChg chg="add del mod ord replST">
          <ac:chgData name="Lars Boe Riber" userId="a0746655-6c86-46e8-9fa0-3fdc9fc77da6" providerId="ADAL" clId="{B603C8DF-16E3-4208-8001-E320ACF2A7C1}" dt="2022-11-17T09:18:54.039" v="4565" actId="478"/>
          <ac:picMkLst>
            <pc:docMk/>
            <pc:sldMk cId="1695522759" sldId="2146849621"/>
            <ac:picMk id="18" creationId="{1B2B6DFE-62FE-4B98-81EF-94EAA49C24EC}"/>
          </ac:picMkLst>
        </pc:picChg>
        <pc:picChg chg="add del mod ord replST">
          <ac:chgData name="Lars Boe Riber" userId="a0746655-6c86-46e8-9fa0-3fdc9fc77da6" providerId="ADAL" clId="{B603C8DF-16E3-4208-8001-E320ACF2A7C1}" dt="2022-11-17T09:19:07.860" v="4595" actId="478"/>
          <ac:picMkLst>
            <pc:docMk/>
            <pc:sldMk cId="1695522759" sldId="2146849621"/>
            <ac:picMk id="21" creationId="{4BCCF370-A320-4155-B120-EAE47A111F87}"/>
          </ac:picMkLst>
        </pc:picChg>
        <pc:picChg chg="add del mod ord replST">
          <ac:chgData name="Lars Boe Riber" userId="a0746655-6c86-46e8-9fa0-3fdc9fc77da6" providerId="ADAL" clId="{B603C8DF-16E3-4208-8001-E320ACF2A7C1}" dt="2022-11-17T09:19:40.384" v="4625" actId="478"/>
          <ac:picMkLst>
            <pc:docMk/>
            <pc:sldMk cId="1695522759" sldId="2146849621"/>
            <ac:picMk id="24" creationId="{85996825-F4FA-46DE-BE5F-411E91CD7185}"/>
          </ac:picMkLst>
        </pc:picChg>
        <pc:picChg chg="add del mod ord replST modCrop">
          <ac:chgData name="Lars Boe Riber" userId="a0746655-6c86-46e8-9fa0-3fdc9fc77da6" providerId="ADAL" clId="{B603C8DF-16E3-4208-8001-E320ACF2A7C1}" dt="2022-11-17T09:22:49.118" v="4731" actId="478"/>
          <ac:picMkLst>
            <pc:docMk/>
            <pc:sldMk cId="1695522759" sldId="2146849621"/>
            <ac:picMk id="27" creationId="{198B0987-2396-4740-BEF3-6EBA1F2D41D5}"/>
          </ac:picMkLst>
        </pc:picChg>
        <pc:picChg chg="add mod replST modCrop">
          <ac:chgData name="Lars Boe Riber" userId="a0746655-6c86-46e8-9fa0-3fdc9fc77da6" providerId="ADAL" clId="{B603C8DF-16E3-4208-8001-E320ACF2A7C1}" dt="2022-11-17T09:22:57.421" v="4744" actId="18131"/>
          <ac:picMkLst>
            <pc:docMk/>
            <pc:sldMk cId="1695522759" sldId="2146849621"/>
            <ac:picMk id="30" creationId="{5CED0BB7-2A48-4886-AE6E-58FA750E2078}"/>
          </ac:picMkLst>
        </pc:picChg>
      </pc:sldChg>
      <pc:sldChg chg="addSp delSp modSp new mod">
        <pc:chgData name="Lars Boe Riber" userId="a0746655-6c86-46e8-9fa0-3fdc9fc77da6" providerId="ADAL" clId="{B603C8DF-16E3-4208-8001-E320ACF2A7C1}" dt="2022-11-17T14:40:06.975" v="8265" actId="207"/>
        <pc:sldMkLst>
          <pc:docMk/>
          <pc:sldMk cId="4124807175" sldId="2146849622"/>
        </pc:sldMkLst>
        <pc:spChg chg="mod">
          <ac:chgData name="Lars Boe Riber" userId="a0746655-6c86-46e8-9fa0-3fdc9fc77da6" providerId="ADAL" clId="{B603C8DF-16E3-4208-8001-E320ACF2A7C1}" dt="2022-11-17T09:53:20.354" v="5718" actId="1076"/>
          <ac:spMkLst>
            <pc:docMk/>
            <pc:sldMk cId="4124807175" sldId="2146849622"/>
            <ac:spMk id="2" creationId="{472AC11C-A21C-4DF9-9443-D14DDB4C991C}"/>
          </ac:spMkLst>
        </pc:spChg>
        <pc:spChg chg="del">
          <ac:chgData name="Lars Boe Riber" userId="a0746655-6c86-46e8-9fa0-3fdc9fc77da6" providerId="ADAL" clId="{B603C8DF-16E3-4208-8001-E320ACF2A7C1}" dt="2022-11-17T09:42:42.644" v="5560" actId="478"/>
          <ac:spMkLst>
            <pc:docMk/>
            <pc:sldMk cId="4124807175" sldId="2146849622"/>
            <ac:spMk id="3" creationId="{6971D66D-58D5-4C9C-BEBE-5620B4383ACE}"/>
          </ac:spMkLst>
        </pc:spChg>
        <pc:spChg chg="add mod topLvl">
          <ac:chgData name="Lars Boe Riber" userId="a0746655-6c86-46e8-9fa0-3fdc9fc77da6" providerId="ADAL" clId="{B603C8DF-16E3-4208-8001-E320ACF2A7C1}" dt="2022-11-17T10:21:59.332" v="6842" actId="207"/>
          <ac:spMkLst>
            <pc:docMk/>
            <pc:sldMk cId="4124807175" sldId="2146849622"/>
            <ac:spMk id="7" creationId="{D307A1E6-FF2A-4801-98CA-948EF4085F3B}"/>
          </ac:spMkLst>
        </pc:spChg>
        <pc:spChg chg="add mod topLvl">
          <ac:chgData name="Lars Boe Riber" userId="a0746655-6c86-46e8-9fa0-3fdc9fc77da6" providerId="ADAL" clId="{B603C8DF-16E3-4208-8001-E320ACF2A7C1}" dt="2022-11-17T10:22:24.880" v="6850" actId="207"/>
          <ac:spMkLst>
            <pc:docMk/>
            <pc:sldMk cId="4124807175" sldId="2146849622"/>
            <ac:spMk id="8" creationId="{4C521085-4516-4E1E-90E3-16E84E4D86B7}"/>
          </ac:spMkLst>
        </pc:spChg>
        <pc:spChg chg="add mod topLvl">
          <ac:chgData name="Lars Boe Riber" userId="a0746655-6c86-46e8-9fa0-3fdc9fc77da6" providerId="ADAL" clId="{B603C8DF-16E3-4208-8001-E320ACF2A7C1}" dt="2022-11-17T10:22:32.050" v="6852" actId="207"/>
          <ac:spMkLst>
            <pc:docMk/>
            <pc:sldMk cId="4124807175" sldId="2146849622"/>
            <ac:spMk id="9" creationId="{1844A1D7-AB32-4402-896D-84473E91CBC2}"/>
          </ac:spMkLst>
        </pc:spChg>
        <pc:spChg chg="add mod topLvl">
          <ac:chgData name="Lars Boe Riber" userId="a0746655-6c86-46e8-9fa0-3fdc9fc77da6" providerId="ADAL" clId="{B603C8DF-16E3-4208-8001-E320ACF2A7C1}" dt="2022-11-17T10:23:11.197" v="6859" actId="207"/>
          <ac:spMkLst>
            <pc:docMk/>
            <pc:sldMk cId="4124807175" sldId="2146849622"/>
            <ac:spMk id="10" creationId="{8FDD6DFF-05CE-4479-A770-A195892DC718}"/>
          </ac:spMkLst>
        </pc:spChg>
        <pc:spChg chg="add mod topLvl">
          <ac:chgData name="Lars Boe Riber" userId="a0746655-6c86-46e8-9fa0-3fdc9fc77da6" providerId="ADAL" clId="{B603C8DF-16E3-4208-8001-E320ACF2A7C1}" dt="2022-11-17T10:23:30.078" v="6863" actId="207"/>
          <ac:spMkLst>
            <pc:docMk/>
            <pc:sldMk cId="4124807175" sldId="2146849622"/>
            <ac:spMk id="11" creationId="{5DD4158A-D903-44BF-ACAE-05347FB81A5E}"/>
          </ac:spMkLst>
        </pc:spChg>
        <pc:spChg chg="add mod topLvl">
          <ac:chgData name="Lars Boe Riber" userId="a0746655-6c86-46e8-9fa0-3fdc9fc77da6" providerId="ADAL" clId="{B603C8DF-16E3-4208-8001-E320ACF2A7C1}" dt="2022-11-17T10:23:46.342" v="6866" actId="207"/>
          <ac:spMkLst>
            <pc:docMk/>
            <pc:sldMk cId="4124807175" sldId="2146849622"/>
            <ac:spMk id="12" creationId="{6C86F3D7-8EF6-40C1-8A49-55E14804036A}"/>
          </ac:spMkLst>
        </pc:spChg>
        <pc:spChg chg="mod">
          <ac:chgData name="Lars Boe Riber" userId="a0746655-6c86-46e8-9fa0-3fdc9fc77da6" providerId="ADAL" clId="{B603C8DF-16E3-4208-8001-E320ACF2A7C1}" dt="2022-11-17T09:49:53.667" v="5604" actId="165"/>
          <ac:spMkLst>
            <pc:docMk/>
            <pc:sldMk cId="4124807175" sldId="2146849622"/>
            <ac:spMk id="14" creationId="{628879F7-2DA7-4B01-A67D-5E73591F94BD}"/>
          </ac:spMkLst>
        </pc:spChg>
        <pc:spChg chg="mod">
          <ac:chgData name="Lars Boe Riber" userId="a0746655-6c86-46e8-9fa0-3fdc9fc77da6" providerId="ADAL" clId="{B603C8DF-16E3-4208-8001-E320ACF2A7C1}" dt="2022-11-17T09:49:53.667" v="5604" actId="165"/>
          <ac:spMkLst>
            <pc:docMk/>
            <pc:sldMk cId="4124807175" sldId="2146849622"/>
            <ac:spMk id="17" creationId="{0153ACCA-CE46-4290-B5F6-AA13A3235402}"/>
          </ac:spMkLst>
        </pc:spChg>
        <pc:spChg chg="mod">
          <ac:chgData name="Lars Boe Riber" userId="a0746655-6c86-46e8-9fa0-3fdc9fc77da6" providerId="ADAL" clId="{B603C8DF-16E3-4208-8001-E320ACF2A7C1}" dt="2022-11-17T09:49:53.667" v="5604" actId="165"/>
          <ac:spMkLst>
            <pc:docMk/>
            <pc:sldMk cId="4124807175" sldId="2146849622"/>
            <ac:spMk id="20" creationId="{A65A0CAA-1A81-46F6-9BFC-A10FDC293256}"/>
          </ac:spMkLst>
        </pc:spChg>
        <pc:spChg chg="add mod">
          <ac:chgData name="Lars Boe Riber" userId="a0746655-6c86-46e8-9fa0-3fdc9fc77da6" providerId="ADAL" clId="{B603C8DF-16E3-4208-8001-E320ACF2A7C1}" dt="2022-11-17T14:40:06.975" v="8265" actId="207"/>
          <ac:spMkLst>
            <pc:docMk/>
            <pc:sldMk cId="4124807175" sldId="2146849622"/>
            <ac:spMk id="28" creationId="{FA2FF86F-5D29-4528-8119-A3D9C7A34BA3}"/>
          </ac:spMkLst>
        </pc:spChg>
        <pc:spChg chg="add mod">
          <ac:chgData name="Lars Boe Riber" userId="a0746655-6c86-46e8-9fa0-3fdc9fc77da6" providerId="ADAL" clId="{B603C8DF-16E3-4208-8001-E320ACF2A7C1}" dt="2022-11-17T14:30:29.741" v="8032" actId="14100"/>
          <ac:spMkLst>
            <pc:docMk/>
            <pc:sldMk cId="4124807175" sldId="2146849622"/>
            <ac:spMk id="33" creationId="{82F01FF2-711A-4C47-A096-BAF13746A7BB}"/>
          </ac:spMkLst>
        </pc:spChg>
        <pc:spChg chg="mod">
          <ac:chgData name="Lars Boe Riber" userId="a0746655-6c86-46e8-9fa0-3fdc9fc77da6" providerId="ADAL" clId="{B603C8DF-16E3-4208-8001-E320ACF2A7C1}" dt="2022-11-17T10:17:42.595" v="6723" actId="404"/>
          <ac:spMkLst>
            <pc:docMk/>
            <pc:sldMk cId="4124807175" sldId="2146849622"/>
            <ac:spMk id="35" creationId="{99EBF3E7-5270-4894-9175-BA95E171A182}"/>
          </ac:spMkLst>
        </pc:spChg>
        <pc:spChg chg="mod">
          <ac:chgData name="Lars Boe Riber" userId="a0746655-6c86-46e8-9fa0-3fdc9fc77da6" providerId="ADAL" clId="{B603C8DF-16E3-4208-8001-E320ACF2A7C1}" dt="2022-11-17T10:17:42.595" v="6723" actId="404"/>
          <ac:spMkLst>
            <pc:docMk/>
            <pc:sldMk cId="4124807175" sldId="2146849622"/>
            <ac:spMk id="38" creationId="{88E36484-2566-43C2-A2FC-0594065B7973}"/>
          </ac:spMkLst>
        </pc:spChg>
        <pc:spChg chg="mod">
          <ac:chgData name="Lars Boe Riber" userId="a0746655-6c86-46e8-9fa0-3fdc9fc77da6" providerId="ADAL" clId="{B603C8DF-16E3-4208-8001-E320ACF2A7C1}" dt="2022-11-17T10:17:42.595" v="6723" actId="404"/>
          <ac:spMkLst>
            <pc:docMk/>
            <pc:sldMk cId="4124807175" sldId="2146849622"/>
            <ac:spMk id="41" creationId="{DA9395D3-B96F-4022-8B8F-0A6615FF87F6}"/>
          </ac:spMkLst>
        </pc:spChg>
        <pc:spChg chg="add mod ord">
          <ac:chgData name="Lars Boe Riber" userId="a0746655-6c86-46e8-9fa0-3fdc9fc77da6" providerId="ADAL" clId="{B603C8DF-16E3-4208-8001-E320ACF2A7C1}" dt="2022-11-17T10:21:43.669" v="6838" actId="207"/>
          <ac:spMkLst>
            <pc:docMk/>
            <pc:sldMk cId="4124807175" sldId="2146849622"/>
            <ac:spMk id="43" creationId="{2AF0EAE1-14F9-4451-964D-381751FF784E}"/>
          </ac:spMkLst>
        </pc:spChg>
        <pc:spChg chg="mod">
          <ac:chgData name="Lars Boe Riber" userId="a0746655-6c86-46e8-9fa0-3fdc9fc77da6" providerId="ADAL" clId="{B603C8DF-16E3-4208-8001-E320ACF2A7C1}" dt="2022-11-17T10:20:41.320" v="6817"/>
          <ac:spMkLst>
            <pc:docMk/>
            <pc:sldMk cId="4124807175" sldId="2146849622"/>
            <ac:spMk id="45" creationId="{364D5645-D143-45D4-B52A-829E7C38393E}"/>
          </ac:spMkLst>
        </pc:spChg>
        <pc:spChg chg="mod">
          <ac:chgData name="Lars Boe Riber" userId="a0746655-6c86-46e8-9fa0-3fdc9fc77da6" providerId="ADAL" clId="{B603C8DF-16E3-4208-8001-E320ACF2A7C1}" dt="2022-11-17T10:21:00.344" v="6824"/>
          <ac:spMkLst>
            <pc:docMk/>
            <pc:sldMk cId="4124807175" sldId="2146849622"/>
            <ac:spMk id="48" creationId="{FF082EF3-6FCC-4EC6-9813-4B754466D267}"/>
          </ac:spMkLst>
        </pc:spChg>
        <pc:spChg chg="mod">
          <ac:chgData name="Lars Boe Riber" userId="a0746655-6c86-46e8-9fa0-3fdc9fc77da6" providerId="ADAL" clId="{B603C8DF-16E3-4208-8001-E320ACF2A7C1}" dt="2022-11-17T10:21:17.051" v="6831"/>
          <ac:spMkLst>
            <pc:docMk/>
            <pc:sldMk cId="4124807175" sldId="2146849622"/>
            <ac:spMk id="51" creationId="{B0EEBF14-8A61-44E0-8DA3-8A51A45F8109}"/>
          </ac:spMkLst>
        </pc:spChg>
        <pc:grpChg chg="add del mod topLvl">
          <ac:chgData name="Lars Boe Riber" userId="a0746655-6c86-46e8-9fa0-3fdc9fc77da6" providerId="ADAL" clId="{B603C8DF-16E3-4208-8001-E320ACF2A7C1}" dt="2022-11-17T09:52:53.885" v="5699" actId="478"/>
          <ac:grpSpMkLst>
            <pc:docMk/>
            <pc:sldMk cId="4124807175" sldId="2146849622"/>
            <ac:grpSpMk id="13" creationId="{6456EB6B-B023-448D-B74C-921D2A431F47}"/>
          </ac:grpSpMkLst>
        </pc:grpChg>
        <pc:grpChg chg="add del mod topLvl">
          <ac:chgData name="Lars Boe Riber" userId="a0746655-6c86-46e8-9fa0-3fdc9fc77da6" providerId="ADAL" clId="{B603C8DF-16E3-4208-8001-E320ACF2A7C1}" dt="2022-11-17T09:52:53.885" v="5699" actId="478"/>
          <ac:grpSpMkLst>
            <pc:docMk/>
            <pc:sldMk cId="4124807175" sldId="2146849622"/>
            <ac:grpSpMk id="16" creationId="{B775C57F-36BD-4FEA-BC1F-510CBF942301}"/>
          </ac:grpSpMkLst>
        </pc:grpChg>
        <pc:grpChg chg="add del mod topLvl">
          <ac:chgData name="Lars Boe Riber" userId="a0746655-6c86-46e8-9fa0-3fdc9fc77da6" providerId="ADAL" clId="{B603C8DF-16E3-4208-8001-E320ACF2A7C1}" dt="2022-11-17T09:52:53.885" v="5699" actId="478"/>
          <ac:grpSpMkLst>
            <pc:docMk/>
            <pc:sldMk cId="4124807175" sldId="2146849622"/>
            <ac:grpSpMk id="19" creationId="{1BC24B6F-1420-407E-BF00-AF0148D92443}"/>
          </ac:grpSpMkLst>
        </pc:grpChg>
        <pc:grpChg chg="add del mod">
          <ac:chgData name="Lars Boe Riber" userId="a0746655-6c86-46e8-9fa0-3fdc9fc77da6" providerId="ADAL" clId="{B603C8DF-16E3-4208-8001-E320ACF2A7C1}" dt="2022-11-17T09:49:53.667" v="5604" actId="165"/>
          <ac:grpSpMkLst>
            <pc:docMk/>
            <pc:sldMk cId="4124807175" sldId="2146849622"/>
            <ac:grpSpMk id="22" creationId="{B1281A24-A69E-4432-B3D2-8C0F5C6C7356}"/>
          </ac:grpSpMkLst>
        </pc:grpChg>
        <pc:grpChg chg="add del mod">
          <ac:chgData name="Lars Boe Riber" userId="a0746655-6c86-46e8-9fa0-3fdc9fc77da6" providerId="ADAL" clId="{B603C8DF-16E3-4208-8001-E320ACF2A7C1}" dt="2022-11-17T09:49:53.667" v="5604" actId="165"/>
          <ac:grpSpMkLst>
            <pc:docMk/>
            <pc:sldMk cId="4124807175" sldId="2146849622"/>
            <ac:grpSpMk id="23" creationId="{BC64EBA5-0844-4334-BABC-BB59B9ED9586}"/>
          </ac:grpSpMkLst>
        </pc:grpChg>
        <pc:grpChg chg="add del mod">
          <ac:chgData name="Lars Boe Riber" userId="a0746655-6c86-46e8-9fa0-3fdc9fc77da6" providerId="ADAL" clId="{B603C8DF-16E3-4208-8001-E320ACF2A7C1}" dt="2022-11-17T09:49:53.667" v="5604" actId="165"/>
          <ac:grpSpMkLst>
            <pc:docMk/>
            <pc:sldMk cId="4124807175" sldId="2146849622"/>
            <ac:grpSpMk id="24" creationId="{A684C9DF-5B1F-4F2B-95DE-599F3F28112E}"/>
          </ac:grpSpMkLst>
        </pc:grpChg>
        <pc:grpChg chg="add mod">
          <ac:chgData name="Lars Boe Riber" userId="a0746655-6c86-46e8-9fa0-3fdc9fc77da6" providerId="ADAL" clId="{B603C8DF-16E3-4208-8001-E320ACF2A7C1}" dt="2022-11-17T10:19:56.979" v="6814" actId="1035"/>
          <ac:grpSpMkLst>
            <pc:docMk/>
            <pc:sldMk cId="4124807175" sldId="2146849622"/>
            <ac:grpSpMk id="25" creationId="{16A3631A-A8B4-4C23-B2D1-546684443282}"/>
          </ac:grpSpMkLst>
        </pc:grpChg>
        <pc:grpChg chg="add mod">
          <ac:chgData name="Lars Boe Riber" userId="a0746655-6c86-46e8-9fa0-3fdc9fc77da6" providerId="ADAL" clId="{B603C8DF-16E3-4208-8001-E320ACF2A7C1}" dt="2022-11-17T10:19:56.979" v="6814" actId="1035"/>
          <ac:grpSpMkLst>
            <pc:docMk/>
            <pc:sldMk cId="4124807175" sldId="2146849622"/>
            <ac:grpSpMk id="26" creationId="{62CD45E8-9414-46D9-86BD-2C7192379157}"/>
          </ac:grpSpMkLst>
        </pc:grpChg>
        <pc:grpChg chg="add mod">
          <ac:chgData name="Lars Boe Riber" userId="a0746655-6c86-46e8-9fa0-3fdc9fc77da6" providerId="ADAL" clId="{B603C8DF-16E3-4208-8001-E320ACF2A7C1}" dt="2022-11-17T10:19:56.979" v="6814" actId="1035"/>
          <ac:grpSpMkLst>
            <pc:docMk/>
            <pc:sldMk cId="4124807175" sldId="2146849622"/>
            <ac:grpSpMk id="27" creationId="{65352F48-56C0-412D-AE42-5DEF176B5BDF}"/>
          </ac:grpSpMkLst>
        </pc:grpChg>
        <pc:grpChg chg="add del mod">
          <ac:chgData name="Lars Boe Riber" userId="a0746655-6c86-46e8-9fa0-3fdc9fc77da6" providerId="ADAL" clId="{B603C8DF-16E3-4208-8001-E320ACF2A7C1}" dt="2022-11-17T10:21:16.204" v="6830" actId="478"/>
          <ac:grpSpMkLst>
            <pc:docMk/>
            <pc:sldMk cId="4124807175" sldId="2146849622"/>
            <ac:grpSpMk id="34" creationId="{FF598807-37EA-46D0-8869-AB35955A042C}"/>
          </ac:grpSpMkLst>
        </pc:grpChg>
        <pc:grpChg chg="add del mod">
          <ac:chgData name="Lars Boe Riber" userId="a0746655-6c86-46e8-9fa0-3fdc9fc77da6" providerId="ADAL" clId="{B603C8DF-16E3-4208-8001-E320ACF2A7C1}" dt="2022-11-17T10:21:02.349" v="6826" actId="478"/>
          <ac:grpSpMkLst>
            <pc:docMk/>
            <pc:sldMk cId="4124807175" sldId="2146849622"/>
            <ac:grpSpMk id="37" creationId="{6E859144-8BA3-43C9-A2DB-29E958A9569B}"/>
          </ac:grpSpMkLst>
        </pc:grpChg>
        <pc:grpChg chg="add del mod">
          <ac:chgData name="Lars Boe Riber" userId="a0746655-6c86-46e8-9fa0-3fdc9fc77da6" providerId="ADAL" clId="{B603C8DF-16E3-4208-8001-E320ACF2A7C1}" dt="2022-11-17T10:20:44.595" v="6819" actId="478"/>
          <ac:grpSpMkLst>
            <pc:docMk/>
            <pc:sldMk cId="4124807175" sldId="2146849622"/>
            <ac:grpSpMk id="40" creationId="{B305270C-D7DC-4533-8647-401B6895D1AB}"/>
          </ac:grpSpMkLst>
        </pc:grpChg>
        <pc:grpChg chg="add mod">
          <ac:chgData name="Lars Boe Riber" userId="a0746655-6c86-46e8-9fa0-3fdc9fc77da6" providerId="ADAL" clId="{B603C8DF-16E3-4208-8001-E320ACF2A7C1}" dt="2022-11-17T10:20:56.032" v="6823" actId="1076"/>
          <ac:grpSpMkLst>
            <pc:docMk/>
            <pc:sldMk cId="4124807175" sldId="2146849622"/>
            <ac:grpSpMk id="44" creationId="{08778C05-EDDA-48D7-93C8-3A50956379D9}"/>
          </ac:grpSpMkLst>
        </pc:grpChg>
        <pc:grpChg chg="add mod">
          <ac:chgData name="Lars Boe Riber" userId="a0746655-6c86-46e8-9fa0-3fdc9fc77da6" providerId="ADAL" clId="{B603C8DF-16E3-4208-8001-E320ACF2A7C1}" dt="2022-11-17T10:21:14.844" v="6829" actId="1076"/>
          <ac:grpSpMkLst>
            <pc:docMk/>
            <pc:sldMk cId="4124807175" sldId="2146849622"/>
            <ac:grpSpMk id="47" creationId="{802F5890-9A4C-4F7C-8E61-83E1371FDFE7}"/>
          </ac:grpSpMkLst>
        </pc:grpChg>
        <pc:grpChg chg="add mod">
          <ac:chgData name="Lars Boe Riber" userId="a0746655-6c86-46e8-9fa0-3fdc9fc77da6" providerId="ADAL" clId="{B603C8DF-16E3-4208-8001-E320ACF2A7C1}" dt="2022-11-17T10:21:31.377" v="6837" actId="1076"/>
          <ac:grpSpMkLst>
            <pc:docMk/>
            <pc:sldMk cId="4124807175" sldId="2146849622"/>
            <ac:grpSpMk id="50" creationId="{B70FA56B-F94C-4BC8-946F-FBCA016B0CE5}"/>
          </ac:grpSpMkLst>
        </pc:grpChg>
        <pc:picChg chg="mod">
          <ac:chgData name="Lars Boe Riber" userId="a0746655-6c86-46e8-9fa0-3fdc9fc77da6" providerId="ADAL" clId="{B603C8DF-16E3-4208-8001-E320ACF2A7C1}" dt="2022-11-17T09:49:53.667" v="5604" actId="165"/>
          <ac:picMkLst>
            <pc:docMk/>
            <pc:sldMk cId="4124807175" sldId="2146849622"/>
            <ac:picMk id="15" creationId="{CF5DD467-1F82-4868-B574-C8C22B94B4F7}"/>
          </ac:picMkLst>
        </pc:picChg>
        <pc:picChg chg="mod">
          <ac:chgData name="Lars Boe Riber" userId="a0746655-6c86-46e8-9fa0-3fdc9fc77da6" providerId="ADAL" clId="{B603C8DF-16E3-4208-8001-E320ACF2A7C1}" dt="2022-11-17T09:49:53.667" v="5604" actId="165"/>
          <ac:picMkLst>
            <pc:docMk/>
            <pc:sldMk cId="4124807175" sldId="2146849622"/>
            <ac:picMk id="18" creationId="{D3AF9E75-5DDA-4E55-96F4-1FE6464C3C05}"/>
          </ac:picMkLst>
        </pc:picChg>
        <pc:picChg chg="mod">
          <ac:chgData name="Lars Boe Riber" userId="a0746655-6c86-46e8-9fa0-3fdc9fc77da6" providerId="ADAL" clId="{B603C8DF-16E3-4208-8001-E320ACF2A7C1}" dt="2022-11-17T09:49:53.667" v="5604" actId="165"/>
          <ac:picMkLst>
            <pc:docMk/>
            <pc:sldMk cId="4124807175" sldId="2146849622"/>
            <ac:picMk id="21" creationId="{0E299C35-956E-4E8E-AF0A-D786FED93BFA}"/>
          </ac:picMkLst>
        </pc:picChg>
        <pc:picChg chg="mod">
          <ac:chgData name="Lars Boe Riber" userId="a0746655-6c86-46e8-9fa0-3fdc9fc77da6" providerId="ADAL" clId="{B603C8DF-16E3-4208-8001-E320ACF2A7C1}" dt="2022-11-17T10:09:38.513" v="6414"/>
          <ac:picMkLst>
            <pc:docMk/>
            <pc:sldMk cId="4124807175" sldId="2146849622"/>
            <ac:picMk id="36" creationId="{F5FEB5B6-E2B7-48A2-A864-D1282C39EB23}"/>
          </ac:picMkLst>
        </pc:picChg>
        <pc:picChg chg="mod">
          <ac:chgData name="Lars Boe Riber" userId="a0746655-6c86-46e8-9fa0-3fdc9fc77da6" providerId="ADAL" clId="{B603C8DF-16E3-4208-8001-E320ACF2A7C1}" dt="2022-11-17T10:09:59.096" v="6430"/>
          <ac:picMkLst>
            <pc:docMk/>
            <pc:sldMk cId="4124807175" sldId="2146849622"/>
            <ac:picMk id="39" creationId="{1A0859BA-85DD-4AAB-B433-74122EBF16BF}"/>
          </ac:picMkLst>
        </pc:picChg>
        <pc:picChg chg="mod">
          <ac:chgData name="Lars Boe Riber" userId="a0746655-6c86-46e8-9fa0-3fdc9fc77da6" providerId="ADAL" clId="{B603C8DF-16E3-4208-8001-E320ACF2A7C1}" dt="2022-11-17T10:10:14.894" v="6435"/>
          <ac:picMkLst>
            <pc:docMk/>
            <pc:sldMk cId="4124807175" sldId="2146849622"/>
            <ac:picMk id="42" creationId="{BF57DB9B-CF89-4B22-B1D4-8308652FD6BD}"/>
          </ac:picMkLst>
        </pc:picChg>
        <pc:picChg chg="mod">
          <ac:chgData name="Lars Boe Riber" userId="a0746655-6c86-46e8-9fa0-3fdc9fc77da6" providerId="ADAL" clId="{B603C8DF-16E3-4208-8001-E320ACF2A7C1}" dt="2022-11-17T10:20:41.320" v="6817"/>
          <ac:picMkLst>
            <pc:docMk/>
            <pc:sldMk cId="4124807175" sldId="2146849622"/>
            <ac:picMk id="46" creationId="{04BF8F03-A334-45AC-B487-DBF109F382C6}"/>
          </ac:picMkLst>
        </pc:picChg>
        <pc:picChg chg="mod">
          <ac:chgData name="Lars Boe Riber" userId="a0746655-6c86-46e8-9fa0-3fdc9fc77da6" providerId="ADAL" clId="{B603C8DF-16E3-4208-8001-E320ACF2A7C1}" dt="2022-11-17T10:21:00.344" v="6824"/>
          <ac:picMkLst>
            <pc:docMk/>
            <pc:sldMk cId="4124807175" sldId="2146849622"/>
            <ac:picMk id="49" creationId="{0F326A0F-7D64-422F-8366-16AF30D022CC}"/>
          </ac:picMkLst>
        </pc:picChg>
        <pc:picChg chg="mod">
          <ac:chgData name="Lars Boe Riber" userId="a0746655-6c86-46e8-9fa0-3fdc9fc77da6" providerId="ADAL" clId="{B603C8DF-16E3-4208-8001-E320ACF2A7C1}" dt="2022-11-17T10:21:17.051" v="6831"/>
          <ac:picMkLst>
            <pc:docMk/>
            <pc:sldMk cId="4124807175" sldId="2146849622"/>
            <ac:picMk id="52" creationId="{0F9E4B6B-11EA-44E1-B419-7A4936169119}"/>
          </ac:picMkLst>
        </pc:picChg>
        <pc:cxnChg chg="add del mod">
          <ac:chgData name="Lars Boe Riber" userId="a0746655-6c86-46e8-9fa0-3fdc9fc77da6" providerId="ADAL" clId="{B603C8DF-16E3-4208-8001-E320ACF2A7C1}" dt="2022-11-17T09:43:21.124" v="5567" actId="478"/>
          <ac:cxnSpMkLst>
            <pc:docMk/>
            <pc:sldMk cId="4124807175" sldId="2146849622"/>
            <ac:cxnSpMk id="5" creationId="{2C6A84BD-7827-46B0-BC65-7FF261EE5260}"/>
          </ac:cxnSpMkLst>
        </pc:cxnChg>
        <pc:cxnChg chg="add del mod">
          <ac:chgData name="Lars Boe Riber" userId="a0746655-6c86-46e8-9fa0-3fdc9fc77da6" providerId="ADAL" clId="{B603C8DF-16E3-4208-8001-E320ACF2A7C1}" dt="2022-11-17T09:43:21.124" v="5567" actId="478"/>
          <ac:cxnSpMkLst>
            <pc:docMk/>
            <pc:sldMk cId="4124807175" sldId="2146849622"/>
            <ac:cxnSpMk id="6" creationId="{B2FC26AF-8EBE-402C-8A6F-FCF96BABF675}"/>
          </ac:cxnSpMkLst>
        </pc:cxnChg>
        <pc:cxnChg chg="add mod">
          <ac:chgData name="Lars Boe Riber" userId="a0746655-6c86-46e8-9fa0-3fdc9fc77da6" providerId="ADAL" clId="{B603C8DF-16E3-4208-8001-E320ACF2A7C1}" dt="2022-11-17T10:21:51.312" v="6839" actId="208"/>
          <ac:cxnSpMkLst>
            <pc:docMk/>
            <pc:sldMk cId="4124807175" sldId="2146849622"/>
            <ac:cxnSpMk id="29" creationId="{782336B6-1A0A-4A47-90D7-D482486C4DA1}"/>
          </ac:cxnSpMkLst>
        </pc:cxnChg>
        <pc:cxnChg chg="add mod">
          <ac:chgData name="Lars Boe Riber" userId="a0746655-6c86-46e8-9fa0-3fdc9fc77da6" providerId="ADAL" clId="{B603C8DF-16E3-4208-8001-E320ACF2A7C1}" dt="2022-11-17T10:21:51.312" v="6839" actId="208"/>
          <ac:cxnSpMkLst>
            <pc:docMk/>
            <pc:sldMk cId="4124807175" sldId="2146849622"/>
            <ac:cxnSpMk id="30" creationId="{9956AC43-29AA-4E05-AD49-6A2624D5175D}"/>
          </ac:cxnSpMkLst>
        </pc:cxnChg>
      </pc:sldChg>
      <pc:sldChg chg="addSp delSp modSp add del mod">
        <pc:chgData name="Lars Boe Riber" userId="a0746655-6c86-46e8-9fa0-3fdc9fc77da6" providerId="ADAL" clId="{B603C8DF-16E3-4208-8001-E320ACF2A7C1}" dt="2022-11-17T09:32:47.401" v="5320" actId="47"/>
        <pc:sldMkLst>
          <pc:docMk/>
          <pc:sldMk cId="1160345354" sldId="2146849623"/>
        </pc:sldMkLst>
        <pc:spChg chg="add del mod">
          <ac:chgData name="Lars Boe Riber" userId="a0746655-6c86-46e8-9fa0-3fdc9fc77da6" providerId="ADAL" clId="{B603C8DF-16E3-4208-8001-E320ACF2A7C1}" dt="2022-11-17T09:29:24.362" v="5041"/>
          <ac:spMkLst>
            <pc:docMk/>
            <pc:sldMk cId="1160345354" sldId="2146849623"/>
            <ac:spMk id="5" creationId="{BFB69047-9E46-4275-9666-A30021FB85E3}"/>
          </ac:spMkLst>
        </pc:spChg>
        <pc:spChg chg="add del mod ord">
          <ac:chgData name="Lars Boe Riber" userId="a0746655-6c86-46e8-9fa0-3fdc9fc77da6" providerId="ADAL" clId="{B603C8DF-16E3-4208-8001-E320ACF2A7C1}" dt="2022-11-17T09:29:37.189" v="5069"/>
          <ac:spMkLst>
            <pc:docMk/>
            <pc:sldMk cId="1160345354" sldId="2146849623"/>
            <ac:spMk id="8" creationId="{5309A8BB-A208-4633-BE4B-82E38B0D7136}"/>
          </ac:spMkLst>
        </pc:spChg>
        <pc:spChg chg="add del mod ord">
          <ac:chgData name="Lars Boe Riber" userId="a0746655-6c86-46e8-9fa0-3fdc9fc77da6" providerId="ADAL" clId="{B603C8DF-16E3-4208-8001-E320ACF2A7C1}" dt="2022-11-17T09:29:52.959" v="5097"/>
          <ac:spMkLst>
            <pc:docMk/>
            <pc:sldMk cId="1160345354" sldId="2146849623"/>
            <ac:spMk id="11" creationId="{651F5DF7-0457-48F1-B33D-9EE34BACB75A}"/>
          </ac:spMkLst>
        </pc:spChg>
        <pc:spChg chg="add del mod ord">
          <ac:chgData name="Lars Boe Riber" userId="a0746655-6c86-46e8-9fa0-3fdc9fc77da6" providerId="ADAL" clId="{B603C8DF-16E3-4208-8001-E320ACF2A7C1}" dt="2022-11-17T09:30:00.839" v="5125"/>
          <ac:spMkLst>
            <pc:docMk/>
            <pc:sldMk cId="1160345354" sldId="2146849623"/>
            <ac:spMk id="14" creationId="{4D641BAD-681B-4991-BC25-C31845B1B798}"/>
          </ac:spMkLst>
        </pc:spChg>
        <pc:spChg chg="add del mod ord">
          <ac:chgData name="Lars Boe Riber" userId="a0746655-6c86-46e8-9fa0-3fdc9fc77da6" providerId="ADAL" clId="{B603C8DF-16E3-4208-8001-E320ACF2A7C1}" dt="2022-11-17T09:30:20.542" v="5153"/>
          <ac:spMkLst>
            <pc:docMk/>
            <pc:sldMk cId="1160345354" sldId="2146849623"/>
            <ac:spMk id="18" creationId="{03B9C419-C90F-4A03-ADDB-A5853DEF9D4D}"/>
          </ac:spMkLst>
        </pc:spChg>
        <pc:spChg chg="add del mod ord">
          <ac:chgData name="Lars Boe Riber" userId="a0746655-6c86-46e8-9fa0-3fdc9fc77da6" providerId="ADAL" clId="{B603C8DF-16E3-4208-8001-E320ACF2A7C1}" dt="2022-11-17T09:30:33.245" v="5181"/>
          <ac:spMkLst>
            <pc:docMk/>
            <pc:sldMk cId="1160345354" sldId="2146849623"/>
            <ac:spMk id="21" creationId="{E93D2297-4E14-48A2-A43B-267802EE8EE3}"/>
          </ac:spMkLst>
        </pc:spChg>
        <pc:spChg chg="add del mod ord">
          <ac:chgData name="Lars Boe Riber" userId="a0746655-6c86-46e8-9fa0-3fdc9fc77da6" providerId="ADAL" clId="{B603C8DF-16E3-4208-8001-E320ACF2A7C1}" dt="2022-11-17T09:30:40.423" v="5209"/>
          <ac:spMkLst>
            <pc:docMk/>
            <pc:sldMk cId="1160345354" sldId="2146849623"/>
            <ac:spMk id="24" creationId="{98940650-1EB0-49B5-807F-10BFDA6E3357}"/>
          </ac:spMkLst>
        </pc:spChg>
        <pc:spChg chg="add del mod ord">
          <ac:chgData name="Lars Boe Riber" userId="a0746655-6c86-46e8-9fa0-3fdc9fc77da6" providerId="ADAL" clId="{B603C8DF-16E3-4208-8001-E320ACF2A7C1}" dt="2022-11-17T09:31:31.839" v="5297"/>
          <ac:spMkLst>
            <pc:docMk/>
            <pc:sldMk cId="1160345354" sldId="2146849623"/>
            <ac:spMk id="27" creationId="{8A54180C-C0DA-49A5-83D6-D06C0158CA0B}"/>
          </ac:spMkLst>
        </pc:spChg>
        <pc:spChg chg="add mod">
          <ac:chgData name="Lars Boe Riber" userId="a0746655-6c86-46e8-9fa0-3fdc9fc77da6" providerId="ADAL" clId="{B603C8DF-16E3-4208-8001-E320ACF2A7C1}" dt="2022-11-17T09:32:16.650" v="5315" actId="14100"/>
          <ac:spMkLst>
            <pc:docMk/>
            <pc:sldMk cId="1160345354" sldId="2146849623"/>
            <ac:spMk id="29" creationId="{9010537D-5806-44B1-A435-4AF3C69DAAE2}"/>
          </ac:spMkLst>
        </pc:spChg>
        <pc:spChg chg="add del mod ord">
          <ac:chgData name="Lars Boe Riber" userId="a0746655-6c86-46e8-9fa0-3fdc9fc77da6" providerId="ADAL" clId="{B603C8DF-16E3-4208-8001-E320ACF2A7C1}" dt="2022-11-17T09:31:31.839" v="5297"/>
          <ac:spMkLst>
            <pc:docMk/>
            <pc:sldMk cId="1160345354" sldId="2146849623"/>
            <ac:spMk id="32" creationId="{8F70B8C9-85B7-4BA0-8F35-1F663EB7D005}"/>
          </ac:spMkLst>
        </pc:spChg>
        <pc:picChg chg="add del mod ord replST">
          <ac:chgData name="Lars Boe Riber" userId="a0746655-6c86-46e8-9fa0-3fdc9fc77da6" providerId="ADAL" clId="{B603C8DF-16E3-4208-8001-E320ACF2A7C1}" dt="2022-11-17T09:29:27.891" v="5067" actId="478"/>
          <ac:picMkLst>
            <pc:docMk/>
            <pc:sldMk cId="1160345354" sldId="2146849623"/>
            <ac:picMk id="7" creationId="{647B9F82-F27B-4E78-A047-292E968B14B3}"/>
          </ac:picMkLst>
        </pc:picChg>
        <pc:picChg chg="add del mod ord replST">
          <ac:chgData name="Lars Boe Riber" userId="a0746655-6c86-46e8-9fa0-3fdc9fc77da6" providerId="ADAL" clId="{B603C8DF-16E3-4208-8001-E320ACF2A7C1}" dt="2022-11-17T09:29:39.116" v="5095" actId="478"/>
          <ac:picMkLst>
            <pc:docMk/>
            <pc:sldMk cId="1160345354" sldId="2146849623"/>
            <ac:picMk id="10" creationId="{37956897-F0F4-4950-8C0E-6B12AFE50AE4}"/>
          </ac:picMkLst>
        </pc:picChg>
        <pc:picChg chg="add del mod ord replST">
          <ac:chgData name="Lars Boe Riber" userId="a0746655-6c86-46e8-9fa0-3fdc9fc77da6" providerId="ADAL" clId="{B603C8DF-16E3-4208-8001-E320ACF2A7C1}" dt="2022-11-17T09:29:54.556" v="5123" actId="478"/>
          <ac:picMkLst>
            <pc:docMk/>
            <pc:sldMk cId="1160345354" sldId="2146849623"/>
            <ac:picMk id="13" creationId="{04D931C0-54E9-47CA-BC04-0FE2F0B2D551}"/>
          </ac:picMkLst>
        </pc:picChg>
        <pc:picChg chg="add del mod ord replST">
          <ac:chgData name="Lars Boe Riber" userId="a0746655-6c86-46e8-9fa0-3fdc9fc77da6" providerId="ADAL" clId="{B603C8DF-16E3-4208-8001-E320ACF2A7C1}" dt="2022-11-17T09:30:02.564" v="5151" actId="478"/>
          <ac:picMkLst>
            <pc:docMk/>
            <pc:sldMk cId="1160345354" sldId="2146849623"/>
            <ac:picMk id="17" creationId="{63C354B0-D3DA-4399-B09C-A08C89F23E01}"/>
          </ac:picMkLst>
        </pc:picChg>
        <pc:picChg chg="add del mod ord replST">
          <ac:chgData name="Lars Boe Riber" userId="a0746655-6c86-46e8-9fa0-3fdc9fc77da6" providerId="ADAL" clId="{B603C8DF-16E3-4208-8001-E320ACF2A7C1}" dt="2022-11-17T09:30:21.845" v="5179" actId="478"/>
          <ac:picMkLst>
            <pc:docMk/>
            <pc:sldMk cId="1160345354" sldId="2146849623"/>
            <ac:picMk id="20" creationId="{531DF040-FE0C-46F8-AE99-3D2C595AA243}"/>
          </ac:picMkLst>
        </pc:picChg>
        <pc:picChg chg="add del mod ord replST">
          <ac:chgData name="Lars Boe Riber" userId="a0746655-6c86-46e8-9fa0-3fdc9fc77da6" providerId="ADAL" clId="{B603C8DF-16E3-4208-8001-E320ACF2A7C1}" dt="2022-11-17T09:30:35.244" v="5207" actId="478"/>
          <ac:picMkLst>
            <pc:docMk/>
            <pc:sldMk cId="1160345354" sldId="2146849623"/>
            <ac:picMk id="23" creationId="{717CED18-936A-466F-9817-ED499CBE6636}"/>
          </ac:picMkLst>
        </pc:picChg>
        <pc:picChg chg="add mod ord replST modCrop">
          <ac:chgData name="Lars Boe Riber" userId="a0746655-6c86-46e8-9fa0-3fdc9fc77da6" providerId="ADAL" clId="{B603C8DF-16E3-4208-8001-E320ACF2A7C1}" dt="2022-11-17T09:31:21.922" v="5252" actId="732"/>
          <ac:picMkLst>
            <pc:docMk/>
            <pc:sldMk cId="1160345354" sldId="2146849623"/>
            <ac:picMk id="26" creationId="{3C9A433D-9036-445A-8441-028AD9E643B3}"/>
          </ac:picMkLst>
        </pc:picChg>
        <pc:picChg chg="del">
          <ac:chgData name="Lars Boe Riber" userId="a0746655-6c86-46e8-9fa0-3fdc9fc77da6" providerId="ADAL" clId="{B603C8DF-16E3-4208-8001-E320ACF2A7C1}" dt="2022-11-17T09:29:23.311" v="5039" actId="478"/>
          <ac:picMkLst>
            <pc:docMk/>
            <pc:sldMk cId="1160345354" sldId="2146849623"/>
            <ac:picMk id="30" creationId="{5CED0BB7-2A48-4886-AE6E-58FA750E2078}"/>
          </ac:picMkLst>
        </pc:picChg>
        <pc:picChg chg="add del mod ord replST delST">
          <ac:chgData name="Lars Boe Riber" userId="a0746655-6c86-46e8-9fa0-3fdc9fc77da6" providerId="ADAL" clId="{B603C8DF-16E3-4208-8001-E320ACF2A7C1}" dt="2022-11-17T09:31:31.839" v="5297"/>
          <ac:picMkLst>
            <pc:docMk/>
            <pc:sldMk cId="1160345354" sldId="2146849623"/>
            <ac:picMk id="31" creationId="{6FE17E9B-EAED-4370-89BE-21EFA434FC0D}"/>
          </ac:picMkLst>
        </pc:picChg>
      </pc:sldChg>
      <pc:sldChg chg="addSp delSp modSp new mod">
        <pc:chgData name="Lars Boe Riber" userId="a0746655-6c86-46e8-9fa0-3fdc9fc77da6" providerId="ADAL" clId="{B603C8DF-16E3-4208-8001-E320ACF2A7C1}" dt="2022-11-17T09:32:45.201" v="5319" actId="1076"/>
        <pc:sldMkLst>
          <pc:docMk/>
          <pc:sldMk cId="3487255225" sldId="2146849624"/>
        </pc:sldMkLst>
        <pc:spChg chg="del">
          <ac:chgData name="Lars Boe Riber" userId="a0746655-6c86-46e8-9fa0-3fdc9fc77da6" providerId="ADAL" clId="{B603C8DF-16E3-4208-8001-E320ACF2A7C1}" dt="2022-11-17T09:31:54.412" v="5301"/>
          <ac:spMkLst>
            <pc:docMk/>
            <pc:sldMk cId="3487255225" sldId="2146849624"/>
            <ac:spMk id="3" creationId="{C8DD440E-BC37-4FCA-A5FD-DA7B771CFEB9}"/>
          </ac:spMkLst>
        </pc:spChg>
        <pc:spChg chg="del">
          <ac:chgData name="Lars Boe Riber" userId="a0746655-6c86-46e8-9fa0-3fdc9fc77da6" providerId="ADAL" clId="{B603C8DF-16E3-4208-8001-E320ACF2A7C1}" dt="2022-11-17T09:31:48.462" v="5300" actId="478"/>
          <ac:spMkLst>
            <pc:docMk/>
            <pc:sldMk cId="3487255225" sldId="2146849624"/>
            <ac:spMk id="4" creationId="{7BFEC7A9-E637-42A5-9B91-512D147AF10A}"/>
          </ac:spMkLst>
        </pc:spChg>
        <pc:spChg chg="add mod">
          <ac:chgData name="Lars Boe Riber" userId="a0746655-6c86-46e8-9fa0-3fdc9fc77da6" providerId="ADAL" clId="{B603C8DF-16E3-4208-8001-E320ACF2A7C1}" dt="2022-11-17T09:32:45.201" v="5319" actId="1076"/>
          <ac:spMkLst>
            <pc:docMk/>
            <pc:sldMk cId="3487255225" sldId="2146849624"/>
            <ac:spMk id="7" creationId="{55267069-BEB3-44F2-B488-E648516D585A}"/>
          </ac:spMkLst>
        </pc:spChg>
        <pc:picChg chg="add mod replST modCrop">
          <ac:chgData name="Lars Boe Riber" userId="a0746655-6c86-46e8-9fa0-3fdc9fc77da6" providerId="ADAL" clId="{B603C8DF-16E3-4208-8001-E320ACF2A7C1}" dt="2022-11-17T09:32:38.903" v="5318" actId="18131"/>
          <ac:picMkLst>
            <pc:docMk/>
            <pc:sldMk cId="3487255225" sldId="2146849624"/>
            <ac:picMk id="6" creationId="{6AC695BF-B17E-45E8-80D2-2232BE999C4E}"/>
          </ac:picMkLst>
        </pc:picChg>
      </pc:sldChg>
      <pc:sldChg chg="addSp modSp new mod">
        <pc:chgData name="Lars Boe Riber" userId="a0746655-6c86-46e8-9fa0-3fdc9fc77da6" providerId="ADAL" clId="{B603C8DF-16E3-4208-8001-E320ACF2A7C1}" dt="2022-11-17T14:55:27.417" v="8325" actId="207"/>
        <pc:sldMkLst>
          <pc:docMk/>
          <pc:sldMk cId="394744062" sldId="2146849625"/>
        </pc:sldMkLst>
        <pc:spChg chg="mod">
          <ac:chgData name="Lars Boe Riber" userId="a0746655-6c86-46e8-9fa0-3fdc9fc77da6" providerId="ADAL" clId="{B603C8DF-16E3-4208-8001-E320ACF2A7C1}" dt="2022-11-17T14:54:56.412" v="8318" actId="14100"/>
          <ac:spMkLst>
            <pc:docMk/>
            <pc:sldMk cId="394744062" sldId="2146849625"/>
            <ac:spMk id="2" creationId="{ADB15DA5-9B65-4CA0-ADD3-47ABC937B18A}"/>
          </ac:spMkLst>
        </pc:spChg>
        <pc:spChg chg="mod">
          <ac:chgData name="Lars Boe Riber" userId="a0746655-6c86-46e8-9fa0-3fdc9fc77da6" providerId="ADAL" clId="{B603C8DF-16E3-4208-8001-E320ACF2A7C1}" dt="2022-11-17T14:55:06.282" v="8321" actId="1076"/>
          <ac:spMkLst>
            <pc:docMk/>
            <pc:sldMk cId="394744062" sldId="2146849625"/>
            <ac:spMk id="3" creationId="{20EA4AAF-93FF-4A82-A0F7-9404B5823EA8}"/>
          </ac:spMkLst>
        </pc:spChg>
        <pc:spChg chg="add mod">
          <ac:chgData name="Lars Boe Riber" userId="a0746655-6c86-46e8-9fa0-3fdc9fc77da6" providerId="ADAL" clId="{B603C8DF-16E3-4208-8001-E320ACF2A7C1}" dt="2022-11-17T14:55:27.417" v="8325" actId="207"/>
          <ac:spMkLst>
            <pc:docMk/>
            <pc:sldMk cId="394744062" sldId="2146849625"/>
            <ac:spMk id="6" creationId="{C2EA0F8B-2B1B-44E9-AE47-430A43004B72}"/>
          </ac:spMkLst>
        </pc:spChg>
        <pc:picChg chg="add mod">
          <ac:chgData name="Lars Boe Riber" userId="a0746655-6c86-46e8-9fa0-3fdc9fc77da6" providerId="ADAL" clId="{B603C8DF-16E3-4208-8001-E320ACF2A7C1}" dt="2022-11-17T14:54:50.505" v="8317" actId="1076"/>
          <ac:picMkLst>
            <pc:docMk/>
            <pc:sldMk cId="394744062" sldId="2146849625"/>
            <ac:picMk id="5" creationId="{96CDFF56-3A82-4CE4-9F1C-F9FF3B422530}"/>
          </ac:picMkLst>
        </pc:picChg>
      </pc:sldChg>
      <pc:sldChg chg="addSp delSp modSp new mod">
        <pc:chgData name="Lars Boe Riber" userId="a0746655-6c86-46e8-9fa0-3fdc9fc77da6" providerId="ADAL" clId="{B603C8DF-16E3-4208-8001-E320ACF2A7C1}" dt="2022-11-17T14:40:14.674" v="8266"/>
        <pc:sldMkLst>
          <pc:docMk/>
          <pc:sldMk cId="919259734" sldId="2146849626"/>
        </pc:sldMkLst>
        <pc:spChg chg="mod">
          <ac:chgData name="Lars Boe Riber" userId="a0746655-6c86-46e8-9fa0-3fdc9fc77da6" providerId="ADAL" clId="{B603C8DF-16E3-4208-8001-E320ACF2A7C1}" dt="2022-11-17T11:19:30.877" v="7025" actId="20577"/>
          <ac:spMkLst>
            <pc:docMk/>
            <pc:sldMk cId="919259734" sldId="2146849626"/>
            <ac:spMk id="2" creationId="{14ED0F35-4281-4694-9F00-4427A451DB72}"/>
          </ac:spMkLst>
        </pc:spChg>
        <pc:spChg chg="del mod">
          <ac:chgData name="Lars Boe Riber" userId="a0746655-6c86-46e8-9fa0-3fdc9fc77da6" providerId="ADAL" clId="{B603C8DF-16E3-4208-8001-E320ACF2A7C1}" dt="2022-11-17T11:19:34.678" v="7026" actId="478"/>
          <ac:spMkLst>
            <pc:docMk/>
            <pc:sldMk cId="919259734" sldId="2146849626"/>
            <ac:spMk id="3" creationId="{F2D4F3F6-3ABA-481F-AEF3-428895A6C5D1}"/>
          </ac:spMkLst>
        </pc:spChg>
        <pc:spChg chg="add del mod">
          <ac:chgData name="Lars Boe Riber" userId="a0746655-6c86-46e8-9fa0-3fdc9fc77da6" providerId="ADAL" clId="{B603C8DF-16E3-4208-8001-E320ACF2A7C1}" dt="2022-11-17T11:21:51.839" v="7261" actId="478"/>
          <ac:spMkLst>
            <pc:docMk/>
            <pc:sldMk cId="919259734" sldId="2146849626"/>
            <ac:spMk id="5" creationId="{BD78ECF4-90DA-41A6-AFC3-04E165F82141}"/>
          </ac:spMkLst>
        </pc:spChg>
        <pc:spChg chg="mod">
          <ac:chgData name="Lars Boe Riber" userId="a0746655-6c86-46e8-9fa0-3fdc9fc77da6" providerId="ADAL" clId="{B603C8DF-16E3-4208-8001-E320ACF2A7C1}" dt="2022-11-17T11:19:41.573" v="7027"/>
          <ac:spMkLst>
            <pc:docMk/>
            <pc:sldMk cId="919259734" sldId="2146849626"/>
            <ac:spMk id="7" creationId="{B8A282BC-9121-4497-9E2D-F371C7EC535F}"/>
          </ac:spMkLst>
        </pc:spChg>
        <pc:spChg chg="add del mod">
          <ac:chgData name="Lars Boe Riber" userId="a0746655-6c86-46e8-9fa0-3fdc9fc77da6" providerId="ADAL" clId="{B603C8DF-16E3-4208-8001-E320ACF2A7C1}" dt="2022-11-17T11:21:51.839" v="7261" actId="478"/>
          <ac:spMkLst>
            <pc:docMk/>
            <pc:sldMk cId="919259734" sldId="2146849626"/>
            <ac:spMk id="9" creationId="{1435F690-16DC-4EAF-9EAC-3EA884531F39}"/>
          </ac:spMkLst>
        </pc:spChg>
        <pc:spChg chg="mod">
          <ac:chgData name="Lars Boe Riber" userId="a0746655-6c86-46e8-9fa0-3fdc9fc77da6" providerId="ADAL" clId="{B603C8DF-16E3-4208-8001-E320ACF2A7C1}" dt="2022-11-17T11:19:45.207" v="7029"/>
          <ac:spMkLst>
            <pc:docMk/>
            <pc:sldMk cId="919259734" sldId="2146849626"/>
            <ac:spMk id="11" creationId="{2441B6AD-B245-4D0A-AE13-CB234039908B}"/>
          </ac:spMkLst>
        </pc:spChg>
        <pc:spChg chg="add mod">
          <ac:chgData name="Lars Boe Riber" userId="a0746655-6c86-46e8-9fa0-3fdc9fc77da6" providerId="ADAL" clId="{B603C8DF-16E3-4208-8001-E320ACF2A7C1}" dt="2022-11-17T12:08:34.112" v="7835" actId="1036"/>
          <ac:spMkLst>
            <pc:docMk/>
            <pc:sldMk cId="919259734" sldId="2146849626"/>
            <ac:spMk id="13" creationId="{6ED0AB7E-F3B7-4D37-9F05-32D440E7509C}"/>
          </ac:spMkLst>
        </pc:spChg>
        <pc:spChg chg="mod">
          <ac:chgData name="Lars Boe Riber" userId="a0746655-6c86-46e8-9fa0-3fdc9fc77da6" providerId="ADAL" clId="{B603C8DF-16E3-4208-8001-E320ACF2A7C1}" dt="2022-11-17T11:19:48.865" v="7031"/>
          <ac:spMkLst>
            <pc:docMk/>
            <pc:sldMk cId="919259734" sldId="2146849626"/>
            <ac:spMk id="15" creationId="{3A84BFC7-F625-4582-A2AA-8371DD0F69B8}"/>
          </ac:spMkLst>
        </pc:spChg>
        <pc:spChg chg="add mod">
          <ac:chgData name="Lars Boe Riber" userId="a0746655-6c86-46e8-9fa0-3fdc9fc77da6" providerId="ADAL" clId="{B603C8DF-16E3-4208-8001-E320ACF2A7C1}" dt="2022-11-17T12:08:34.112" v="7835" actId="1036"/>
          <ac:spMkLst>
            <pc:docMk/>
            <pc:sldMk cId="919259734" sldId="2146849626"/>
            <ac:spMk id="17" creationId="{39A25073-EA46-43ED-A8A4-03183F412170}"/>
          </ac:spMkLst>
        </pc:spChg>
        <pc:spChg chg="add mod ord">
          <ac:chgData name="Lars Boe Riber" userId="a0746655-6c86-46e8-9fa0-3fdc9fc77da6" providerId="ADAL" clId="{B603C8DF-16E3-4208-8001-E320ACF2A7C1}" dt="2022-11-17T14:31:51.060" v="8065" actId="20577"/>
          <ac:spMkLst>
            <pc:docMk/>
            <pc:sldMk cId="919259734" sldId="2146849626"/>
            <ac:spMk id="18" creationId="{F5779ED9-9981-4546-B990-83158B53585F}"/>
          </ac:spMkLst>
        </pc:spChg>
        <pc:spChg chg="add mod">
          <ac:chgData name="Lars Boe Riber" userId="a0746655-6c86-46e8-9fa0-3fdc9fc77da6" providerId="ADAL" clId="{B603C8DF-16E3-4208-8001-E320ACF2A7C1}" dt="2022-11-17T12:08:34.112" v="7835" actId="1036"/>
          <ac:spMkLst>
            <pc:docMk/>
            <pc:sldMk cId="919259734" sldId="2146849626"/>
            <ac:spMk id="19" creationId="{5A2BE96F-BE6C-4FD5-8522-8DE1270158E6}"/>
          </ac:spMkLst>
        </pc:spChg>
        <pc:spChg chg="add mod">
          <ac:chgData name="Lars Boe Riber" userId="a0746655-6c86-46e8-9fa0-3fdc9fc77da6" providerId="ADAL" clId="{B603C8DF-16E3-4208-8001-E320ACF2A7C1}" dt="2022-11-17T12:08:34.112" v="7835" actId="1036"/>
          <ac:spMkLst>
            <pc:docMk/>
            <pc:sldMk cId="919259734" sldId="2146849626"/>
            <ac:spMk id="20" creationId="{25F32578-BAB1-446F-9E29-927218FC5B0E}"/>
          </ac:spMkLst>
        </pc:spChg>
        <pc:spChg chg="mod">
          <ac:chgData name="Lars Boe Riber" userId="a0746655-6c86-46e8-9fa0-3fdc9fc77da6" providerId="ADAL" clId="{B603C8DF-16E3-4208-8001-E320ACF2A7C1}" dt="2022-11-17T11:29:51.794" v="7272"/>
          <ac:spMkLst>
            <pc:docMk/>
            <pc:sldMk cId="919259734" sldId="2146849626"/>
            <ac:spMk id="22" creationId="{89DEAB96-D511-4C82-B0AC-C7FA5C358A02}"/>
          </ac:spMkLst>
        </pc:spChg>
        <pc:spChg chg="mod">
          <ac:chgData name="Lars Boe Riber" userId="a0746655-6c86-46e8-9fa0-3fdc9fc77da6" providerId="ADAL" clId="{B603C8DF-16E3-4208-8001-E320ACF2A7C1}" dt="2022-11-17T11:30:21.771" v="7277"/>
          <ac:spMkLst>
            <pc:docMk/>
            <pc:sldMk cId="919259734" sldId="2146849626"/>
            <ac:spMk id="25" creationId="{0A6B66F1-FE00-4454-8E43-E9C528CA2B32}"/>
          </ac:spMkLst>
        </pc:spChg>
        <pc:spChg chg="mod">
          <ac:chgData name="Lars Boe Riber" userId="a0746655-6c86-46e8-9fa0-3fdc9fc77da6" providerId="ADAL" clId="{B603C8DF-16E3-4208-8001-E320ACF2A7C1}" dt="2022-11-17T11:30:46.050" v="7280"/>
          <ac:spMkLst>
            <pc:docMk/>
            <pc:sldMk cId="919259734" sldId="2146849626"/>
            <ac:spMk id="28" creationId="{9ABDB50F-3771-4426-B25A-DD07E2D2EEE5}"/>
          </ac:spMkLst>
        </pc:spChg>
        <pc:spChg chg="mod">
          <ac:chgData name="Lars Boe Riber" userId="a0746655-6c86-46e8-9fa0-3fdc9fc77da6" providerId="ADAL" clId="{B603C8DF-16E3-4208-8001-E320ACF2A7C1}" dt="2022-11-17T11:31:22.283" v="7293"/>
          <ac:spMkLst>
            <pc:docMk/>
            <pc:sldMk cId="919259734" sldId="2146849626"/>
            <ac:spMk id="31" creationId="{67EE8E9D-27A7-4050-B912-8128321B60A5}"/>
          </ac:spMkLst>
        </pc:spChg>
        <pc:spChg chg="mod">
          <ac:chgData name="Lars Boe Riber" userId="a0746655-6c86-46e8-9fa0-3fdc9fc77da6" providerId="ADAL" clId="{B603C8DF-16E3-4208-8001-E320ACF2A7C1}" dt="2022-11-17T11:31:55.352" v="7295"/>
          <ac:spMkLst>
            <pc:docMk/>
            <pc:sldMk cId="919259734" sldId="2146849626"/>
            <ac:spMk id="34" creationId="{E1DC1662-2EFC-4A2C-A4BF-E64C54FA6EF3}"/>
          </ac:spMkLst>
        </pc:spChg>
        <pc:spChg chg="add mod">
          <ac:chgData name="Lars Boe Riber" userId="a0746655-6c86-46e8-9fa0-3fdc9fc77da6" providerId="ADAL" clId="{B603C8DF-16E3-4208-8001-E320ACF2A7C1}" dt="2022-11-17T12:08:31.207" v="7825" actId="1035"/>
          <ac:spMkLst>
            <pc:docMk/>
            <pc:sldMk cId="919259734" sldId="2146849626"/>
            <ac:spMk id="37" creationId="{5A5D2CF5-9A75-4886-BE75-9F8071C7E913}"/>
          </ac:spMkLst>
        </pc:spChg>
        <pc:spChg chg="add mod">
          <ac:chgData name="Lars Boe Riber" userId="a0746655-6c86-46e8-9fa0-3fdc9fc77da6" providerId="ADAL" clId="{B603C8DF-16E3-4208-8001-E320ACF2A7C1}" dt="2022-11-17T12:08:34.112" v="7835" actId="1036"/>
          <ac:spMkLst>
            <pc:docMk/>
            <pc:sldMk cId="919259734" sldId="2146849626"/>
            <ac:spMk id="38" creationId="{F0C16BCA-2686-4335-BDA1-D3885BB60FD5}"/>
          </ac:spMkLst>
        </pc:spChg>
        <pc:spChg chg="add mod">
          <ac:chgData name="Lars Boe Riber" userId="a0746655-6c86-46e8-9fa0-3fdc9fc77da6" providerId="ADAL" clId="{B603C8DF-16E3-4208-8001-E320ACF2A7C1}" dt="2022-11-17T12:08:34.112" v="7835" actId="1036"/>
          <ac:spMkLst>
            <pc:docMk/>
            <pc:sldMk cId="919259734" sldId="2146849626"/>
            <ac:spMk id="39" creationId="{A438B5AC-46C2-409C-AAAB-80FFCFDBE482}"/>
          </ac:spMkLst>
        </pc:spChg>
        <pc:spChg chg="add mod">
          <ac:chgData name="Lars Boe Riber" userId="a0746655-6c86-46e8-9fa0-3fdc9fc77da6" providerId="ADAL" clId="{B603C8DF-16E3-4208-8001-E320ACF2A7C1}" dt="2022-11-17T12:08:34.112" v="7835" actId="1036"/>
          <ac:spMkLst>
            <pc:docMk/>
            <pc:sldMk cId="919259734" sldId="2146849626"/>
            <ac:spMk id="40" creationId="{4833E6BA-F99B-4A74-8EB7-10904BCFCA87}"/>
          </ac:spMkLst>
        </pc:spChg>
        <pc:spChg chg="add mod">
          <ac:chgData name="Lars Boe Riber" userId="a0746655-6c86-46e8-9fa0-3fdc9fc77da6" providerId="ADAL" clId="{B603C8DF-16E3-4208-8001-E320ACF2A7C1}" dt="2022-11-17T14:40:14.674" v="8266"/>
          <ac:spMkLst>
            <pc:docMk/>
            <pc:sldMk cId="919259734" sldId="2146849626"/>
            <ac:spMk id="41" creationId="{181E1DB4-218E-41F6-A9A6-66070753E3FD}"/>
          </ac:spMkLst>
        </pc:spChg>
        <pc:spChg chg="add del mod">
          <ac:chgData name="Lars Boe Riber" userId="a0746655-6c86-46e8-9fa0-3fdc9fc77da6" providerId="ADAL" clId="{B603C8DF-16E3-4208-8001-E320ACF2A7C1}" dt="2022-11-17T11:41:14.493" v="7552" actId="478"/>
          <ac:spMkLst>
            <pc:docMk/>
            <pc:sldMk cId="919259734" sldId="2146849626"/>
            <ac:spMk id="41" creationId="{40F15759-BE4D-4C29-8450-23ABA2A3F150}"/>
          </ac:spMkLst>
        </pc:spChg>
        <pc:spChg chg="add mod">
          <ac:chgData name="Lars Boe Riber" userId="a0746655-6c86-46e8-9fa0-3fdc9fc77da6" providerId="ADAL" clId="{B603C8DF-16E3-4208-8001-E320ACF2A7C1}" dt="2022-11-17T12:08:41.285" v="7856" actId="1035"/>
          <ac:spMkLst>
            <pc:docMk/>
            <pc:sldMk cId="919259734" sldId="2146849626"/>
            <ac:spMk id="42" creationId="{2255B0BB-555B-4D48-BEBD-E75CE4552279}"/>
          </ac:spMkLst>
        </pc:spChg>
        <pc:spChg chg="add mod">
          <ac:chgData name="Lars Boe Riber" userId="a0746655-6c86-46e8-9fa0-3fdc9fc77da6" providerId="ADAL" clId="{B603C8DF-16E3-4208-8001-E320ACF2A7C1}" dt="2022-11-17T11:43:02.923" v="7610"/>
          <ac:spMkLst>
            <pc:docMk/>
            <pc:sldMk cId="919259734" sldId="2146849626"/>
            <ac:spMk id="43" creationId="{56381B96-4BD0-40B8-BB0F-AEFF06670ED2}"/>
          </ac:spMkLst>
        </pc:spChg>
        <pc:spChg chg="add del mod">
          <ac:chgData name="Lars Boe Riber" userId="a0746655-6c86-46e8-9fa0-3fdc9fc77da6" providerId="ADAL" clId="{B603C8DF-16E3-4208-8001-E320ACF2A7C1}" dt="2022-11-17T11:42:48.785" v="7589"/>
          <ac:spMkLst>
            <pc:docMk/>
            <pc:sldMk cId="919259734" sldId="2146849626"/>
            <ac:spMk id="44" creationId="{AF31450F-D73C-4A93-ABE2-A16340C14116}"/>
          </ac:spMkLst>
        </pc:spChg>
        <pc:grpChg chg="add del mod">
          <ac:chgData name="Lars Boe Riber" userId="a0746655-6c86-46e8-9fa0-3fdc9fc77da6" providerId="ADAL" clId="{B603C8DF-16E3-4208-8001-E320ACF2A7C1}" dt="2022-11-17T11:19:56.038" v="7034" actId="478"/>
          <ac:grpSpMkLst>
            <pc:docMk/>
            <pc:sldMk cId="919259734" sldId="2146849626"/>
            <ac:grpSpMk id="6" creationId="{BCB7B336-0CBD-46E4-9571-5FDA6F72A456}"/>
          </ac:grpSpMkLst>
        </pc:grpChg>
        <pc:grpChg chg="add del mod">
          <ac:chgData name="Lars Boe Riber" userId="a0746655-6c86-46e8-9fa0-3fdc9fc77da6" providerId="ADAL" clId="{B603C8DF-16E3-4208-8001-E320ACF2A7C1}" dt="2022-11-17T11:19:56.038" v="7034" actId="478"/>
          <ac:grpSpMkLst>
            <pc:docMk/>
            <pc:sldMk cId="919259734" sldId="2146849626"/>
            <ac:grpSpMk id="10" creationId="{E1D65EAF-033D-4F21-8D0F-1E0AC9C1323D}"/>
          </ac:grpSpMkLst>
        </pc:grpChg>
        <pc:grpChg chg="add del mod">
          <ac:chgData name="Lars Boe Riber" userId="a0746655-6c86-46e8-9fa0-3fdc9fc77da6" providerId="ADAL" clId="{B603C8DF-16E3-4208-8001-E320ACF2A7C1}" dt="2022-11-17T11:19:56.038" v="7034" actId="478"/>
          <ac:grpSpMkLst>
            <pc:docMk/>
            <pc:sldMk cId="919259734" sldId="2146849626"/>
            <ac:grpSpMk id="14" creationId="{3F8C839B-850F-411E-8706-EE976CAEB27A}"/>
          </ac:grpSpMkLst>
        </pc:grpChg>
        <pc:grpChg chg="add mod">
          <ac:chgData name="Lars Boe Riber" userId="a0746655-6c86-46e8-9fa0-3fdc9fc77da6" providerId="ADAL" clId="{B603C8DF-16E3-4208-8001-E320ACF2A7C1}" dt="2022-11-17T12:08:34.112" v="7835" actId="1036"/>
          <ac:grpSpMkLst>
            <pc:docMk/>
            <pc:sldMk cId="919259734" sldId="2146849626"/>
            <ac:grpSpMk id="21" creationId="{A322B6C7-5316-4E60-BC10-7D4DD8B876E6}"/>
          </ac:grpSpMkLst>
        </pc:grpChg>
        <pc:grpChg chg="add mod">
          <ac:chgData name="Lars Boe Riber" userId="a0746655-6c86-46e8-9fa0-3fdc9fc77da6" providerId="ADAL" clId="{B603C8DF-16E3-4208-8001-E320ACF2A7C1}" dt="2022-11-17T12:08:34.112" v="7835" actId="1036"/>
          <ac:grpSpMkLst>
            <pc:docMk/>
            <pc:sldMk cId="919259734" sldId="2146849626"/>
            <ac:grpSpMk id="24" creationId="{6034BEBB-1D63-4CFE-B87F-E1DA934A0DC5}"/>
          </ac:grpSpMkLst>
        </pc:grpChg>
        <pc:grpChg chg="add mod">
          <ac:chgData name="Lars Boe Riber" userId="a0746655-6c86-46e8-9fa0-3fdc9fc77da6" providerId="ADAL" clId="{B603C8DF-16E3-4208-8001-E320ACF2A7C1}" dt="2022-11-17T12:08:34.112" v="7835" actId="1036"/>
          <ac:grpSpMkLst>
            <pc:docMk/>
            <pc:sldMk cId="919259734" sldId="2146849626"/>
            <ac:grpSpMk id="27" creationId="{D53986B0-0AFB-481C-A7F9-D30CC27AE076}"/>
          </ac:grpSpMkLst>
        </pc:grpChg>
        <pc:grpChg chg="add mod">
          <ac:chgData name="Lars Boe Riber" userId="a0746655-6c86-46e8-9fa0-3fdc9fc77da6" providerId="ADAL" clId="{B603C8DF-16E3-4208-8001-E320ACF2A7C1}" dt="2022-11-17T12:08:34.112" v="7835" actId="1036"/>
          <ac:grpSpMkLst>
            <pc:docMk/>
            <pc:sldMk cId="919259734" sldId="2146849626"/>
            <ac:grpSpMk id="30" creationId="{B1A9EED9-3D60-4133-BE2C-91A3AAEB992D}"/>
          </ac:grpSpMkLst>
        </pc:grpChg>
        <pc:grpChg chg="add mod">
          <ac:chgData name="Lars Boe Riber" userId="a0746655-6c86-46e8-9fa0-3fdc9fc77da6" providerId="ADAL" clId="{B603C8DF-16E3-4208-8001-E320ACF2A7C1}" dt="2022-11-17T12:08:34.112" v="7835" actId="1036"/>
          <ac:grpSpMkLst>
            <pc:docMk/>
            <pc:sldMk cId="919259734" sldId="2146849626"/>
            <ac:grpSpMk id="33" creationId="{8DF9BA9A-8AE7-40F1-AF2A-C63468EE3FBA}"/>
          </ac:grpSpMkLst>
        </pc:grpChg>
        <pc:graphicFrameChg chg="add mod modGraphic">
          <ac:chgData name="Lars Boe Riber" userId="a0746655-6c86-46e8-9fa0-3fdc9fc77da6" providerId="ADAL" clId="{B603C8DF-16E3-4208-8001-E320ACF2A7C1}" dt="2022-11-17T12:08:56.690" v="7864"/>
          <ac:graphicFrameMkLst>
            <pc:docMk/>
            <pc:sldMk cId="919259734" sldId="2146849626"/>
            <ac:graphicFrameMk id="36" creationId="{D7C0D541-C531-433B-B5B1-D1A3651E32C0}"/>
          </ac:graphicFrameMkLst>
        </pc:graphicFrameChg>
        <pc:picChg chg="mod">
          <ac:chgData name="Lars Boe Riber" userId="a0746655-6c86-46e8-9fa0-3fdc9fc77da6" providerId="ADAL" clId="{B603C8DF-16E3-4208-8001-E320ACF2A7C1}" dt="2022-11-17T11:19:41.573" v="7027"/>
          <ac:picMkLst>
            <pc:docMk/>
            <pc:sldMk cId="919259734" sldId="2146849626"/>
            <ac:picMk id="8" creationId="{51B56F45-F308-4FDD-AC92-B249F2074591}"/>
          </ac:picMkLst>
        </pc:picChg>
        <pc:picChg chg="mod">
          <ac:chgData name="Lars Boe Riber" userId="a0746655-6c86-46e8-9fa0-3fdc9fc77da6" providerId="ADAL" clId="{B603C8DF-16E3-4208-8001-E320ACF2A7C1}" dt="2022-11-17T11:19:45.207" v="7029"/>
          <ac:picMkLst>
            <pc:docMk/>
            <pc:sldMk cId="919259734" sldId="2146849626"/>
            <ac:picMk id="12" creationId="{4686CD87-C6F3-484C-BF09-3471E46FFE18}"/>
          </ac:picMkLst>
        </pc:picChg>
        <pc:picChg chg="mod">
          <ac:chgData name="Lars Boe Riber" userId="a0746655-6c86-46e8-9fa0-3fdc9fc77da6" providerId="ADAL" clId="{B603C8DF-16E3-4208-8001-E320ACF2A7C1}" dt="2022-11-17T11:19:48.865" v="7031"/>
          <ac:picMkLst>
            <pc:docMk/>
            <pc:sldMk cId="919259734" sldId="2146849626"/>
            <ac:picMk id="16" creationId="{34B5D38B-6F69-4405-8A6B-9945160B8631}"/>
          </ac:picMkLst>
        </pc:picChg>
        <pc:picChg chg="mod">
          <ac:chgData name="Lars Boe Riber" userId="a0746655-6c86-46e8-9fa0-3fdc9fc77da6" providerId="ADAL" clId="{B603C8DF-16E3-4208-8001-E320ACF2A7C1}" dt="2022-11-17T11:29:51.794" v="7272"/>
          <ac:picMkLst>
            <pc:docMk/>
            <pc:sldMk cId="919259734" sldId="2146849626"/>
            <ac:picMk id="23" creationId="{7F877148-587C-4A1C-8541-298CC4C3B694}"/>
          </ac:picMkLst>
        </pc:picChg>
        <pc:picChg chg="mod">
          <ac:chgData name="Lars Boe Riber" userId="a0746655-6c86-46e8-9fa0-3fdc9fc77da6" providerId="ADAL" clId="{B603C8DF-16E3-4208-8001-E320ACF2A7C1}" dt="2022-11-17T11:30:21.771" v="7277"/>
          <ac:picMkLst>
            <pc:docMk/>
            <pc:sldMk cId="919259734" sldId="2146849626"/>
            <ac:picMk id="26" creationId="{BA1D36AC-A4FC-45ED-9669-85AA32C65C07}"/>
          </ac:picMkLst>
        </pc:picChg>
        <pc:picChg chg="mod">
          <ac:chgData name="Lars Boe Riber" userId="a0746655-6c86-46e8-9fa0-3fdc9fc77da6" providerId="ADAL" clId="{B603C8DF-16E3-4208-8001-E320ACF2A7C1}" dt="2022-11-17T11:30:46.050" v="7280"/>
          <ac:picMkLst>
            <pc:docMk/>
            <pc:sldMk cId="919259734" sldId="2146849626"/>
            <ac:picMk id="29" creationId="{0645970B-B5DB-4E4A-8908-39E5204C8338}"/>
          </ac:picMkLst>
        </pc:picChg>
        <pc:picChg chg="mod">
          <ac:chgData name="Lars Boe Riber" userId="a0746655-6c86-46e8-9fa0-3fdc9fc77da6" providerId="ADAL" clId="{B603C8DF-16E3-4208-8001-E320ACF2A7C1}" dt="2022-11-17T11:31:22.283" v="7293"/>
          <ac:picMkLst>
            <pc:docMk/>
            <pc:sldMk cId="919259734" sldId="2146849626"/>
            <ac:picMk id="32" creationId="{790517E2-58A1-4A8F-82ED-DDAD531D82C9}"/>
          </ac:picMkLst>
        </pc:picChg>
        <pc:picChg chg="mod">
          <ac:chgData name="Lars Boe Riber" userId="a0746655-6c86-46e8-9fa0-3fdc9fc77da6" providerId="ADAL" clId="{B603C8DF-16E3-4208-8001-E320ACF2A7C1}" dt="2022-11-17T11:31:55.352" v="7295"/>
          <ac:picMkLst>
            <pc:docMk/>
            <pc:sldMk cId="919259734" sldId="2146849626"/>
            <ac:picMk id="35" creationId="{922ACDEF-C5F5-4134-A5E8-DE5327CB5680}"/>
          </ac:picMkLst>
        </pc:picChg>
      </pc:sldChg>
      <pc:sldChg chg="addSp delSp modSp new mod">
        <pc:chgData name="Lars Boe Riber" userId="a0746655-6c86-46e8-9fa0-3fdc9fc77da6" providerId="ADAL" clId="{B603C8DF-16E3-4208-8001-E320ACF2A7C1}" dt="2022-11-17T14:40:15.704" v="8267"/>
        <pc:sldMkLst>
          <pc:docMk/>
          <pc:sldMk cId="3170663722" sldId="2146849627"/>
        </pc:sldMkLst>
        <pc:spChg chg="mod">
          <ac:chgData name="Lars Boe Riber" userId="a0746655-6c86-46e8-9fa0-3fdc9fc77da6" providerId="ADAL" clId="{B603C8DF-16E3-4208-8001-E320ACF2A7C1}" dt="2022-11-17T14:05:03.201" v="7866"/>
          <ac:spMkLst>
            <pc:docMk/>
            <pc:sldMk cId="3170663722" sldId="2146849627"/>
            <ac:spMk id="2" creationId="{307B692B-786B-48E5-8171-D7E213434C70}"/>
          </ac:spMkLst>
        </pc:spChg>
        <pc:spChg chg="del">
          <ac:chgData name="Lars Boe Riber" userId="a0746655-6c86-46e8-9fa0-3fdc9fc77da6" providerId="ADAL" clId="{B603C8DF-16E3-4208-8001-E320ACF2A7C1}" dt="2022-11-17T14:05:22.321" v="7868" actId="478"/>
          <ac:spMkLst>
            <pc:docMk/>
            <pc:sldMk cId="3170663722" sldId="2146849627"/>
            <ac:spMk id="3" creationId="{3FE1CE41-5C32-4449-BC04-EFA4CBDA2DD5}"/>
          </ac:spMkLst>
        </pc:spChg>
        <pc:spChg chg="add mod">
          <ac:chgData name="Lars Boe Riber" userId="a0746655-6c86-46e8-9fa0-3fdc9fc77da6" providerId="ADAL" clId="{B603C8DF-16E3-4208-8001-E320ACF2A7C1}" dt="2022-11-17T14:05:26.982" v="7870" actId="20577"/>
          <ac:spMkLst>
            <pc:docMk/>
            <pc:sldMk cId="3170663722" sldId="2146849627"/>
            <ac:spMk id="5" creationId="{4B2F62FF-3A12-4B79-836E-B35D6A0EE5AA}"/>
          </ac:spMkLst>
        </pc:spChg>
        <pc:spChg chg="add mod">
          <ac:chgData name="Lars Boe Riber" userId="a0746655-6c86-46e8-9fa0-3fdc9fc77da6" providerId="ADAL" clId="{B603C8DF-16E3-4208-8001-E320ACF2A7C1}" dt="2022-11-17T14:05:20.770" v="7867"/>
          <ac:spMkLst>
            <pc:docMk/>
            <pc:sldMk cId="3170663722" sldId="2146849627"/>
            <ac:spMk id="7" creationId="{E6342348-1999-4A40-A30B-CB739536B4D7}"/>
          </ac:spMkLst>
        </pc:spChg>
        <pc:spChg chg="add mod">
          <ac:chgData name="Lars Boe Riber" userId="a0746655-6c86-46e8-9fa0-3fdc9fc77da6" providerId="ADAL" clId="{B603C8DF-16E3-4208-8001-E320ACF2A7C1}" dt="2022-11-17T14:06:15.016" v="7927" actId="1076"/>
          <ac:spMkLst>
            <pc:docMk/>
            <pc:sldMk cId="3170663722" sldId="2146849627"/>
            <ac:spMk id="8" creationId="{B2775E36-78AE-421A-8C0B-DA2263ACE76B}"/>
          </ac:spMkLst>
        </pc:spChg>
        <pc:spChg chg="add mod">
          <ac:chgData name="Lars Boe Riber" userId="a0746655-6c86-46e8-9fa0-3fdc9fc77da6" providerId="ADAL" clId="{B603C8DF-16E3-4208-8001-E320ACF2A7C1}" dt="2022-11-17T14:06:28.968" v="7932" actId="1076"/>
          <ac:spMkLst>
            <pc:docMk/>
            <pc:sldMk cId="3170663722" sldId="2146849627"/>
            <ac:spMk id="9" creationId="{CA48174C-3243-4046-9725-484A5FC0EE21}"/>
          </ac:spMkLst>
        </pc:spChg>
        <pc:spChg chg="add mod">
          <ac:chgData name="Lars Boe Riber" userId="a0746655-6c86-46e8-9fa0-3fdc9fc77da6" providerId="ADAL" clId="{B603C8DF-16E3-4208-8001-E320ACF2A7C1}" dt="2022-11-17T14:40:15.704" v="8267"/>
          <ac:spMkLst>
            <pc:docMk/>
            <pc:sldMk cId="3170663722" sldId="2146849627"/>
            <ac:spMk id="17" creationId="{6788FD68-C9B1-43D8-AB5D-CC7176A3BAF9}"/>
          </ac:spMkLst>
        </pc:spChg>
        <pc:grpChg chg="add mod">
          <ac:chgData name="Lars Boe Riber" userId="a0746655-6c86-46e8-9fa0-3fdc9fc77da6" providerId="ADAL" clId="{B603C8DF-16E3-4208-8001-E320ACF2A7C1}" dt="2022-11-17T14:26:19.702" v="7958" actId="12788"/>
          <ac:grpSpMkLst>
            <pc:docMk/>
            <pc:sldMk cId="3170663722" sldId="2146849627"/>
            <ac:grpSpMk id="16" creationId="{08AE91A2-91E3-473F-8B29-B746757E39AF}"/>
          </ac:grpSpMkLst>
        </pc:grpChg>
        <pc:picChg chg="add mod">
          <ac:chgData name="Lars Boe Riber" userId="a0746655-6c86-46e8-9fa0-3fdc9fc77da6" providerId="ADAL" clId="{B603C8DF-16E3-4208-8001-E320ACF2A7C1}" dt="2022-11-17T14:05:20.770" v="7867"/>
          <ac:picMkLst>
            <pc:docMk/>
            <pc:sldMk cId="3170663722" sldId="2146849627"/>
            <ac:picMk id="6" creationId="{EEE41971-BA42-49D5-BD58-7D9CEDE303E3}"/>
          </ac:picMkLst>
        </pc:picChg>
        <pc:picChg chg="add mod">
          <ac:chgData name="Lars Boe Riber" userId="a0746655-6c86-46e8-9fa0-3fdc9fc77da6" providerId="ADAL" clId="{B603C8DF-16E3-4208-8001-E320ACF2A7C1}" dt="2022-11-17T14:26:18.104" v="7957" actId="164"/>
          <ac:picMkLst>
            <pc:docMk/>
            <pc:sldMk cId="3170663722" sldId="2146849627"/>
            <ac:picMk id="11" creationId="{2AE19AF9-1AF6-4573-AEB9-57C6F1EF5960}"/>
          </ac:picMkLst>
        </pc:picChg>
        <pc:picChg chg="add mod">
          <ac:chgData name="Lars Boe Riber" userId="a0746655-6c86-46e8-9fa0-3fdc9fc77da6" providerId="ADAL" clId="{B603C8DF-16E3-4208-8001-E320ACF2A7C1}" dt="2022-11-17T14:26:18.104" v="7957" actId="164"/>
          <ac:picMkLst>
            <pc:docMk/>
            <pc:sldMk cId="3170663722" sldId="2146849627"/>
            <ac:picMk id="13" creationId="{BE3A654F-4B68-4EBE-92BA-4A90DEC50D43}"/>
          </ac:picMkLst>
        </pc:picChg>
        <pc:picChg chg="add mod">
          <ac:chgData name="Lars Boe Riber" userId="a0746655-6c86-46e8-9fa0-3fdc9fc77da6" providerId="ADAL" clId="{B603C8DF-16E3-4208-8001-E320ACF2A7C1}" dt="2022-11-17T14:26:18.104" v="7957" actId="164"/>
          <ac:picMkLst>
            <pc:docMk/>
            <pc:sldMk cId="3170663722" sldId="2146849627"/>
            <ac:picMk id="15" creationId="{59E44D14-8716-483D-B33E-2D062BD76F56}"/>
          </ac:picMkLst>
        </pc:picChg>
      </pc:sldChg>
      <pc:sldChg chg="new del">
        <pc:chgData name="Lars Boe Riber" userId="a0746655-6c86-46e8-9fa0-3fdc9fc77da6" providerId="ADAL" clId="{B603C8DF-16E3-4208-8001-E320ACF2A7C1}" dt="2022-11-17T14:55:08.020" v="8322" actId="47"/>
        <pc:sldMkLst>
          <pc:docMk/>
          <pc:sldMk cId="2188082259" sldId="2146849628"/>
        </pc:sldMkLst>
      </pc:sldChg>
    </pc:docChg>
  </pc:docChgLst>
  <pc:docChgLst>
    <pc:chgData name="Lars Boe Riber" userId="a0746655-6c86-46e8-9fa0-3fdc9fc77da6" providerId="ADAL" clId="{4E480DD1-6EB6-40E9-AA5D-F0885641F18B}"/>
    <pc:docChg chg="undo redo custSel addSld delSld modSld modMainMaster">
      <pc:chgData name="Lars Boe Riber" userId="a0746655-6c86-46e8-9fa0-3fdc9fc77da6" providerId="ADAL" clId="{4E480DD1-6EB6-40E9-AA5D-F0885641F18B}" dt="2022-11-29T07:50:32.216" v="3896" actId="20577"/>
      <pc:docMkLst>
        <pc:docMk/>
      </pc:docMkLst>
      <pc:sldChg chg="modSp mod">
        <pc:chgData name="Lars Boe Riber" userId="a0746655-6c86-46e8-9fa0-3fdc9fc77da6" providerId="ADAL" clId="{4E480DD1-6EB6-40E9-AA5D-F0885641F18B}" dt="2022-11-18T10:27:07.338" v="86" actId="790"/>
        <pc:sldMkLst>
          <pc:docMk/>
          <pc:sldMk cId="2933191081" sldId="260"/>
        </pc:sldMkLst>
        <pc:spChg chg="mod">
          <ac:chgData name="Lars Boe Riber" userId="a0746655-6c86-46e8-9fa0-3fdc9fc77da6" providerId="ADAL" clId="{4E480DD1-6EB6-40E9-AA5D-F0885641F18B}" dt="2022-11-18T10:27:07.338" v="86" actId="790"/>
          <ac:spMkLst>
            <pc:docMk/>
            <pc:sldMk cId="2933191081" sldId="260"/>
            <ac:spMk id="3" creationId="{7EFFBEA4-0BBB-45E7-97F7-9024D834AC97}"/>
          </ac:spMkLst>
        </pc:spChg>
      </pc:sldChg>
      <pc:sldChg chg="addSp delSp modSp mod">
        <pc:chgData name="Lars Boe Riber" userId="a0746655-6c86-46e8-9fa0-3fdc9fc77da6" providerId="ADAL" clId="{4E480DD1-6EB6-40E9-AA5D-F0885641F18B}" dt="2022-11-26T08:55:04.320" v="3857"/>
        <pc:sldMkLst>
          <pc:docMk/>
          <pc:sldMk cId="2391777431" sldId="264"/>
        </pc:sldMkLst>
        <pc:spChg chg="mod">
          <ac:chgData name="Lars Boe Riber" userId="a0746655-6c86-46e8-9fa0-3fdc9fc77da6" providerId="ADAL" clId="{4E480DD1-6EB6-40E9-AA5D-F0885641F18B}" dt="2022-11-18T10:27:07.339" v="88" actId="790"/>
          <ac:spMkLst>
            <pc:docMk/>
            <pc:sldMk cId="2391777431" sldId="264"/>
            <ac:spMk id="2" creationId="{D2B0E81C-9338-48E4-8306-AE0C19EB2B9C}"/>
          </ac:spMkLst>
        </pc:spChg>
        <pc:spChg chg="del mod">
          <ac:chgData name="Lars Boe Riber" userId="a0746655-6c86-46e8-9fa0-3fdc9fc77da6" providerId="ADAL" clId="{4E480DD1-6EB6-40E9-AA5D-F0885641F18B}" dt="2022-11-26T08:55:01.449" v="3855" actId="478"/>
          <ac:spMkLst>
            <pc:docMk/>
            <pc:sldMk cId="2391777431" sldId="264"/>
            <ac:spMk id="3" creationId="{8CC17705-E959-42D8-9C78-958F4F59AA0D}"/>
          </ac:spMkLst>
        </pc:spChg>
        <pc:spChg chg="mod">
          <ac:chgData name="Lars Boe Riber" userId="a0746655-6c86-46e8-9fa0-3fdc9fc77da6" providerId="ADAL" clId="{4E480DD1-6EB6-40E9-AA5D-F0885641F18B}" dt="2022-11-18T10:27:07.347" v="96" actId="790"/>
          <ac:spMkLst>
            <pc:docMk/>
            <pc:sldMk cId="2391777431" sldId="264"/>
            <ac:spMk id="4" creationId="{33DD5336-13B4-4577-A4C8-18C47680D005}"/>
          </ac:spMkLst>
        </pc:spChg>
        <pc:spChg chg="add del mod">
          <ac:chgData name="Lars Boe Riber" userId="a0746655-6c86-46e8-9fa0-3fdc9fc77da6" providerId="ADAL" clId="{4E480DD1-6EB6-40E9-AA5D-F0885641F18B}" dt="2022-11-26T08:55:03.949" v="3856" actId="478"/>
          <ac:spMkLst>
            <pc:docMk/>
            <pc:sldMk cId="2391777431" sldId="264"/>
            <ac:spMk id="6" creationId="{03E8EFD1-D332-4784-949C-152D38BC9040}"/>
          </ac:spMkLst>
        </pc:spChg>
        <pc:spChg chg="add mod">
          <ac:chgData name="Lars Boe Riber" userId="a0746655-6c86-46e8-9fa0-3fdc9fc77da6" providerId="ADAL" clId="{4E480DD1-6EB6-40E9-AA5D-F0885641F18B}" dt="2022-11-26T08:55:04.320" v="3857"/>
          <ac:spMkLst>
            <pc:docMk/>
            <pc:sldMk cId="2391777431" sldId="264"/>
            <ac:spMk id="8" creationId="{B3C7D6EE-1EBB-42D8-A0C6-6BA3A503A8D0}"/>
          </ac:spMkLst>
        </pc:spChg>
        <pc:spChg chg="add mod">
          <ac:chgData name="Lars Boe Riber" userId="a0746655-6c86-46e8-9fa0-3fdc9fc77da6" providerId="ADAL" clId="{4E480DD1-6EB6-40E9-AA5D-F0885641F18B}" dt="2022-11-26T08:55:04.320" v="3857"/>
          <ac:spMkLst>
            <pc:docMk/>
            <pc:sldMk cId="2391777431" sldId="264"/>
            <ac:spMk id="9" creationId="{EFA543E4-56EA-461D-806B-619A4B425E00}"/>
          </ac:spMkLst>
        </pc:spChg>
        <pc:spChg chg="add mod">
          <ac:chgData name="Lars Boe Riber" userId="a0746655-6c86-46e8-9fa0-3fdc9fc77da6" providerId="ADAL" clId="{4E480DD1-6EB6-40E9-AA5D-F0885641F18B}" dt="2022-11-26T08:55:04.320" v="3857"/>
          <ac:spMkLst>
            <pc:docMk/>
            <pc:sldMk cId="2391777431" sldId="264"/>
            <ac:spMk id="10" creationId="{76047652-C7DC-4FA6-936A-5179B4183A86}"/>
          </ac:spMkLst>
        </pc:spChg>
        <pc:spChg chg="add mod">
          <ac:chgData name="Lars Boe Riber" userId="a0746655-6c86-46e8-9fa0-3fdc9fc77da6" providerId="ADAL" clId="{4E480DD1-6EB6-40E9-AA5D-F0885641F18B}" dt="2022-11-26T08:55:04.320" v="3857"/>
          <ac:spMkLst>
            <pc:docMk/>
            <pc:sldMk cId="2391777431" sldId="264"/>
            <ac:spMk id="11" creationId="{D6CF8744-F36C-4361-8A99-61A02B1F2262}"/>
          </ac:spMkLst>
        </pc:spChg>
        <pc:spChg chg="add mod">
          <ac:chgData name="Lars Boe Riber" userId="a0746655-6c86-46e8-9fa0-3fdc9fc77da6" providerId="ADAL" clId="{4E480DD1-6EB6-40E9-AA5D-F0885641F18B}" dt="2022-11-26T08:55:04.320" v="3857"/>
          <ac:spMkLst>
            <pc:docMk/>
            <pc:sldMk cId="2391777431" sldId="264"/>
            <ac:spMk id="12" creationId="{F0A5EABE-6154-42BF-8418-23882576D173}"/>
          </ac:spMkLst>
        </pc:spChg>
        <pc:spChg chg="add mod">
          <ac:chgData name="Lars Boe Riber" userId="a0746655-6c86-46e8-9fa0-3fdc9fc77da6" providerId="ADAL" clId="{4E480DD1-6EB6-40E9-AA5D-F0885641F18B}" dt="2022-11-26T08:55:04.320" v="3857"/>
          <ac:spMkLst>
            <pc:docMk/>
            <pc:sldMk cId="2391777431" sldId="264"/>
            <ac:spMk id="13" creationId="{B43B911B-C84D-49E2-BF59-6F7188735DA7}"/>
          </ac:spMkLst>
        </pc:spChg>
        <pc:spChg chg="add mod">
          <ac:chgData name="Lars Boe Riber" userId="a0746655-6c86-46e8-9fa0-3fdc9fc77da6" providerId="ADAL" clId="{4E480DD1-6EB6-40E9-AA5D-F0885641F18B}" dt="2022-11-26T08:55:04.320" v="3857"/>
          <ac:spMkLst>
            <pc:docMk/>
            <pc:sldMk cId="2391777431" sldId="264"/>
            <ac:spMk id="14" creationId="{C2645DB6-2FE4-47BE-B2A0-6120CDE8F2F6}"/>
          </ac:spMkLst>
        </pc:spChg>
        <pc:spChg chg="add mod">
          <ac:chgData name="Lars Boe Riber" userId="a0746655-6c86-46e8-9fa0-3fdc9fc77da6" providerId="ADAL" clId="{4E480DD1-6EB6-40E9-AA5D-F0885641F18B}" dt="2022-11-26T08:55:04.320" v="3857"/>
          <ac:spMkLst>
            <pc:docMk/>
            <pc:sldMk cId="2391777431" sldId="264"/>
            <ac:spMk id="16" creationId="{D215B3C4-C651-4AA8-B87B-C405DA41023B}"/>
          </ac:spMkLst>
        </pc:spChg>
        <pc:spChg chg="add mod">
          <ac:chgData name="Lars Boe Riber" userId="a0746655-6c86-46e8-9fa0-3fdc9fc77da6" providerId="ADAL" clId="{4E480DD1-6EB6-40E9-AA5D-F0885641F18B}" dt="2022-11-26T08:55:04.320" v="3857"/>
          <ac:spMkLst>
            <pc:docMk/>
            <pc:sldMk cId="2391777431" sldId="264"/>
            <ac:spMk id="17" creationId="{FFED1F85-2356-4868-B695-52B32876E268}"/>
          </ac:spMkLst>
        </pc:spChg>
        <pc:spChg chg="add mod">
          <ac:chgData name="Lars Boe Riber" userId="a0746655-6c86-46e8-9fa0-3fdc9fc77da6" providerId="ADAL" clId="{4E480DD1-6EB6-40E9-AA5D-F0885641F18B}" dt="2022-11-26T08:55:04.320" v="3857"/>
          <ac:spMkLst>
            <pc:docMk/>
            <pc:sldMk cId="2391777431" sldId="264"/>
            <ac:spMk id="18" creationId="{6F00D916-8082-4ACA-87B0-C9A2FBE0A947}"/>
          </ac:spMkLst>
        </pc:spChg>
      </pc:sldChg>
      <pc:sldChg chg="modSp mod">
        <pc:chgData name="Lars Boe Riber" userId="a0746655-6c86-46e8-9fa0-3fdc9fc77da6" providerId="ADAL" clId="{4E480DD1-6EB6-40E9-AA5D-F0885641F18B}" dt="2022-11-18T10:36:12.256" v="2680" actId="20577"/>
        <pc:sldMkLst>
          <pc:docMk/>
          <pc:sldMk cId="2155786169" sldId="265"/>
        </pc:sldMkLst>
        <pc:spChg chg="mod">
          <ac:chgData name="Lars Boe Riber" userId="a0746655-6c86-46e8-9fa0-3fdc9fc77da6" providerId="ADAL" clId="{4E480DD1-6EB6-40E9-AA5D-F0885641F18B}" dt="2022-11-18T10:27:07.987" v="874" actId="790"/>
          <ac:spMkLst>
            <pc:docMk/>
            <pc:sldMk cId="2155786169" sldId="265"/>
            <ac:spMk id="2" creationId="{B6F763EE-0553-49D7-AD06-2F72BA2E0850}"/>
          </ac:spMkLst>
        </pc:spChg>
        <pc:spChg chg="mod">
          <ac:chgData name="Lars Boe Riber" userId="a0746655-6c86-46e8-9fa0-3fdc9fc77da6" providerId="ADAL" clId="{4E480DD1-6EB6-40E9-AA5D-F0885641F18B}" dt="2022-11-18T10:27:08" v="884" actId="790"/>
          <ac:spMkLst>
            <pc:docMk/>
            <pc:sldMk cId="2155786169" sldId="265"/>
            <ac:spMk id="4" creationId="{6A9A7116-CF6A-4877-9B16-6268A79AFDCD}"/>
          </ac:spMkLst>
        </pc:spChg>
        <pc:spChg chg="mod">
          <ac:chgData name="Lars Boe Riber" userId="a0746655-6c86-46e8-9fa0-3fdc9fc77da6" providerId="ADAL" clId="{4E480DD1-6EB6-40E9-AA5D-F0885641F18B}" dt="2022-11-18T10:27:07.999" v="882" actId="790"/>
          <ac:spMkLst>
            <pc:docMk/>
            <pc:sldMk cId="2155786169" sldId="265"/>
            <ac:spMk id="5" creationId="{E674344D-1568-4800-9521-8D7B693922CB}"/>
          </ac:spMkLst>
        </pc:spChg>
        <pc:spChg chg="mod">
          <ac:chgData name="Lars Boe Riber" userId="a0746655-6c86-46e8-9fa0-3fdc9fc77da6" providerId="ADAL" clId="{4E480DD1-6EB6-40E9-AA5D-F0885641F18B}" dt="2022-11-18T10:36:12.256" v="2680" actId="20577"/>
          <ac:spMkLst>
            <pc:docMk/>
            <pc:sldMk cId="2155786169" sldId="265"/>
            <ac:spMk id="38" creationId="{31A0B557-2F7C-4B94-A5A2-F7A21780B114}"/>
          </ac:spMkLst>
        </pc:spChg>
        <pc:spChg chg="mod">
          <ac:chgData name="Lars Boe Riber" userId="a0746655-6c86-46e8-9fa0-3fdc9fc77da6" providerId="ADAL" clId="{4E480DD1-6EB6-40E9-AA5D-F0885641F18B}" dt="2022-11-18T10:27:08.001" v="886" actId="790"/>
          <ac:spMkLst>
            <pc:docMk/>
            <pc:sldMk cId="2155786169" sldId="265"/>
            <ac:spMk id="49" creationId="{C9F9DCA6-1BDB-4FD5-814D-7C8EBA84849E}"/>
          </ac:spMkLst>
        </pc:spChg>
      </pc:sldChg>
      <pc:sldChg chg="modSp mod">
        <pc:chgData name="Lars Boe Riber" userId="a0746655-6c86-46e8-9fa0-3fdc9fc77da6" providerId="ADAL" clId="{4E480DD1-6EB6-40E9-AA5D-F0885641F18B}" dt="2022-11-18T10:27:08.306" v="1206" actId="790"/>
        <pc:sldMkLst>
          <pc:docMk/>
          <pc:sldMk cId="3740626961" sldId="3633"/>
        </pc:sldMkLst>
        <pc:spChg chg="mod">
          <ac:chgData name="Lars Boe Riber" userId="a0746655-6c86-46e8-9fa0-3fdc9fc77da6" providerId="ADAL" clId="{4E480DD1-6EB6-40E9-AA5D-F0885641F18B}" dt="2022-11-18T10:27:08.286" v="1186" actId="790"/>
          <ac:spMkLst>
            <pc:docMk/>
            <pc:sldMk cId="3740626961" sldId="3633"/>
            <ac:spMk id="2" creationId="{D6B4B39B-DF85-4B55-B62B-83588FE01D90}"/>
          </ac:spMkLst>
        </pc:spChg>
        <pc:spChg chg="mod">
          <ac:chgData name="Lars Boe Riber" userId="a0746655-6c86-46e8-9fa0-3fdc9fc77da6" providerId="ADAL" clId="{4E480DD1-6EB6-40E9-AA5D-F0885641F18B}" dt="2022-11-18T10:27:08.287" v="1188" actId="790"/>
          <ac:spMkLst>
            <pc:docMk/>
            <pc:sldMk cId="3740626961" sldId="3633"/>
            <ac:spMk id="3" creationId="{2B2E5716-378F-442A-AD23-1C1C5A9D168C}"/>
          </ac:spMkLst>
        </pc:spChg>
        <pc:spChg chg="mod">
          <ac:chgData name="Lars Boe Riber" userId="a0746655-6c86-46e8-9fa0-3fdc9fc77da6" providerId="ADAL" clId="{4E480DD1-6EB6-40E9-AA5D-F0885641F18B}" dt="2022-11-18T10:27:08.297" v="1196" actId="790"/>
          <ac:spMkLst>
            <pc:docMk/>
            <pc:sldMk cId="3740626961" sldId="3633"/>
            <ac:spMk id="6" creationId="{2CD1E48A-3C64-41EA-A00F-43E2B09F993A}"/>
          </ac:spMkLst>
        </pc:spChg>
        <pc:spChg chg="mod">
          <ac:chgData name="Lars Boe Riber" userId="a0746655-6c86-46e8-9fa0-3fdc9fc77da6" providerId="ADAL" clId="{4E480DD1-6EB6-40E9-AA5D-F0885641F18B}" dt="2022-11-18T10:27:08.298" v="1198" actId="790"/>
          <ac:spMkLst>
            <pc:docMk/>
            <pc:sldMk cId="3740626961" sldId="3633"/>
            <ac:spMk id="7" creationId="{D66F87CF-16CD-46CF-9FAE-0CD4D1BC30BF}"/>
          </ac:spMkLst>
        </pc:spChg>
        <pc:spChg chg="mod">
          <ac:chgData name="Lars Boe Riber" userId="a0746655-6c86-46e8-9fa0-3fdc9fc77da6" providerId="ADAL" clId="{4E480DD1-6EB6-40E9-AA5D-F0885641F18B}" dt="2022-11-18T10:27:08.306" v="1206" actId="790"/>
          <ac:spMkLst>
            <pc:docMk/>
            <pc:sldMk cId="3740626961" sldId="3633"/>
            <ac:spMk id="8" creationId="{C0A5136C-E9F2-4228-B587-A9B15E86DC4F}"/>
          </ac:spMkLst>
        </pc:spChg>
      </pc:sldChg>
      <pc:sldChg chg="modSp mod">
        <pc:chgData name="Lars Boe Riber" userId="a0746655-6c86-46e8-9fa0-3fdc9fc77da6" providerId="ADAL" clId="{4E480DD1-6EB6-40E9-AA5D-F0885641F18B}" dt="2022-11-18T10:27:07.414" v="143" actId="790"/>
        <pc:sldMkLst>
          <pc:docMk/>
          <pc:sldMk cId="2295548715" sldId="3883"/>
        </pc:sldMkLst>
        <pc:spChg chg="mod">
          <ac:chgData name="Lars Boe Riber" userId="a0746655-6c86-46e8-9fa0-3fdc9fc77da6" providerId="ADAL" clId="{4E480DD1-6EB6-40E9-AA5D-F0885641F18B}" dt="2022-11-18T10:27:07.414" v="143" actId="790"/>
          <ac:spMkLst>
            <pc:docMk/>
            <pc:sldMk cId="2295548715" sldId="3883"/>
            <ac:spMk id="4" creationId="{892DC72C-8238-4DEB-BB95-64C0F4D33F6B}"/>
          </ac:spMkLst>
        </pc:spChg>
        <pc:spChg chg="mod">
          <ac:chgData name="Lars Boe Riber" userId="a0746655-6c86-46e8-9fa0-3fdc9fc77da6" providerId="ADAL" clId="{4E480DD1-6EB6-40E9-AA5D-F0885641F18B}" dt="2022-11-18T10:27:07.403" v="132" actId="790"/>
          <ac:spMkLst>
            <pc:docMk/>
            <pc:sldMk cId="2295548715" sldId="3883"/>
            <ac:spMk id="5" creationId="{99E2C2C7-502C-429A-97C5-F8272314C7D0}"/>
          </ac:spMkLst>
        </pc:spChg>
        <pc:spChg chg="mod">
          <ac:chgData name="Lars Boe Riber" userId="a0746655-6c86-46e8-9fa0-3fdc9fc77da6" providerId="ADAL" clId="{4E480DD1-6EB6-40E9-AA5D-F0885641F18B}" dt="2022-11-18T10:27:07.413" v="141" actId="790"/>
          <ac:spMkLst>
            <pc:docMk/>
            <pc:sldMk cId="2295548715" sldId="3883"/>
            <ac:spMk id="6" creationId="{5486C23E-09D4-4D07-98BF-091CFA984150}"/>
          </ac:spMkLst>
        </pc:spChg>
      </pc:sldChg>
      <pc:sldChg chg="modSp mod">
        <pc:chgData name="Lars Boe Riber" userId="a0746655-6c86-46e8-9fa0-3fdc9fc77da6" providerId="ADAL" clId="{4E480DD1-6EB6-40E9-AA5D-F0885641F18B}" dt="2022-11-18T10:27:07.981" v="868" actId="790"/>
        <pc:sldMkLst>
          <pc:docMk/>
          <pc:sldMk cId="3341388410" sldId="2146849609"/>
        </pc:sldMkLst>
        <pc:spChg chg="mod">
          <ac:chgData name="Lars Boe Riber" userId="a0746655-6c86-46e8-9fa0-3fdc9fc77da6" providerId="ADAL" clId="{4E480DD1-6EB6-40E9-AA5D-F0885641F18B}" dt="2022-11-18T10:27:07.975" v="864" actId="790"/>
          <ac:spMkLst>
            <pc:docMk/>
            <pc:sldMk cId="3341388410" sldId="2146849609"/>
            <ac:spMk id="2" creationId="{7F856200-BFB5-4399-9599-DF4F212BE114}"/>
          </ac:spMkLst>
        </pc:spChg>
        <pc:spChg chg="mod">
          <ac:chgData name="Lars Boe Riber" userId="a0746655-6c86-46e8-9fa0-3fdc9fc77da6" providerId="ADAL" clId="{4E480DD1-6EB6-40E9-AA5D-F0885641F18B}" dt="2022-11-18T10:27:07.976" v="866" actId="790"/>
          <ac:spMkLst>
            <pc:docMk/>
            <pc:sldMk cId="3341388410" sldId="2146849609"/>
            <ac:spMk id="4" creationId="{6EAC83D0-BF69-4B02-A409-D3C4DE174531}"/>
          </ac:spMkLst>
        </pc:spChg>
        <pc:spChg chg="mod">
          <ac:chgData name="Lars Boe Riber" userId="a0746655-6c86-46e8-9fa0-3fdc9fc77da6" providerId="ADAL" clId="{4E480DD1-6EB6-40E9-AA5D-F0885641F18B}" dt="2022-11-18T10:27:07.981" v="868" actId="790"/>
          <ac:spMkLst>
            <pc:docMk/>
            <pc:sldMk cId="3341388410" sldId="2146849609"/>
            <ac:spMk id="5" creationId="{81F744D2-0EF4-443E-92F8-756D28FEF515}"/>
          </ac:spMkLst>
        </pc:spChg>
      </pc:sldChg>
      <pc:sldChg chg="modSp del mod">
        <pc:chgData name="Lars Boe Riber" userId="a0746655-6c86-46e8-9fa0-3fdc9fc77da6" providerId="ADAL" clId="{4E480DD1-6EB6-40E9-AA5D-F0885641F18B}" dt="2022-11-26T08:55:36.086" v="3871" actId="47"/>
        <pc:sldMkLst>
          <pc:docMk/>
          <pc:sldMk cId="1008292413" sldId="2146849610"/>
        </pc:sldMkLst>
        <pc:spChg chg="mod">
          <ac:chgData name="Lars Boe Riber" userId="a0746655-6c86-46e8-9fa0-3fdc9fc77da6" providerId="ADAL" clId="{4E480DD1-6EB6-40E9-AA5D-F0885641F18B}" dt="2022-11-18T10:27:07.348" v="98" actId="790"/>
          <ac:spMkLst>
            <pc:docMk/>
            <pc:sldMk cId="1008292413" sldId="2146849610"/>
            <ac:spMk id="2" creationId="{92D401DD-79DD-447A-B681-2DF7BE4E0350}"/>
          </ac:spMkLst>
        </pc:spChg>
        <pc:spChg chg="mod">
          <ac:chgData name="Lars Boe Riber" userId="a0746655-6c86-46e8-9fa0-3fdc9fc77da6" providerId="ADAL" clId="{4E480DD1-6EB6-40E9-AA5D-F0885641F18B}" dt="2022-11-18T10:27:07.349" v="100" actId="790"/>
          <ac:spMkLst>
            <pc:docMk/>
            <pc:sldMk cId="1008292413" sldId="2146849610"/>
            <ac:spMk id="4" creationId="{C93F3A1A-A563-4A48-A97E-C02857F4B3E9}"/>
          </ac:spMkLst>
        </pc:spChg>
        <pc:spChg chg="mod">
          <ac:chgData name="Lars Boe Riber" userId="a0746655-6c86-46e8-9fa0-3fdc9fc77da6" providerId="ADAL" clId="{4E480DD1-6EB6-40E9-AA5D-F0885641F18B}" dt="2022-11-18T10:27:07.351" v="101" actId="790"/>
          <ac:spMkLst>
            <pc:docMk/>
            <pc:sldMk cId="1008292413" sldId="2146849610"/>
            <ac:spMk id="15" creationId="{71A1F6E4-474B-4326-A45E-937311206635}"/>
          </ac:spMkLst>
        </pc:spChg>
        <pc:spChg chg="mod">
          <ac:chgData name="Lars Boe Riber" userId="a0746655-6c86-46e8-9fa0-3fdc9fc77da6" providerId="ADAL" clId="{4E480DD1-6EB6-40E9-AA5D-F0885641F18B}" dt="2022-11-18T10:27:36.187" v="2446" actId="20577"/>
          <ac:spMkLst>
            <pc:docMk/>
            <pc:sldMk cId="1008292413" sldId="2146849610"/>
            <ac:spMk id="16" creationId="{CF4E23B0-4D2F-4B64-94D9-C571AC790418}"/>
          </ac:spMkLst>
        </pc:spChg>
        <pc:spChg chg="mod">
          <ac:chgData name="Lars Boe Riber" userId="a0746655-6c86-46e8-9fa0-3fdc9fc77da6" providerId="ADAL" clId="{4E480DD1-6EB6-40E9-AA5D-F0885641F18B}" dt="2022-11-18T10:29:13.595" v="2617" actId="20577"/>
          <ac:spMkLst>
            <pc:docMk/>
            <pc:sldMk cId="1008292413" sldId="2146849610"/>
            <ac:spMk id="17" creationId="{DD83E31B-CB12-4296-A050-51E0E379E2AB}"/>
          </ac:spMkLst>
        </pc:spChg>
        <pc:spChg chg="mod">
          <ac:chgData name="Lars Boe Riber" userId="a0746655-6c86-46e8-9fa0-3fdc9fc77da6" providerId="ADAL" clId="{4E480DD1-6EB6-40E9-AA5D-F0885641F18B}" dt="2022-11-18T10:27:07.383" v="116" actId="790"/>
          <ac:spMkLst>
            <pc:docMk/>
            <pc:sldMk cId="1008292413" sldId="2146849610"/>
            <ac:spMk id="20" creationId="{DAD026C0-A856-4BE3-9F65-53B8C0AADDAB}"/>
          </ac:spMkLst>
        </pc:spChg>
        <pc:spChg chg="mod">
          <ac:chgData name="Lars Boe Riber" userId="a0746655-6c86-46e8-9fa0-3fdc9fc77da6" providerId="ADAL" clId="{4E480DD1-6EB6-40E9-AA5D-F0885641F18B}" dt="2022-11-18T10:27:39.848" v="2447" actId="20577"/>
          <ac:spMkLst>
            <pc:docMk/>
            <pc:sldMk cId="1008292413" sldId="2146849610"/>
            <ac:spMk id="21" creationId="{D93D7409-15E2-4DC4-9303-1F20C6B00ED3}"/>
          </ac:spMkLst>
        </pc:spChg>
        <pc:spChg chg="mod">
          <ac:chgData name="Lars Boe Riber" userId="a0746655-6c86-46e8-9fa0-3fdc9fc77da6" providerId="ADAL" clId="{4E480DD1-6EB6-40E9-AA5D-F0885641F18B}" dt="2022-11-18T10:27:07.402" v="130" actId="790"/>
          <ac:spMkLst>
            <pc:docMk/>
            <pc:sldMk cId="1008292413" sldId="2146849610"/>
            <ac:spMk id="22" creationId="{7F69521A-BD07-4AC6-BAF5-1971D694F0FC}"/>
          </ac:spMkLst>
        </pc:spChg>
      </pc:sldChg>
      <pc:sldChg chg="modSp mod modNotes">
        <pc:chgData name="Lars Boe Riber" userId="a0746655-6c86-46e8-9fa0-3fdc9fc77da6" providerId="ADAL" clId="{4E480DD1-6EB6-40E9-AA5D-F0885641F18B}" dt="2022-11-18T10:27:09.815" v="2413" actId="790"/>
        <pc:sldMkLst>
          <pc:docMk/>
          <pc:sldMk cId="2574806156" sldId="2146849611"/>
        </pc:sldMkLst>
        <pc:spChg chg="mod">
          <ac:chgData name="Lars Boe Riber" userId="a0746655-6c86-46e8-9fa0-3fdc9fc77da6" providerId="ADAL" clId="{4E480DD1-6EB6-40E9-AA5D-F0885641F18B}" dt="2022-11-18T10:27:07.416" v="147" actId="790"/>
          <ac:spMkLst>
            <pc:docMk/>
            <pc:sldMk cId="2574806156" sldId="2146849611"/>
            <ac:spMk id="4" creationId="{25B30A95-5AF9-4BF2-ABC5-A5B2142E08B0}"/>
          </ac:spMkLst>
        </pc:spChg>
        <pc:spChg chg="mod">
          <ac:chgData name="Lars Boe Riber" userId="a0746655-6c86-46e8-9fa0-3fdc9fc77da6" providerId="ADAL" clId="{4E480DD1-6EB6-40E9-AA5D-F0885641F18B}" dt="2022-11-18T10:27:07.415" v="145" actId="790"/>
          <ac:spMkLst>
            <pc:docMk/>
            <pc:sldMk cId="2574806156" sldId="2146849611"/>
            <ac:spMk id="6" creationId="{D4AEA326-56F0-46C3-A9CF-FA5981797A02}"/>
          </ac:spMkLst>
        </pc:spChg>
        <pc:spChg chg="mod">
          <ac:chgData name="Lars Boe Riber" userId="a0746655-6c86-46e8-9fa0-3fdc9fc77da6" providerId="ADAL" clId="{4E480DD1-6EB6-40E9-AA5D-F0885641F18B}" dt="2022-11-18T10:27:07.967" v="856" actId="790"/>
          <ac:spMkLst>
            <pc:docMk/>
            <pc:sldMk cId="2574806156" sldId="2146849611"/>
            <ac:spMk id="930" creationId="{C20AE33A-5AA2-40DA-A122-52A799B4B8A4}"/>
          </ac:spMkLst>
        </pc:spChg>
        <pc:spChg chg="mod">
          <ac:chgData name="Lars Boe Riber" userId="a0746655-6c86-46e8-9fa0-3fdc9fc77da6" providerId="ADAL" clId="{4E480DD1-6EB6-40E9-AA5D-F0885641F18B}" dt="2022-11-18T10:27:07.967" v="857" actId="790"/>
          <ac:spMkLst>
            <pc:docMk/>
            <pc:sldMk cId="2574806156" sldId="2146849611"/>
            <ac:spMk id="934" creationId="{C136C80E-E8CF-4E4A-87B0-E52FD27F9BF7}"/>
          </ac:spMkLst>
        </pc:spChg>
        <pc:spChg chg="mod">
          <ac:chgData name="Lars Boe Riber" userId="a0746655-6c86-46e8-9fa0-3fdc9fc77da6" providerId="ADAL" clId="{4E480DD1-6EB6-40E9-AA5D-F0885641F18B}" dt="2022-11-18T10:27:07.435" v="154" actId="790"/>
          <ac:spMkLst>
            <pc:docMk/>
            <pc:sldMk cId="2574806156" sldId="2146849611"/>
            <ac:spMk id="958" creationId="{62C3DD6C-B80D-4BF3-B39C-2C12F50486E3}"/>
          </ac:spMkLst>
        </pc:spChg>
        <pc:spChg chg="mod">
          <ac:chgData name="Lars Boe Riber" userId="a0746655-6c86-46e8-9fa0-3fdc9fc77da6" providerId="ADAL" clId="{4E480DD1-6EB6-40E9-AA5D-F0885641F18B}" dt="2022-11-18T10:27:07.436" v="155" actId="790"/>
          <ac:spMkLst>
            <pc:docMk/>
            <pc:sldMk cId="2574806156" sldId="2146849611"/>
            <ac:spMk id="959" creationId="{6071DBEF-8CB6-46AA-8DCB-02B6D1B97B9F}"/>
          </ac:spMkLst>
        </pc:spChg>
        <pc:spChg chg="mod">
          <ac:chgData name="Lars Boe Riber" userId="a0746655-6c86-46e8-9fa0-3fdc9fc77da6" providerId="ADAL" clId="{4E480DD1-6EB6-40E9-AA5D-F0885641F18B}" dt="2022-11-18T10:27:07.437" v="156" actId="790"/>
          <ac:spMkLst>
            <pc:docMk/>
            <pc:sldMk cId="2574806156" sldId="2146849611"/>
            <ac:spMk id="960" creationId="{C7E9D0AB-37FF-48C8-9473-8AE54F461741}"/>
          </ac:spMkLst>
        </pc:spChg>
        <pc:spChg chg="mod">
          <ac:chgData name="Lars Boe Riber" userId="a0746655-6c86-46e8-9fa0-3fdc9fc77da6" providerId="ADAL" clId="{4E480DD1-6EB6-40E9-AA5D-F0885641F18B}" dt="2022-11-18T10:27:07.437" v="157" actId="790"/>
          <ac:spMkLst>
            <pc:docMk/>
            <pc:sldMk cId="2574806156" sldId="2146849611"/>
            <ac:spMk id="961" creationId="{E07142B4-C509-41C5-9E1B-0580D32E9E90}"/>
          </ac:spMkLst>
        </pc:spChg>
        <pc:spChg chg="mod">
          <ac:chgData name="Lars Boe Riber" userId="a0746655-6c86-46e8-9fa0-3fdc9fc77da6" providerId="ADAL" clId="{4E480DD1-6EB6-40E9-AA5D-F0885641F18B}" dt="2022-11-18T10:27:07.438" v="158" actId="790"/>
          <ac:spMkLst>
            <pc:docMk/>
            <pc:sldMk cId="2574806156" sldId="2146849611"/>
            <ac:spMk id="962" creationId="{25B05ED2-7216-488C-B5B8-3E625152D02B}"/>
          </ac:spMkLst>
        </pc:spChg>
        <pc:spChg chg="mod">
          <ac:chgData name="Lars Boe Riber" userId="a0746655-6c86-46e8-9fa0-3fdc9fc77da6" providerId="ADAL" clId="{4E480DD1-6EB6-40E9-AA5D-F0885641F18B}" dt="2022-11-18T10:27:07.439" v="159" actId="790"/>
          <ac:spMkLst>
            <pc:docMk/>
            <pc:sldMk cId="2574806156" sldId="2146849611"/>
            <ac:spMk id="963" creationId="{E297D092-98CA-4BD5-82A8-9799963444DC}"/>
          </ac:spMkLst>
        </pc:spChg>
        <pc:spChg chg="mod">
          <ac:chgData name="Lars Boe Riber" userId="a0746655-6c86-46e8-9fa0-3fdc9fc77da6" providerId="ADAL" clId="{4E480DD1-6EB6-40E9-AA5D-F0885641F18B}" dt="2022-11-18T10:27:07.440" v="160" actId="790"/>
          <ac:spMkLst>
            <pc:docMk/>
            <pc:sldMk cId="2574806156" sldId="2146849611"/>
            <ac:spMk id="964" creationId="{F20E18FB-A024-4E64-891A-54C472497A45}"/>
          </ac:spMkLst>
        </pc:spChg>
        <pc:spChg chg="mod">
          <ac:chgData name="Lars Boe Riber" userId="a0746655-6c86-46e8-9fa0-3fdc9fc77da6" providerId="ADAL" clId="{4E480DD1-6EB6-40E9-AA5D-F0885641F18B}" dt="2022-11-18T10:27:07.440" v="161" actId="790"/>
          <ac:spMkLst>
            <pc:docMk/>
            <pc:sldMk cId="2574806156" sldId="2146849611"/>
            <ac:spMk id="965" creationId="{7ECC3307-9D0A-4731-9715-07B322084D23}"/>
          </ac:spMkLst>
        </pc:spChg>
        <pc:spChg chg="mod">
          <ac:chgData name="Lars Boe Riber" userId="a0746655-6c86-46e8-9fa0-3fdc9fc77da6" providerId="ADAL" clId="{4E480DD1-6EB6-40E9-AA5D-F0885641F18B}" dt="2022-11-18T10:27:07.441" v="162" actId="790"/>
          <ac:spMkLst>
            <pc:docMk/>
            <pc:sldMk cId="2574806156" sldId="2146849611"/>
            <ac:spMk id="966" creationId="{E9777A34-C33E-40CB-BE40-A7B7367A611B}"/>
          </ac:spMkLst>
        </pc:spChg>
        <pc:spChg chg="mod">
          <ac:chgData name="Lars Boe Riber" userId="a0746655-6c86-46e8-9fa0-3fdc9fc77da6" providerId="ADAL" clId="{4E480DD1-6EB6-40E9-AA5D-F0885641F18B}" dt="2022-11-18T10:27:07.442" v="163" actId="790"/>
          <ac:spMkLst>
            <pc:docMk/>
            <pc:sldMk cId="2574806156" sldId="2146849611"/>
            <ac:spMk id="967" creationId="{BED4D0B2-849D-4072-95D7-8F5B904476F5}"/>
          </ac:spMkLst>
        </pc:spChg>
        <pc:spChg chg="mod">
          <ac:chgData name="Lars Boe Riber" userId="a0746655-6c86-46e8-9fa0-3fdc9fc77da6" providerId="ADAL" clId="{4E480DD1-6EB6-40E9-AA5D-F0885641F18B}" dt="2022-11-18T10:27:07.443" v="164" actId="790"/>
          <ac:spMkLst>
            <pc:docMk/>
            <pc:sldMk cId="2574806156" sldId="2146849611"/>
            <ac:spMk id="968" creationId="{5A810DDD-1D6A-48D1-B9EC-335D140A89D9}"/>
          </ac:spMkLst>
        </pc:spChg>
        <pc:spChg chg="mod">
          <ac:chgData name="Lars Boe Riber" userId="a0746655-6c86-46e8-9fa0-3fdc9fc77da6" providerId="ADAL" clId="{4E480DD1-6EB6-40E9-AA5D-F0885641F18B}" dt="2022-11-18T10:27:07.443" v="165" actId="790"/>
          <ac:spMkLst>
            <pc:docMk/>
            <pc:sldMk cId="2574806156" sldId="2146849611"/>
            <ac:spMk id="969" creationId="{6F82E6B6-0BCD-41D5-A231-1BE869B6581F}"/>
          </ac:spMkLst>
        </pc:spChg>
        <pc:spChg chg="mod">
          <ac:chgData name="Lars Boe Riber" userId="a0746655-6c86-46e8-9fa0-3fdc9fc77da6" providerId="ADAL" clId="{4E480DD1-6EB6-40E9-AA5D-F0885641F18B}" dt="2022-11-18T10:27:07.444" v="166" actId="790"/>
          <ac:spMkLst>
            <pc:docMk/>
            <pc:sldMk cId="2574806156" sldId="2146849611"/>
            <ac:spMk id="970" creationId="{8C831D61-9768-4755-8B06-AB8E1D560E7B}"/>
          </ac:spMkLst>
        </pc:spChg>
        <pc:spChg chg="mod">
          <ac:chgData name="Lars Boe Riber" userId="a0746655-6c86-46e8-9fa0-3fdc9fc77da6" providerId="ADAL" clId="{4E480DD1-6EB6-40E9-AA5D-F0885641F18B}" dt="2022-11-18T10:27:07.445" v="167" actId="790"/>
          <ac:spMkLst>
            <pc:docMk/>
            <pc:sldMk cId="2574806156" sldId="2146849611"/>
            <ac:spMk id="971" creationId="{F1D31950-E2F8-43E1-B917-9F5B543D094F}"/>
          </ac:spMkLst>
        </pc:spChg>
        <pc:spChg chg="mod">
          <ac:chgData name="Lars Boe Riber" userId="a0746655-6c86-46e8-9fa0-3fdc9fc77da6" providerId="ADAL" clId="{4E480DD1-6EB6-40E9-AA5D-F0885641F18B}" dt="2022-11-18T10:27:07.446" v="168" actId="790"/>
          <ac:spMkLst>
            <pc:docMk/>
            <pc:sldMk cId="2574806156" sldId="2146849611"/>
            <ac:spMk id="972" creationId="{2B003D34-A7C8-4677-9A2E-E26B80A0BD1A}"/>
          </ac:spMkLst>
        </pc:spChg>
        <pc:spChg chg="mod">
          <ac:chgData name="Lars Boe Riber" userId="a0746655-6c86-46e8-9fa0-3fdc9fc77da6" providerId="ADAL" clId="{4E480DD1-6EB6-40E9-AA5D-F0885641F18B}" dt="2022-11-18T10:27:07.446" v="169" actId="790"/>
          <ac:spMkLst>
            <pc:docMk/>
            <pc:sldMk cId="2574806156" sldId="2146849611"/>
            <ac:spMk id="973" creationId="{07CBA27E-9A80-4787-BB75-026C40D01873}"/>
          </ac:spMkLst>
        </pc:spChg>
        <pc:spChg chg="mod">
          <ac:chgData name="Lars Boe Riber" userId="a0746655-6c86-46e8-9fa0-3fdc9fc77da6" providerId="ADAL" clId="{4E480DD1-6EB6-40E9-AA5D-F0885641F18B}" dt="2022-11-18T10:27:07.447" v="170" actId="790"/>
          <ac:spMkLst>
            <pc:docMk/>
            <pc:sldMk cId="2574806156" sldId="2146849611"/>
            <ac:spMk id="974" creationId="{B6ABE6DA-BDE9-4201-8637-9718904927E3}"/>
          </ac:spMkLst>
        </pc:spChg>
        <pc:spChg chg="mod">
          <ac:chgData name="Lars Boe Riber" userId="a0746655-6c86-46e8-9fa0-3fdc9fc77da6" providerId="ADAL" clId="{4E480DD1-6EB6-40E9-AA5D-F0885641F18B}" dt="2022-11-18T10:27:07.448" v="171" actId="790"/>
          <ac:spMkLst>
            <pc:docMk/>
            <pc:sldMk cId="2574806156" sldId="2146849611"/>
            <ac:spMk id="975" creationId="{A18B1B9F-A13D-49FD-8D2D-73359414C189}"/>
          </ac:spMkLst>
        </pc:spChg>
        <pc:spChg chg="mod">
          <ac:chgData name="Lars Boe Riber" userId="a0746655-6c86-46e8-9fa0-3fdc9fc77da6" providerId="ADAL" clId="{4E480DD1-6EB6-40E9-AA5D-F0885641F18B}" dt="2022-11-18T10:27:07.449" v="172" actId="790"/>
          <ac:spMkLst>
            <pc:docMk/>
            <pc:sldMk cId="2574806156" sldId="2146849611"/>
            <ac:spMk id="976" creationId="{EB17D79A-6F7A-496B-98DD-20AEED3E884D}"/>
          </ac:spMkLst>
        </pc:spChg>
        <pc:spChg chg="mod">
          <ac:chgData name="Lars Boe Riber" userId="a0746655-6c86-46e8-9fa0-3fdc9fc77da6" providerId="ADAL" clId="{4E480DD1-6EB6-40E9-AA5D-F0885641F18B}" dt="2022-11-18T10:27:07.449" v="173" actId="790"/>
          <ac:spMkLst>
            <pc:docMk/>
            <pc:sldMk cId="2574806156" sldId="2146849611"/>
            <ac:spMk id="977" creationId="{6C94F82D-6192-4317-B2A6-B36716EC7F3D}"/>
          </ac:spMkLst>
        </pc:spChg>
        <pc:spChg chg="mod">
          <ac:chgData name="Lars Boe Riber" userId="a0746655-6c86-46e8-9fa0-3fdc9fc77da6" providerId="ADAL" clId="{4E480DD1-6EB6-40E9-AA5D-F0885641F18B}" dt="2022-11-18T10:27:07.450" v="174" actId="790"/>
          <ac:spMkLst>
            <pc:docMk/>
            <pc:sldMk cId="2574806156" sldId="2146849611"/>
            <ac:spMk id="978" creationId="{CD9A0C82-D494-49E5-AE8F-7CCAC0179471}"/>
          </ac:spMkLst>
        </pc:spChg>
        <pc:spChg chg="mod">
          <ac:chgData name="Lars Boe Riber" userId="a0746655-6c86-46e8-9fa0-3fdc9fc77da6" providerId="ADAL" clId="{4E480DD1-6EB6-40E9-AA5D-F0885641F18B}" dt="2022-11-18T10:27:07.451" v="175" actId="790"/>
          <ac:spMkLst>
            <pc:docMk/>
            <pc:sldMk cId="2574806156" sldId="2146849611"/>
            <ac:spMk id="979" creationId="{AAE46223-C31B-455B-BA5C-7B4EC8075B95}"/>
          </ac:spMkLst>
        </pc:spChg>
        <pc:spChg chg="mod">
          <ac:chgData name="Lars Boe Riber" userId="a0746655-6c86-46e8-9fa0-3fdc9fc77da6" providerId="ADAL" clId="{4E480DD1-6EB6-40E9-AA5D-F0885641F18B}" dt="2022-11-18T10:27:07.452" v="176" actId="790"/>
          <ac:spMkLst>
            <pc:docMk/>
            <pc:sldMk cId="2574806156" sldId="2146849611"/>
            <ac:spMk id="980" creationId="{76DF7F7E-A415-4174-93A9-516274D02954}"/>
          </ac:spMkLst>
        </pc:spChg>
        <pc:spChg chg="mod">
          <ac:chgData name="Lars Boe Riber" userId="a0746655-6c86-46e8-9fa0-3fdc9fc77da6" providerId="ADAL" clId="{4E480DD1-6EB6-40E9-AA5D-F0885641F18B}" dt="2022-11-18T10:27:07.453" v="177" actId="790"/>
          <ac:spMkLst>
            <pc:docMk/>
            <pc:sldMk cId="2574806156" sldId="2146849611"/>
            <ac:spMk id="981" creationId="{67B1AC82-3447-48C1-8FF0-7EC8EC44D79C}"/>
          </ac:spMkLst>
        </pc:spChg>
        <pc:spChg chg="mod">
          <ac:chgData name="Lars Boe Riber" userId="a0746655-6c86-46e8-9fa0-3fdc9fc77da6" providerId="ADAL" clId="{4E480DD1-6EB6-40E9-AA5D-F0885641F18B}" dt="2022-11-18T10:27:07.453" v="178" actId="790"/>
          <ac:spMkLst>
            <pc:docMk/>
            <pc:sldMk cId="2574806156" sldId="2146849611"/>
            <ac:spMk id="982" creationId="{5FA8F1C4-0652-45D3-BA6C-874734ED1619}"/>
          </ac:spMkLst>
        </pc:spChg>
        <pc:spChg chg="mod">
          <ac:chgData name="Lars Boe Riber" userId="a0746655-6c86-46e8-9fa0-3fdc9fc77da6" providerId="ADAL" clId="{4E480DD1-6EB6-40E9-AA5D-F0885641F18B}" dt="2022-11-18T10:27:07.454" v="179" actId="790"/>
          <ac:spMkLst>
            <pc:docMk/>
            <pc:sldMk cId="2574806156" sldId="2146849611"/>
            <ac:spMk id="983" creationId="{75CA13B3-CFA4-4995-98DF-93A6A5995C8C}"/>
          </ac:spMkLst>
        </pc:spChg>
        <pc:spChg chg="mod">
          <ac:chgData name="Lars Boe Riber" userId="a0746655-6c86-46e8-9fa0-3fdc9fc77da6" providerId="ADAL" clId="{4E480DD1-6EB6-40E9-AA5D-F0885641F18B}" dt="2022-11-18T10:27:07.455" v="180" actId="790"/>
          <ac:spMkLst>
            <pc:docMk/>
            <pc:sldMk cId="2574806156" sldId="2146849611"/>
            <ac:spMk id="984" creationId="{DD29F071-2C38-42C0-A071-BCDE5EE49F37}"/>
          </ac:spMkLst>
        </pc:spChg>
        <pc:spChg chg="mod">
          <ac:chgData name="Lars Boe Riber" userId="a0746655-6c86-46e8-9fa0-3fdc9fc77da6" providerId="ADAL" clId="{4E480DD1-6EB6-40E9-AA5D-F0885641F18B}" dt="2022-11-18T10:27:07.456" v="181" actId="790"/>
          <ac:spMkLst>
            <pc:docMk/>
            <pc:sldMk cId="2574806156" sldId="2146849611"/>
            <ac:spMk id="985" creationId="{C456507E-D6F2-4EAC-9F61-ABBF02CBB11E}"/>
          </ac:spMkLst>
        </pc:spChg>
        <pc:spChg chg="mod">
          <ac:chgData name="Lars Boe Riber" userId="a0746655-6c86-46e8-9fa0-3fdc9fc77da6" providerId="ADAL" clId="{4E480DD1-6EB6-40E9-AA5D-F0885641F18B}" dt="2022-11-18T10:27:07.456" v="182" actId="790"/>
          <ac:spMkLst>
            <pc:docMk/>
            <pc:sldMk cId="2574806156" sldId="2146849611"/>
            <ac:spMk id="986" creationId="{D93D2A62-DCB8-4EC3-9EC6-07B27085F6D0}"/>
          </ac:spMkLst>
        </pc:spChg>
        <pc:spChg chg="mod">
          <ac:chgData name="Lars Boe Riber" userId="a0746655-6c86-46e8-9fa0-3fdc9fc77da6" providerId="ADAL" clId="{4E480DD1-6EB6-40E9-AA5D-F0885641F18B}" dt="2022-11-18T10:27:07.457" v="183" actId="790"/>
          <ac:spMkLst>
            <pc:docMk/>
            <pc:sldMk cId="2574806156" sldId="2146849611"/>
            <ac:spMk id="987" creationId="{D96EF991-70CE-4658-9E57-7FB61F1192ED}"/>
          </ac:spMkLst>
        </pc:spChg>
        <pc:spChg chg="mod">
          <ac:chgData name="Lars Boe Riber" userId="a0746655-6c86-46e8-9fa0-3fdc9fc77da6" providerId="ADAL" clId="{4E480DD1-6EB6-40E9-AA5D-F0885641F18B}" dt="2022-11-18T10:27:07.458" v="184" actId="790"/>
          <ac:spMkLst>
            <pc:docMk/>
            <pc:sldMk cId="2574806156" sldId="2146849611"/>
            <ac:spMk id="988" creationId="{3A07C857-4D25-4AAD-9EDD-0ED8A20F57A2}"/>
          </ac:spMkLst>
        </pc:spChg>
        <pc:spChg chg="mod">
          <ac:chgData name="Lars Boe Riber" userId="a0746655-6c86-46e8-9fa0-3fdc9fc77da6" providerId="ADAL" clId="{4E480DD1-6EB6-40E9-AA5D-F0885641F18B}" dt="2022-11-18T10:27:07.459" v="185" actId="790"/>
          <ac:spMkLst>
            <pc:docMk/>
            <pc:sldMk cId="2574806156" sldId="2146849611"/>
            <ac:spMk id="989" creationId="{BEA06BB9-0D0A-45D6-87F1-188C4B0F8701}"/>
          </ac:spMkLst>
        </pc:spChg>
        <pc:spChg chg="mod">
          <ac:chgData name="Lars Boe Riber" userId="a0746655-6c86-46e8-9fa0-3fdc9fc77da6" providerId="ADAL" clId="{4E480DD1-6EB6-40E9-AA5D-F0885641F18B}" dt="2022-11-18T10:27:07.459" v="186" actId="790"/>
          <ac:spMkLst>
            <pc:docMk/>
            <pc:sldMk cId="2574806156" sldId="2146849611"/>
            <ac:spMk id="990" creationId="{93100CA3-F967-4091-89B7-A104BA384F83}"/>
          </ac:spMkLst>
        </pc:spChg>
        <pc:spChg chg="mod">
          <ac:chgData name="Lars Boe Riber" userId="a0746655-6c86-46e8-9fa0-3fdc9fc77da6" providerId="ADAL" clId="{4E480DD1-6EB6-40E9-AA5D-F0885641F18B}" dt="2022-11-18T10:27:07.460" v="187" actId="790"/>
          <ac:spMkLst>
            <pc:docMk/>
            <pc:sldMk cId="2574806156" sldId="2146849611"/>
            <ac:spMk id="991" creationId="{92F02750-CBAB-43C1-966E-7CC7A3A70D17}"/>
          </ac:spMkLst>
        </pc:spChg>
        <pc:spChg chg="mod">
          <ac:chgData name="Lars Boe Riber" userId="a0746655-6c86-46e8-9fa0-3fdc9fc77da6" providerId="ADAL" clId="{4E480DD1-6EB6-40E9-AA5D-F0885641F18B}" dt="2022-11-18T10:27:07.461" v="188" actId="790"/>
          <ac:spMkLst>
            <pc:docMk/>
            <pc:sldMk cId="2574806156" sldId="2146849611"/>
            <ac:spMk id="992" creationId="{9E0F796A-242C-4D00-9B1A-4CB0C731CF1C}"/>
          </ac:spMkLst>
        </pc:spChg>
        <pc:spChg chg="mod">
          <ac:chgData name="Lars Boe Riber" userId="a0746655-6c86-46e8-9fa0-3fdc9fc77da6" providerId="ADAL" clId="{4E480DD1-6EB6-40E9-AA5D-F0885641F18B}" dt="2022-11-18T10:27:07.461" v="189" actId="790"/>
          <ac:spMkLst>
            <pc:docMk/>
            <pc:sldMk cId="2574806156" sldId="2146849611"/>
            <ac:spMk id="993" creationId="{5F9DF44E-2A96-4EF7-8B62-AAA718D2CF7F}"/>
          </ac:spMkLst>
        </pc:spChg>
        <pc:spChg chg="mod">
          <ac:chgData name="Lars Boe Riber" userId="a0746655-6c86-46e8-9fa0-3fdc9fc77da6" providerId="ADAL" clId="{4E480DD1-6EB6-40E9-AA5D-F0885641F18B}" dt="2022-11-18T10:27:07.462" v="190" actId="790"/>
          <ac:spMkLst>
            <pc:docMk/>
            <pc:sldMk cId="2574806156" sldId="2146849611"/>
            <ac:spMk id="994" creationId="{97DE86EA-20D0-450A-AAE5-3A35CB99305D}"/>
          </ac:spMkLst>
        </pc:spChg>
        <pc:spChg chg="mod">
          <ac:chgData name="Lars Boe Riber" userId="a0746655-6c86-46e8-9fa0-3fdc9fc77da6" providerId="ADAL" clId="{4E480DD1-6EB6-40E9-AA5D-F0885641F18B}" dt="2022-11-18T10:27:07.463" v="191" actId="790"/>
          <ac:spMkLst>
            <pc:docMk/>
            <pc:sldMk cId="2574806156" sldId="2146849611"/>
            <ac:spMk id="995" creationId="{2354F6B2-69AC-4038-8C45-69930F948E99}"/>
          </ac:spMkLst>
        </pc:spChg>
        <pc:spChg chg="mod">
          <ac:chgData name="Lars Boe Riber" userId="a0746655-6c86-46e8-9fa0-3fdc9fc77da6" providerId="ADAL" clId="{4E480DD1-6EB6-40E9-AA5D-F0885641F18B}" dt="2022-11-18T10:27:07.464" v="192" actId="790"/>
          <ac:spMkLst>
            <pc:docMk/>
            <pc:sldMk cId="2574806156" sldId="2146849611"/>
            <ac:spMk id="996" creationId="{4E54FF51-8BDC-4A2D-83BD-7348CC49A563}"/>
          </ac:spMkLst>
        </pc:spChg>
        <pc:spChg chg="mod">
          <ac:chgData name="Lars Boe Riber" userId="a0746655-6c86-46e8-9fa0-3fdc9fc77da6" providerId="ADAL" clId="{4E480DD1-6EB6-40E9-AA5D-F0885641F18B}" dt="2022-11-18T10:27:07.465" v="193" actId="790"/>
          <ac:spMkLst>
            <pc:docMk/>
            <pc:sldMk cId="2574806156" sldId="2146849611"/>
            <ac:spMk id="997" creationId="{D62088A7-659B-488E-A5EE-C10615DD665C}"/>
          </ac:spMkLst>
        </pc:spChg>
        <pc:spChg chg="mod">
          <ac:chgData name="Lars Boe Riber" userId="a0746655-6c86-46e8-9fa0-3fdc9fc77da6" providerId="ADAL" clId="{4E480DD1-6EB6-40E9-AA5D-F0885641F18B}" dt="2022-11-18T10:27:07.466" v="194" actId="790"/>
          <ac:spMkLst>
            <pc:docMk/>
            <pc:sldMk cId="2574806156" sldId="2146849611"/>
            <ac:spMk id="998" creationId="{0DA7BA93-7097-4BE6-AB3E-16F121C44138}"/>
          </ac:spMkLst>
        </pc:spChg>
        <pc:spChg chg="mod">
          <ac:chgData name="Lars Boe Riber" userId="a0746655-6c86-46e8-9fa0-3fdc9fc77da6" providerId="ADAL" clId="{4E480DD1-6EB6-40E9-AA5D-F0885641F18B}" dt="2022-11-18T10:27:07.467" v="195" actId="790"/>
          <ac:spMkLst>
            <pc:docMk/>
            <pc:sldMk cId="2574806156" sldId="2146849611"/>
            <ac:spMk id="999" creationId="{BC8FA9EA-695B-4E56-B5E8-4919F9A43D36}"/>
          </ac:spMkLst>
        </pc:spChg>
        <pc:spChg chg="mod">
          <ac:chgData name="Lars Boe Riber" userId="a0746655-6c86-46e8-9fa0-3fdc9fc77da6" providerId="ADAL" clId="{4E480DD1-6EB6-40E9-AA5D-F0885641F18B}" dt="2022-11-18T10:27:07.468" v="196" actId="790"/>
          <ac:spMkLst>
            <pc:docMk/>
            <pc:sldMk cId="2574806156" sldId="2146849611"/>
            <ac:spMk id="1000" creationId="{4844BCDF-4542-4609-8852-246758494FCB}"/>
          </ac:spMkLst>
        </pc:spChg>
        <pc:spChg chg="mod">
          <ac:chgData name="Lars Boe Riber" userId="a0746655-6c86-46e8-9fa0-3fdc9fc77da6" providerId="ADAL" clId="{4E480DD1-6EB6-40E9-AA5D-F0885641F18B}" dt="2022-11-18T10:27:07.469" v="197" actId="790"/>
          <ac:spMkLst>
            <pc:docMk/>
            <pc:sldMk cId="2574806156" sldId="2146849611"/>
            <ac:spMk id="1001" creationId="{5FF091DF-6450-4772-826C-15A65405A5D8}"/>
          </ac:spMkLst>
        </pc:spChg>
        <pc:spChg chg="mod">
          <ac:chgData name="Lars Boe Riber" userId="a0746655-6c86-46e8-9fa0-3fdc9fc77da6" providerId="ADAL" clId="{4E480DD1-6EB6-40E9-AA5D-F0885641F18B}" dt="2022-11-18T10:27:07.470" v="198" actId="790"/>
          <ac:spMkLst>
            <pc:docMk/>
            <pc:sldMk cId="2574806156" sldId="2146849611"/>
            <ac:spMk id="1002" creationId="{05A2DBDA-63C5-4CA2-873F-134BD107CEA8}"/>
          </ac:spMkLst>
        </pc:spChg>
        <pc:spChg chg="mod">
          <ac:chgData name="Lars Boe Riber" userId="a0746655-6c86-46e8-9fa0-3fdc9fc77da6" providerId="ADAL" clId="{4E480DD1-6EB6-40E9-AA5D-F0885641F18B}" dt="2022-11-18T10:27:07.471" v="199" actId="790"/>
          <ac:spMkLst>
            <pc:docMk/>
            <pc:sldMk cId="2574806156" sldId="2146849611"/>
            <ac:spMk id="1003" creationId="{B4B81650-953B-45E1-9FC2-632EBF886225}"/>
          </ac:spMkLst>
        </pc:spChg>
        <pc:spChg chg="mod">
          <ac:chgData name="Lars Boe Riber" userId="a0746655-6c86-46e8-9fa0-3fdc9fc77da6" providerId="ADAL" clId="{4E480DD1-6EB6-40E9-AA5D-F0885641F18B}" dt="2022-11-18T10:27:07.472" v="200" actId="790"/>
          <ac:spMkLst>
            <pc:docMk/>
            <pc:sldMk cId="2574806156" sldId="2146849611"/>
            <ac:spMk id="1004" creationId="{50157EF4-7BD2-4DC6-BEC7-313AC1368FD6}"/>
          </ac:spMkLst>
        </pc:spChg>
        <pc:spChg chg="mod">
          <ac:chgData name="Lars Boe Riber" userId="a0746655-6c86-46e8-9fa0-3fdc9fc77da6" providerId="ADAL" clId="{4E480DD1-6EB6-40E9-AA5D-F0885641F18B}" dt="2022-11-18T10:27:07.473" v="201" actId="790"/>
          <ac:spMkLst>
            <pc:docMk/>
            <pc:sldMk cId="2574806156" sldId="2146849611"/>
            <ac:spMk id="1005" creationId="{C3FB1A31-791B-4D77-A9C7-6BB5E25C4B5D}"/>
          </ac:spMkLst>
        </pc:spChg>
        <pc:spChg chg="mod">
          <ac:chgData name="Lars Boe Riber" userId="a0746655-6c86-46e8-9fa0-3fdc9fc77da6" providerId="ADAL" clId="{4E480DD1-6EB6-40E9-AA5D-F0885641F18B}" dt="2022-11-18T10:27:07.473" v="202" actId="790"/>
          <ac:spMkLst>
            <pc:docMk/>
            <pc:sldMk cId="2574806156" sldId="2146849611"/>
            <ac:spMk id="1006" creationId="{BA94B6FF-B54D-4E9C-B83B-0EEDF4EAF53B}"/>
          </ac:spMkLst>
        </pc:spChg>
        <pc:spChg chg="mod">
          <ac:chgData name="Lars Boe Riber" userId="a0746655-6c86-46e8-9fa0-3fdc9fc77da6" providerId="ADAL" clId="{4E480DD1-6EB6-40E9-AA5D-F0885641F18B}" dt="2022-11-18T10:27:07.474" v="203" actId="790"/>
          <ac:spMkLst>
            <pc:docMk/>
            <pc:sldMk cId="2574806156" sldId="2146849611"/>
            <ac:spMk id="1007" creationId="{F1B023B9-1A0D-4D0D-8987-2D78869E253D}"/>
          </ac:spMkLst>
        </pc:spChg>
        <pc:spChg chg="mod">
          <ac:chgData name="Lars Boe Riber" userId="a0746655-6c86-46e8-9fa0-3fdc9fc77da6" providerId="ADAL" clId="{4E480DD1-6EB6-40E9-AA5D-F0885641F18B}" dt="2022-11-18T10:27:07.475" v="204" actId="790"/>
          <ac:spMkLst>
            <pc:docMk/>
            <pc:sldMk cId="2574806156" sldId="2146849611"/>
            <ac:spMk id="1008" creationId="{DAE160C2-E386-40DC-810E-60B9CECE27CC}"/>
          </ac:spMkLst>
        </pc:spChg>
        <pc:spChg chg="mod">
          <ac:chgData name="Lars Boe Riber" userId="a0746655-6c86-46e8-9fa0-3fdc9fc77da6" providerId="ADAL" clId="{4E480DD1-6EB6-40E9-AA5D-F0885641F18B}" dt="2022-11-18T10:27:07.420" v="153" actId="790"/>
          <ac:spMkLst>
            <pc:docMk/>
            <pc:sldMk cId="2574806156" sldId="2146849611"/>
            <ac:spMk id="1009" creationId="{9E48BCB2-84B8-4EC2-B7AF-B60D43EA8133}"/>
          </ac:spMkLst>
        </pc:spChg>
        <pc:spChg chg="mod">
          <ac:chgData name="Lars Boe Riber" userId="a0746655-6c86-46e8-9fa0-3fdc9fc77da6" providerId="ADAL" clId="{4E480DD1-6EB6-40E9-AA5D-F0885641F18B}" dt="2022-11-18T10:27:07.476" v="205" actId="790"/>
          <ac:spMkLst>
            <pc:docMk/>
            <pc:sldMk cId="2574806156" sldId="2146849611"/>
            <ac:spMk id="1010" creationId="{51E22A4B-8CF5-42AF-8B0B-46D23715278C}"/>
          </ac:spMkLst>
        </pc:spChg>
        <pc:spChg chg="mod">
          <ac:chgData name="Lars Boe Riber" userId="a0746655-6c86-46e8-9fa0-3fdc9fc77da6" providerId="ADAL" clId="{4E480DD1-6EB6-40E9-AA5D-F0885641F18B}" dt="2022-11-18T10:27:07.476" v="206" actId="790"/>
          <ac:spMkLst>
            <pc:docMk/>
            <pc:sldMk cId="2574806156" sldId="2146849611"/>
            <ac:spMk id="1011" creationId="{2385A565-0E06-4F65-A14B-6EAE5B1AFDF9}"/>
          </ac:spMkLst>
        </pc:spChg>
        <pc:spChg chg="mod">
          <ac:chgData name="Lars Boe Riber" userId="a0746655-6c86-46e8-9fa0-3fdc9fc77da6" providerId="ADAL" clId="{4E480DD1-6EB6-40E9-AA5D-F0885641F18B}" dt="2022-11-18T10:27:07.477" v="207" actId="790"/>
          <ac:spMkLst>
            <pc:docMk/>
            <pc:sldMk cId="2574806156" sldId="2146849611"/>
            <ac:spMk id="1012" creationId="{20ED664B-2435-48C4-B5EF-EB1266CCBF77}"/>
          </ac:spMkLst>
        </pc:spChg>
        <pc:spChg chg="mod">
          <ac:chgData name="Lars Boe Riber" userId="a0746655-6c86-46e8-9fa0-3fdc9fc77da6" providerId="ADAL" clId="{4E480DD1-6EB6-40E9-AA5D-F0885641F18B}" dt="2022-11-18T10:27:07.478" v="208" actId="790"/>
          <ac:spMkLst>
            <pc:docMk/>
            <pc:sldMk cId="2574806156" sldId="2146849611"/>
            <ac:spMk id="1013" creationId="{85CBEA28-027A-4883-AD8A-E8DB7CC0F348}"/>
          </ac:spMkLst>
        </pc:spChg>
        <pc:spChg chg="mod">
          <ac:chgData name="Lars Boe Riber" userId="a0746655-6c86-46e8-9fa0-3fdc9fc77da6" providerId="ADAL" clId="{4E480DD1-6EB6-40E9-AA5D-F0885641F18B}" dt="2022-11-18T10:27:07.479" v="209" actId="790"/>
          <ac:spMkLst>
            <pc:docMk/>
            <pc:sldMk cId="2574806156" sldId="2146849611"/>
            <ac:spMk id="1014" creationId="{D4F809F8-D8A5-4EB9-9636-D105F1BE3E8F}"/>
          </ac:spMkLst>
        </pc:spChg>
        <pc:spChg chg="mod">
          <ac:chgData name="Lars Boe Riber" userId="a0746655-6c86-46e8-9fa0-3fdc9fc77da6" providerId="ADAL" clId="{4E480DD1-6EB6-40E9-AA5D-F0885641F18B}" dt="2022-11-18T10:27:07.479" v="210" actId="790"/>
          <ac:spMkLst>
            <pc:docMk/>
            <pc:sldMk cId="2574806156" sldId="2146849611"/>
            <ac:spMk id="1015" creationId="{98BACD45-3463-4C96-ACD4-5B3982824031}"/>
          </ac:spMkLst>
        </pc:spChg>
        <pc:spChg chg="mod">
          <ac:chgData name="Lars Boe Riber" userId="a0746655-6c86-46e8-9fa0-3fdc9fc77da6" providerId="ADAL" clId="{4E480DD1-6EB6-40E9-AA5D-F0885641F18B}" dt="2022-11-18T10:27:07.480" v="211" actId="790"/>
          <ac:spMkLst>
            <pc:docMk/>
            <pc:sldMk cId="2574806156" sldId="2146849611"/>
            <ac:spMk id="1016" creationId="{4E6D3722-D2AB-4D22-8EA1-5AB489A9395E}"/>
          </ac:spMkLst>
        </pc:spChg>
        <pc:spChg chg="mod">
          <ac:chgData name="Lars Boe Riber" userId="a0746655-6c86-46e8-9fa0-3fdc9fc77da6" providerId="ADAL" clId="{4E480DD1-6EB6-40E9-AA5D-F0885641F18B}" dt="2022-11-18T10:27:07.481" v="212" actId="790"/>
          <ac:spMkLst>
            <pc:docMk/>
            <pc:sldMk cId="2574806156" sldId="2146849611"/>
            <ac:spMk id="1017" creationId="{9C3D73BC-9BFD-4F06-9135-920941E2B12B}"/>
          </ac:spMkLst>
        </pc:spChg>
        <pc:spChg chg="mod">
          <ac:chgData name="Lars Boe Riber" userId="a0746655-6c86-46e8-9fa0-3fdc9fc77da6" providerId="ADAL" clId="{4E480DD1-6EB6-40E9-AA5D-F0885641F18B}" dt="2022-11-18T10:27:07.482" v="213" actId="790"/>
          <ac:spMkLst>
            <pc:docMk/>
            <pc:sldMk cId="2574806156" sldId="2146849611"/>
            <ac:spMk id="1018" creationId="{6A900B10-FB45-4D05-BEAC-47B3EDCD2AFB}"/>
          </ac:spMkLst>
        </pc:spChg>
        <pc:spChg chg="mod">
          <ac:chgData name="Lars Boe Riber" userId="a0746655-6c86-46e8-9fa0-3fdc9fc77da6" providerId="ADAL" clId="{4E480DD1-6EB6-40E9-AA5D-F0885641F18B}" dt="2022-11-18T10:27:07.482" v="214" actId="790"/>
          <ac:spMkLst>
            <pc:docMk/>
            <pc:sldMk cId="2574806156" sldId="2146849611"/>
            <ac:spMk id="1019" creationId="{327542B4-318C-4CC4-A496-F4684B5A7EB7}"/>
          </ac:spMkLst>
        </pc:spChg>
        <pc:spChg chg="mod">
          <ac:chgData name="Lars Boe Riber" userId="a0746655-6c86-46e8-9fa0-3fdc9fc77da6" providerId="ADAL" clId="{4E480DD1-6EB6-40E9-AA5D-F0885641F18B}" dt="2022-11-18T10:27:07.483" v="215" actId="790"/>
          <ac:spMkLst>
            <pc:docMk/>
            <pc:sldMk cId="2574806156" sldId="2146849611"/>
            <ac:spMk id="1020" creationId="{D08204E4-5D4F-4605-A709-B77C4F435E0A}"/>
          </ac:spMkLst>
        </pc:spChg>
        <pc:spChg chg="mod">
          <ac:chgData name="Lars Boe Riber" userId="a0746655-6c86-46e8-9fa0-3fdc9fc77da6" providerId="ADAL" clId="{4E480DD1-6EB6-40E9-AA5D-F0885641F18B}" dt="2022-11-18T10:27:07.484" v="216" actId="790"/>
          <ac:spMkLst>
            <pc:docMk/>
            <pc:sldMk cId="2574806156" sldId="2146849611"/>
            <ac:spMk id="1021" creationId="{CADC0C02-9573-43BC-BC2C-B737902535E5}"/>
          </ac:spMkLst>
        </pc:spChg>
        <pc:spChg chg="mod">
          <ac:chgData name="Lars Boe Riber" userId="a0746655-6c86-46e8-9fa0-3fdc9fc77da6" providerId="ADAL" clId="{4E480DD1-6EB6-40E9-AA5D-F0885641F18B}" dt="2022-11-18T10:27:07.485" v="217" actId="790"/>
          <ac:spMkLst>
            <pc:docMk/>
            <pc:sldMk cId="2574806156" sldId="2146849611"/>
            <ac:spMk id="1022" creationId="{C31530A2-93A2-4F39-B7C6-9B71D476D82C}"/>
          </ac:spMkLst>
        </pc:spChg>
        <pc:spChg chg="mod">
          <ac:chgData name="Lars Boe Riber" userId="a0746655-6c86-46e8-9fa0-3fdc9fc77da6" providerId="ADAL" clId="{4E480DD1-6EB6-40E9-AA5D-F0885641F18B}" dt="2022-11-18T10:27:07.486" v="218" actId="790"/>
          <ac:spMkLst>
            <pc:docMk/>
            <pc:sldMk cId="2574806156" sldId="2146849611"/>
            <ac:spMk id="1023" creationId="{E05CA780-7E5B-4AFC-AA23-EE249E1B06D9}"/>
          </ac:spMkLst>
        </pc:spChg>
        <pc:spChg chg="mod">
          <ac:chgData name="Lars Boe Riber" userId="a0746655-6c86-46e8-9fa0-3fdc9fc77da6" providerId="ADAL" clId="{4E480DD1-6EB6-40E9-AA5D-F0885641F18B}" dt="2022-11-18T10:27:07.486" v="219" actId="790"/>
          <ac:spMkLst>
            <pc:docMk/>
            <pc:sldMk cId="2574806156" sldId="2146849611"/>
            <ac:spMk id="1024" creationId="{7D1739C7-1BF3-42A5-BE20-66A24C28E459}"/>
          </ac:spMkLst>
        </pc:spChg>
        <pc:spChg chg="mod">
          <ac:chgData name="Lars Boe Riber" userId="a0746655-6c86-46e8-9fa0-3fdc9fc77da6" providerId="ADAL" clId="{4E480DD1-6EB6-40E9-AA5D-F0885641F18B}" dt="2022-11-18T10:27:07.487" v="220" actId="790"/>
          <ac:spMkLst>
            <pc:docMk/>
            <pc:sldMk cId="2574806156" sldId="2146849611"/>
            <ac:spMk id="1025" creationId="{58F6328C-6C68-40C2-B923-B39E78BBD237}"/>
          </ac:spMkLst>
        </pc:spChg>
        <pc:spChg chg="mod">
          <ac:chgData name="Lars Boe Riber" userId="a0746655-6c86-46e8-9fa0-3fdc9fc77da6" providerId="ADAL" clId="{4E480DD1-6EB6-40E9-AA5D-F0885641F18B}" dt="2022-11-18T10:27:07.488" v="221" actId="790"/>
          <ac:spMkLst>
            <pc:docMk/>
            <pc:sldMk cId="2574806156" sldId="2146849611"/>
            <ac:spMk id="1026" creationId="{CEEE08A6-8EDD-4614-966B-6584E2F1ABC9}"/>
          </ac:spMkLst>
        </pc:spChg>
        <pc:spChg chg="mod">
          <ac:chgData name="Lars Boe Riber" userId="a0746655-6c86-46e8-9fa0-3fdc9fc77da6" providerId="ADAL" clId="{4E480DD1-6EB6-40E9-AA5D-F0885641F18B}" dt="2022-11-18T10:27:07.489" v="222" actId="790"/>
          <ac:spMkLst>
            <pc:docMk/>
            <pc:sldMk cId="2574806156" sldId="2146849611"/>
            <ac:spMk id="1027" creationId="{3B260842-A5DF-4C1B-AF6E-60AAE08AA9AF}"/>
          </ac:spMkLst>
        </pc:spChg>
        <pc:spChg chg="mod">
          <ac:chgData name="Lars Boe Riber" userId="a0746655-6c86-46e8-9fa0-3fdc9fc77da6" providerId="ADAL" clId="{4E480DD1-6EB6-40E9-AA5D-F0885641F18B}" dt="2022-11-18T10:27:07.489" v="223" actId="790"/>
          <ac:spMkLst>
            <pc:docMk/>
            <pc:sldMk cId="2574806156" sldId="2146849611"/>
            <ac:spMk id="1028" creationId="{19891A0C-3E33-404B-BEC2-2B71831EBD3B}"/>
          </ac:spMkLst>
        </pc:spChg>
        <pc:spChg chg="mod">
          <ac:chgData name="Lars Boe Riber" userId="a0746655-6c86-46e8-9fa0-3fdc9fc77da6" providerId="ADAL" clId="{4E480DD1-6EB6-40E9-AA5D-F0885641F18B}" dt="2022-11-18T10:27:07.490" v="224" actId="790"/>
          <ac:spMkLst>
            <pc:docMk/>
            <pc:sldMk cId="2574806156" sldId="2146849611"/>
            <ac:spMk id="1029" creationId="{CE56FBC9-9D29-41C7-9689-39514BFDAB3F}"/>
          </ac:spMkLst>
        </pc:spChg>
        <pc:spChg chg="mod">
          <ac:chgData name="Lars Boe Riber" userId="a0746655-6c86-46e8-9fa0-3fdc9fc77da6" providerId="ADAL" clId="{4E480DD1-6EB6-40E9-AA5D-F0885641F18B}" dt="2022-11-18T10:27:07.491" v="225" actId="790"/>
          <ac:spMkLst>
            <pc:docMk/>
            <pc:sldMk cId="2574806156" sldId="2146849611"/>
            <ac:spMk id="1030" creationId="{A4BB14CB-8754-4D72-8264-21769B6CD6FB}"/>
          </ac:spMkLst>
        </pc:spChg>
        <pc:spChg chg="mod">
          <ac:chgData name="Lars Boe Riber" userId="a0746655-6c86-46e8-9fa0-3fdc9fc77da6" providerId="ADAL" clId="{4E480DD1-6EB6-40E9-AA5D-F0885641F18B}" dt="2022-11-18T10:27:07.491" v="226" actId="790"/>
          <ac:spMkLst>
            <pc:docMk/>
            <pc:sldMk cId="2574806156" sldId="2146849611"/>
            <ac:spMk id="1031" creationId="{3B1A03BF-5ADE-4382-81F5-69241BBAFF39}"/>
          </ac:spMkLst>
        </pc:spChg>
        <pc:spChg chg="mod">
          <ac:chgData name="Lars Boe Riber" userId="a0746655-6c86-46e8-9fa0-3fdc9fc77da6" providerId="ADAL" clId="{4E480DD1-6EB6-40E9-AA5D-F0885641F18B}" dt="2022-11-18T10:27:07.492" v="227" actId="790"/>
          <ac:spMkLst>
            <pc:docMk/>
            <pc:sldMk cId="2574806156" sldId="2146849611"/>
            <ac:spMk id="1032" creationId="{87846E24-FBFA-475F-817A-1004367E59DD}"/>
          </ac:spMkLst>
        </pc:spChg>
        <pc:spChg chg="mod">
          <ac:chgData name="Lars Boe Riber" userId="a0746655-6c86-46e8-9fa0-3fdc9fc77da6" providerId="ADAL" clId="{4E480DD1-6EB6-40E9-AA5D-F0885641F18B}" dt="2022-11-18T10:27:07.493" v="228" actId="790"/>
          <ac:spMkLst>
            <pc:docMk/>
            <pc:sldMk cId="2574806156" sldId="2146849611"/>
            <ac:spMk id="1033" creationId="{417EE3EB-3BBB-445B-9721-91FFFA206654}"/>
          </ac:spMkLst>
        </pc:spChg>
        <pc:spChg chg="mod">
          <ac:chgData name="Lars Boe Riber" userId="a0746655-6c86-46e8-9fa0-3fdc9fc77da6" providerId="ADAL" clId="{4E480DD1-6EB6-40E9-AA5D-F0885641F18B}" dt="2022-11-18T10:27:07.494" v="229" actId="790"/>
          <ac:spMkLst>
            <pc:docMk/>
            <pc:sldMk cId="2574806156" sldId="2146849611"/>
            <ac:spMk id="1034" creationId="{384971E5-1663-4130-ABBE-714DED854232}"/>
          </ac:spMkLst>
        </pc:spChg>
        <pc:spChg chg="mod">
          <ac:chgData name="Lars Boe Riber" userId="a0746655-6c86-46e8-9fa0-3fdc9fc77da6" providerId="ADAL" clId="{4E480DD1-6EB6-40E9-AA5D-F0885641F18B}" dt="2022-11-18T10:27:07.495" v="230" actId="790"/>
          <ac:spMkLst>
            <pc:docMk/>
            <pc:sldMk cId="2574806156" sldId="2146849611"/>
            <ac:spMk id="1035" creationId="{A22B172A-45AF-4396-A569-11BA7CD55FEC}"/>
          </ac:spMkLst>
        </pc:spChg>
        <pc:spChg chg="mod">
          <ac:chgData name="Lars Boe Riber" userId="a0746655-6c86-46e8-9fa0-3fdc9fc77da6" providerId="ADAL" clId="{4E480DD1-6EB6-40E9-AA5D-F0885641F18B}" dt="2022-11-18T10:27:07.496" v="231" actId="790"/>
          <ac:spMkLst>
            <pc:docMk/>
            <pc:sldMk cId="2574806156" sldId="2146849611"/>
            <ac:spMk id="1036" creationId="{FD315460-8C8D-47C9-836C-1F6FBD8E95B6}"/>
          </ac:spMkLst>
        </pc:spChg>
        <pc:spChg chg="mod">
          <ac:chgData name="Lars Boe Riber" userId="a0746655-6c86-46e8-9fa0-3fdc9fc77da6" providerId="ADAL" clId="{4E480DD1-6EB6-40E9-AA5D-F0885641F18B}" dt="2022-11-18T10:27:07.497" v="232" actId="790"/>
          <ac:spMkLst>
            <pc:docMk/>
            <pc:sldMk cId="2574806156" sldId="2146849611"/>
            <ac:spMk id="1037" creationId="{2AE21128-4A90-49B9-98F3-040F1690E86D}"/>
          </ac:spMkLst>
        </pc:spChg>
        <pc:spChg chg="mod">
          <ac:chgData name="Lars Boe Riber" userId="a0746655-6c86-46e8-9fa0-3fdc9fc77da6" providerId="ADAL" clId="{4E480DD1-6EB6-40E9-AA5D-F0885641F18B}" dt="2022-11-18T10:27:07.497" v="233" actId="790"/>
          <ac:spMkLst>
            <pc:docMk/>
            <pc:sldMk cId="2574806156" sldId="2146849611"/>
            <ac:spMk id="1038" creationId="{2B6B2B93-2AB0-4905-BF8C-D52AD3ED9BBB}"/>
          </ac:spMkLst>
        </pc:spChg>
        <pc:spChg chg="mod">
          <ac:chgData name="Lars Boe Riber" userId="a0746655-6c86-46e8-9fa0-3fdc9fc77da6" providerId="ADAL" clId="{4E480DD1-6EB6-40E9-AA5D-F0885641F18B}" dt="2022-11-18T10:27:07.498" v="234" actId="790"/>
          <ac:spMkLst>
            <pc:docMk/>
            <pc:sldMk cId="2574806156" sldId="2146849611"/>
            <ac:spMk id="1039" creationId="{2834C7D3-B053-42BC-B352-113EF79ED885}"/>
          </ac:spMkLst>
        </pc:spChg>
        <pc:spChg chg="mod">
          <ac:chgData name="Lars Boe Riber" userId="a0746655-6c86-46e8-9fa0-3fdc9fc77da6" providerId="ADAL" clId="{4E480DD1-6EB6-40E9-AA5D-F0885641F18B}" dt="2022-11-18T10:27:07.499" v="235" actId="790"/>
          <ac:spMkLst>
            <pc:docMk/>
            <pc:sldMk cId="2574806156" sldId="2146849611"/>
            <ac:spMk id="1040" creationId="{1E2EFAE7-E275-4356-9A6E-4623F0C0D41E}"/>
          </ac:spMkLst>
        </pc:spChg>
        <pc:spChg chg="mod">
          <ac:chgData name="Lars Boe Riber" userId="a0746655-6c86-46e8-9fa0-3fdc9fc77da6" providerId="ADAL" clId="{4E480DD1-6EB6-40E9-AA5D-F0885641F18B}" dt="2022-11-18T10:27:07.500" v="236" actId="790"/>
          <ac:spMkLst>
            <pc:docMk/>
            <pc:sldMk cId="2574806156" sldId="2146849611"/>
            <ac:spMk id="1041" creationId="{8B55D198-B84D-4E8C-B86E-4397420F02E5}"/>
          </ac:spMkLst>
        </pc:spChg>
        <pc:spChg chg="mod">
          <ac:chgData name="Lars Boe Riber" userId="a0746655-6c86-46e8-9fa0-3fdc9fc77da6" providerId="ADAL" clId="{4E480DD1-6EB6-40E9-AA5D-F0885641F18B}" dt="2022-11-18T10:27:07.501" v="237" actId="790"/>
          <ac:spMkLst>
            <pc:docMk/>
            <pc:sldMk cId="2574806156" sldId="2146849611"/>
            <ac:spMk id="1042" creationId="{6E84FD82-A336-43F0-A631-6D5F48ACE248}"/>
          </ac:spMkLst>
        </pc:spChg>
        <pc:spChg chg="mod">
          <ac:chgData name="Lars Boe Riber" userId="a0746655-6c86-46e8-9fa0-3fdc9fc77da6" providerId="ADAL" clId="{4E480DD1-6EB6-40E9-AA5D-F0885641F18B}" dt="2022-11-18T10:27:07.502" v="238" actId="790"/>
          <ac:spMkLst>
            <pc:docMk/>
            <pc:sldMk cId="2574806156" sldId="2146849611"/>
            <ac:spMk id="1043" creationId="{74DFFB46-5896-4BC7-9996-16DF0D3797A9}"/>
          </ac:spMkLst>
        </pc:spChg>
        <pc:spChg chg="mod">
          <ac:chgData name="Lars Boe Riber" userId="a0746655-6c86-46e8-9fa0-3fdc9fc77da6" providerId="ADAL" clId="{4E480DD1-6EB6-40E9-AA5D-F0885641F18B}" dt="2022-11-18T10:27:07.502" v="239" actId="790"/>
          <ac:spMkLst>
            <pc:docMk/>
            <pc:sldMk cId="2574806156" sldId="2146849611"/>
            <ac:spMk id="1044" creationId="{C900E398-DEDF-44A3-831F-CFCBAA93B063}"/>
          </ac:spMkLst>
        </pc:spChg>
        <pc:spChg chg="mod">
          <ac:chgData name="Lars Boe Riber" userId="a0746655-6c86-46e8-9fa0-3fdc9fc77da6" providerId="ADAL" clId="{4E480DD1-6EB6-40E9-AA5D-F0885641F18B}" dt="2022-11-18T10:27:07.503" v="240" actId="790"/>
          <ac:spMkLst>
            <pc:docMk/>
            <pc:sldMk cId="2574806156" sldId="2146849611"/>
            <ac:spMk id="1045" creationId="{E2C238A4-9363-4460-8487-F3869DDC69B0}"/>
          </ac:spMkLst>
        </pc:spChg>
        <pc:spChg chg="mod">
          <ac:chgData name="Lars Boe Riber" userId="a0746655-6c86-46e8-9fa0-3fdc9fc77da6" providerId="ADAL" clId="{4E480DD1-6EB6-40E9-AA5D-F0885641F18B}" dt="2022-11-18T10:27:07.504" v="241" actId="790"/>
          <ac:spMkLst>
            <pc:docMk/>
            <pc:sldMk cId="2574806156" sldId="2146849611"/>
            <ac:spMk id="1046" creationId="{2C3CF8F2-BFAF-4E56-BE82-C2C859F78896}"/>
          </ac:spMkLst>
        </pc:spChg>
        <pc:spChg chg="mod">
          <ac:chgData name="Lars Boe Riber" userId="a0746655-6c86-46e8-9fa0-3fdc9fc77da6" providerId="ADAL" clId="{4E480DD1-6EB6-40E9-AA5D-F0885641F18B}" dt="2022-11-18T10:27:07.504" v="242" actId="790"/>
          <ac:spMkLst>
            <pc:docMk/>
            <pc:sldMk cId="2574806156" sldId="2146849611"/>
            <ac:spMk id="1047" creationId="{ED648C5C-36D5-4E4C-A368-D59122FFEEF5}"/>
          </ac:spMkLst>
        </pc:spChg>
        <pc:spChg chg="mod">
          <ac:chgData name="Lars Boe Riber" userId="a0746655-6c86-46e8-9fa0-3fdc9fc77da6" providerId="ADAL" clId="{4E480DD1-6EB6-40E9-AA5D-F0885641F18B}" dt="2022-11-18T10:27:07.504" v="243" actId="790"/>
          <ac:spMkLst>
            <pc:docMk/>
            <pc:sldMk cId="2574806156" sldId="2146849611"/>
            <ac:spMk id="1048" creationId="{BEC6F448-590F-406B-A168-7C1FF4243A66}"/>
          </ac:spMkLst>
        </pc:spChg>
        <pc:spChg chg="mod">
          <ac:chgData name="Lars Boe Riber" userId="a0746655-6c86-46e8-9fa0-3fdc9fc77da6" providerId="ADAL" clId="{4E480DD1-6EB6-40E9-AA5D-F0885641F18B}" dt="2022-11-18T10:27:07.505" v="244" actId="790"/>
          <ac:spMkLst>
            <pc:docMk/>
            <pc:sldMk cId="2574806156" sldId="2146849611"/>
            <ac:spMk id="1049" creationId="{81EA50A3-0DCC-45FC-88BA-9F109E7506C3}"/>
          </ac:spMkLst>
        </pc:spChg>
        <pc:spChg chg="mod">
          <ac:chgData name="Lars Boe Riber" userId="a0746655-6c86-46e8-9fa0-3fdc9fc77da6" providerId="ADAL" clId="{4E480DD1-6EB6-40E9-AA5D-F0885641F18B}" dt="2022-11-18T10:27:07.506" v="245" actId="790"/>
          <ac:spMkLst>
            <pc:docMk/>
            <pc:sldMk cId="2574806156" sldId="2146849611"/>
            <ac:spMk id="1050" creationId="{0A04E6BF-4E29-4963-B9E5-BA025DB2F567}"/>
          </ac:spMkLst>
        </pc:spChg>
        <pc:spChg chg="mod">
          <ac:chgData name="Lars Boe Riber" userId="a0746655-6c86-46e8-9fa0-3fdc9fc77da6" providerId="ADAL" clId="{4E480DD1-6EB6-40E9-AA5D-F0885641F18B}" dt="2022-11-18T10:27:07.506" v="246" actId="790"/>
          <ac:spMkLst>
            <pc:docMk/>
            <pc:sldMk cId="2574806156" sldId="2146849611"/>
            <ac:spMk id="1051" creationId="{23CD779F-431F-4CFB-BB09-7B426E8611FB}"/>
          </ac:spMkLst>
        </pc:spChg>
        <pc:spChg chg="mod">
          <ac:chgData name="Lars Boe Riber" userId="a0746655-6c86-46e8-9fa0-3fdc9fc77da6" providerId="ADAL" clId="{4E480DD1-6EB6-40E9-AA5D-F0885641F18B}" dt="2022-11-18T10:27:07.507" v="247" actId="790"/>
          <ac:spMkLst>
            <pc:docMk/>
            <pc:sldMk cId="2574806156" sldId="2146849611"/>
            <ac:spMk id="1052" creationId="{79F21549-D483-44B7-9B7D-A4191EE25588}"/>
          </ac:spMkLst>
        </pc:spChg>
        <pc:spChg chg="mod">
          <ac:chgData name="Lars Boe Riber" userId="a0746655-6c86-46e8-9fa0-3fdc9fc77da6" providerId="ADAL" clId="{4E480DD1-6EB6-40E9-AA5D-F0885641F18B}" dt="2022-11-18T10:27:07.508" v="248" actId="790"/>
          <ac:spMkLst>
            <pc:docMk/>
            <pc:sldMk cId="2574806156" sldId="2146849611"/>
            <ac:spMk id="1053" creationId="{B36EDD7A-AC1A-4FF4-809E-49B9C6EDB7BC}"/>
          </ac:spMkLst>
        </pc:spChg>
        <pc:spChg chg="mod">
          <ac:chgData name="Lars Boe Riber" userId="a0746655-6c86-46e8-9fa0-3fdc9fc77da6" providerId="ADAL" clId="{4E480DD1-6EB6-40E9-AA5D-F0885641F18B}" dt="2022-11-18T10:27:07.509" v="249" actId="790"/>
          <ac:spMkLst>
            <pc:docMk/>
            <pc:sldMk cId="2574806156" sldId="2146849611"/>
            <ac:spMk id="1054" creationId="{E4848D9E-BB12-4D51-B940-E43058614941}"/>
          </ac:spMkLst>
        </pc:spChg>
        <pc:spChg chg="mod">
          <ac:chgData name="Lars Boe Riber" userId="a0746655-6c86-46e8-9fa0-3fdc9fc77da6" providerId="ADAL" clId="{4E480DD1-6EB6-40E9-AA5D-F0885641F18B}" dt="2022-11-18T10:27:07.510" v="250" actId="790"/>
          <ac:spMkLst>
            <pc:docMk/>
            <pc:sldMk cId="2574806156" sldId="2146849611"/>
            <ac:spMk id="1055" creationId="{5C37FFED-1FE5-4952-847D-BB2AAF98B431}"/>
          </ac:spMkLst>
        </pc:spChg>
        <pc:spChg chg="mod">
          <ac:chgData name="Lars Boe Riber" userId="a0746655-6c86-46e8-9fa0-3fdc9fc77da6" providerId="ADAL" clId="{4E480DD1-6EB6-40E9-AA5D-F0885641F18B}" dt="2022-11-18T10:27:07.511" v="251" actId="790"/>
          <ac:spMkLst>
            <pc:docMk/>
            <pc:sldMk cId="2574806156" sldId="2146849611"/>
            <ac:spMk id="1056" creationId="{87C3B3D1-638C-48A9-BEBF-BF2E6F0BFE6C}"/>
          </ac:spMkLst>
        </pc:spChg>
        <pc:spChg chg="mod">
          <ac:chgData name="Lars Boe Riber" userId="a0746655-6c86-46e8-9fa0-3fdc9fc77da6" providerId="ADAL" clId="{4E480DD1-6EB6-40E9-AA5D-F0885641F18B}" dt="2022-11-18T10:27:07.511" v="252" actId="790"/>
          <ac:spMkLst>
            <pc:docMk/>
            <pc:sldMk cId="2574806156" sldId="2146849611"/>
            <ac:spMk id="1057" creationId="{2ED49A92-1851-4C69-83DD-E444DF4D15B4}"/>
          </ac:spMkLst>
        </pc:spChg>
        <pc:spChg chg="mod">
          <ac:chgData name="Lars Boe Riber" userId="a0746655-6c86-46e8-9fa0-3fdc9fc77da6" providerId="ADAL" clId="{4E480DD1-6EB6-40E9-AA5D-F0885641F18B}" dt="2022-11-18T10:27:07.512" v="253" actId="790"/>
          <ac:spMkLst>
            <pc:docMk/>
            <pc:sldMk cId="2574806156" sldId="2146849611"/>
            <ac:spMk id="1058" creationId="{616194BD-08A3-4CF3-BE40-D3997BB8AD68}"/>
          </ac:spMkLst>
        </pc:spChg>
        <pc:spChg chg="mod">
          <ac:chgData name="Lars Boe Riber" userId="a0746655-6c86-46e8-9fa0-3fdc9fc77da6" providerId="ADAL" clId="{4E480DD1-6EB6-40E9-AA5D-F0885641F18B}" dt="2022-11-18T10:27:07.513" v="254" actId="790"/>
          <ac:spMkLst>
            <pc:docMk/>
            <pc:sldMk cId="2574806156" sldId="2146849611"/>
            <ac:spMk id="1059" creationId="{07F54235-BDD0-437E-93D1-AFC8AE38BC89}"/>
          </ac:spMkLst>
        </pc:spChg>
        <pc:spChg chg="mod">
          <ac:chgData name="Lars Boe Riber" userId="a0746655-6c86-46e8-9fa0-3fdc9fc77da6" providerId="ADAL" clId="{4E480DD1-6EB6-40E9-AA5D-F0885641F18B}" dt="2022-11-18T10:27:07.514" v="255" actId="790"/>
          <ac:spMkLst>
            <pc:docMk/>
            <pc:sldMk cId="2574806156" sldId="2146849611"/>
            <ac:spMk id="1060" creationId="{FB387D06-F283-4CE6-8628-014EA599B928}"/>
          </ac:spMkLst>
        </pc:spChg>
        <pc:spChg chg="mod">
          <ac:chgData name="Lars Boe Riber" userId="a0746655-6c86-46e8-9fa0-3fdc9fc77da6" providerId="ADAL" clId="{4E480DD1-6EB6-40E9-AA5D-F0885641F18B}" dt="2022-11-18T10:27:07.514" v="256" actId="790"/>
          <ac:spMkLst>
            <pc:docMk/>
            <pc:sldMk cId="2574806156" sldId="2146849611"/>
            <ac:spMk id="1061" creationId="{0E2D5EF5-D088-478A-A9B8-DCBA9A361E4B}"/>
          </ac:spMkLst>
        </pc:spChg>
        <pc:spChg chg="mod">
          <ac:chgData name="Lars Boe Riber" userId="a0746655-6c86-46e8-9fa0-3fdc9fc77da6" providerId="ADAL" clId="{4E480DD1-6EB6-40E9-AA5D-F0885641F18B}" dt="2022-11-18T10:27:07.515" v="257" actId="790"/>
          <ac:spMkLst>
            <pc:docMk/>
            <pc:sldMk cId="2574806156" sldId="2146849611"/>
            <ac:spMk id="1062" creationId="{50D10775-14FE-4CBA-AA8D-19135E1B52A7}"/>
          </ac:spMkLst>
        </pc:spChg>
        <pc:spChg chg="mod">
          <ac:chgData name="Lars Boe Riber" userId="a0746655-6c86-46e8-9fa0-3fdc9fc77da6" providerId="ADAL" clId="{4E480DD1-6EB6-40E9-AA5D-F0885641F18B}" dt="2022-11-18T10:27:07.516" v="258" actId="790"/>
          <ac:spMkLst>
            <pc:docMk/>
            <pc:sldMk cId="2574806156" sldId="2146849611"/>
            <ac:spMk id="1063" creationId="{83BE4367-1416-4246-AA67-CE4DC46898AF}"/>
          </ac:spMkLst>
        </pc:spChg>
        <pc:spChg chg="mod">
          <ac:chgData name="Lars Boe Riber" userId="a0746655-6c86-46e8-9fa0-3fdc9fc77da6" providerId="ADAL" clId="{4E480DD1-6EB6-40E9-AA5D-F0885641F18B}" dt="2022-11-18T10:27:07.517" v="259" actId="790"/>
          <ac:spMkLst>
            <pc:docMk/>
            <pc:sldMk cId="2574806156" sldId="2146849611"/>
            <ac:spMk id="1064" creationId="{8AB498A5-C5D7-4941-8594-757B85EDEFD7}"/>
          </ac:spMkLst>
        </pc:spChg>
        <pc:spChg chg="mod">
          <ac:chgData name="Lars Boe Riber" userId="a0746655-6c86-46e8-9fa0-3fdc9fc77da6" providerId="ADAL" clId="{4E480DD1-6EB6-40E9-AA5D-F0885641F18B}" dt="2022-11-18T10:27:07.518" v="260" actId="790"/>
          <ac:spMkLst>
            <pc:docMk/>
            <pc:sldMk cId="2574806156" sldId="2146849611"/>
            <ac:spMk id="1065" creationId="{E55ABEF7-E1BA-4E60-A941-1978D6B9120C}"/>
          </ac:spMkLst>
        </pc:spChg>
        <pc:spChg chg="mod">
          <ac:chgData name="Lars Boe Riber" userId="a0746655-6c86-46e8-9fa0-3fdc9fc77da6" providerId="ADAL" clId="{4E480DD1-6EB6-40E9-AA5D-F0885641F18B}" dt="2022-11-18T10:27:07.518" v="261" actId="790"/>
          <ac:spMkLst>
            <pc:docMk/>
            <pc:sldMk cId="2574806156" sldId="2146849611"/>
            <ac:spMk id="1066" creationId="{58CCDA61-9434-4714-8568-607D30444159}"/>
          </ac:spMkLst>
        </pc:spChg>
        <pc:spChg chg="mod">
          <ac:chgData name="Lars Boe Riber" userId="a0746655-6c86-46e8-9fa0-3fdc9fc77da6" providerId="ADAL" clId="{4E480DD1-6EB6-40E9-AA5D-F0885641F18B}" dt="2022-11-18T10:27:07.519" v="262" actId="790"/>
          <ac:spMkLst>
            <pc:docMk/>
            <pc:sldMk cId="2574806156" sldId="2146849611"/>
            <ac:spMk id="1067" creationId="{9AF2D722-A456-4D96-8351-146BC52A5FA7}"/>
          </ac:spMkLst>
        </pc:spChg>
        <pc:spChg chg="mod">
          <ac:chgData name="Lars Boe Riber" userId="a0746655-6c86-46e8-9fa0-3fdc9fc77da6" providerId="ADAL" clId="{4E480DD1-6EB6-40E9-AA5D-F0885641F18B}" dt="2022-11-18T10:27:07.520" v="263" actId="790"/>
          <ac:spMkLst>
            <pc:docMk/>
            <pc:sldMk cId="2574806156" sldId="2146849611"/>
            <ac:spMk id="1068" creationId="{9C3CDA2F-A194-4DB1-9080-8310EE29F11B}"/>
          </ac:spMkLst>
        </pc:spChg>
        <pc:spChg chg="mod">
          <ac:chgData name="Lars Boe Riber" userId="a0746655-6c86-46e8-9fa0-3fdc9fc77da6" providerId="ADAL" clId="{4E480DD1-6EB6-40E9-AA5D-F0885641F18B}" dt="2022-11-18T10:27:07.521" v="264" actId="790"/>
          <ac:spMkLst>
            <pc:docMk/>
            <pc:sldMk cId="2574806156" sldId="2146849611"/>
            <ac:spMk id="1069" creationId="{C2BBC9F1-E749-4119-B4B5-1547B742CEBC}"/>
          </ac:spMkLst>
        </pc:spChg>
        <pc:spChg chg="mod">
          <ac:chgData name="Lars Boe Riber" userId="a0746655-6c86-46e8-9fa0-3fdc9fc77da6" providerId="ADAL" clId="{4E480DD1-6EB6-40E9-AA5D-F0885641F18B}" dt="2022-11-18T10:27:07.521" v="265" actId="790"/>
          <ac:spMkLst>
            <pc:docMk/>
            <pc:sldMk cId="2574806156" sldId="2146849611"/>
            <ac:spMk id="1070" creationId="{B6696545-2392-4F25-B0CB-032602C125F4}"/>
          </ac:spMkLst>
        </pc:spChg>
        <pc:spChg chg="mod">
          <ac:chgData name="Lars Boe Riber" userId="a0746655-6c86-46e8-9fa0-3fdc9fc77da6" providerId="ADAL" clId="{4E480DD1-6EB6-40E9-AA5D-F0885641F18B}" dt="2022-11-18T10:27:07.522" v="266" actId="790"/>
          <ac:spMkLst>
            <pc:docMk/>
            <pc:sldMk cId="2574806156" sldId="2146849611"/>
            <ac:spMk id="1071" creationId="{2A1F35FA-D582-431D-865D-9D92F9560FAC}"/>
          </ac:spMkLst>
        </pc:spChg>
        <pc:spChg chg="mod">
          <ac:chgData name="Lars Boe Riber" userId="a0746655-6c86-46e8-9fa0-3fdc9fc77da6" providerId="ADAL" clId="{4E480DD1-6EB6-40E9-AA5D-F0885641F18B}" dt="2022-11-18T10:27:07.523" v="267" actId="790"/>
          <ac:spMkLst>
            <pc:docMk/>
            <pc:sldMk cId="2574806156" sldId="2146849611"/>
            <ac:spMk id="1072" creationId="{2D93A5A0-DCD9-43EF-A508-8CAC06D126CC}"/>
          </ac:spMkLst>
        </pc:spChg>
        <pc:spChg chg="mod">
          <ac:chgData name="Lars Boe Riber" userId="a0746655-6c86-46e8-9fa0-3fdc9fc77da6" providerId="ADAL" clId="{4E480DD1-6EB6-40E9-AA5D-F0885641F18B}" dt="2022-11-18T10:27:07.524" v="268" actId="790"/>
          <ac:spMkLst>
            <pc:docMk/>
            <pc:sldMk cId="2574806156" sldId="2146849611"/>
            <ac:spMk id="1073" creationId="{8328E153-4F69-40B5-A9CD-CA0BEC108E74}"/>
          </ac:spMkLst>
        </pc:spChg>
        <pc:spChg chg="mod">
          <ac:chgData name="Lars Boe Riber" userId="a0746655-6c86-46e8-9fa0-3fdc9fc77da6" providerId="ADAL" clId="{4E480DD1-6EB6-40E9-AA5D-F0885641F18B}" dt="2022-11-18T10:27:07.525" v="269" actId="790"/>
          <ac:spMkLst>
            <pc:docMk/>
            <pc:sldMk cId="2574806156" sldId="2146849611"/>
            <ac:spMk id="1074" creationId="{29465AF5-5050-4FBF-AEB3-CDD656E3D6EB}"/>
          </ac:spMkLst>
        </pc:spChg>
        <pc:spChg chg="mod">
          <ac:chgData name="Lars Boe Riber" userId="a0746655-6c86-46e8-9fa0-3fdc9fc77da6" providerId="ADAL" clId="{4E480DD1-6EB6-40E9-AA5D-F0885641F18B}" dt="2022-11-18T10:27:07.526" v="270" actId="790"/>
          <ac:spMkLst>
            <pc:docMk/>
            <pc:sldMk cId="2574806156" sldId="2146849611"/>
            <ac:spMk id="1075" creationId="{71297D22-18C2-4C06-A6F8-61C5DC105E94}"/>
          </ac:spMkLst>
        </pc:spChg>
        <pc:spChg chg="mod">
          <ac:chgData name="Lars Boe Riber" userId="a0746655-6c86-46e8-9fa0-3fdc9fc77da6" providerId="ADAL" clId="{4E480DD1-6EB6-40E9-AA5D-F0885641F18B}" dt="2022-11-18T10:27:07.526" v="271" actId="790"/>
          <ac:spMkLst>
            <pc:docMk/>
            <pc:sldMk cId="2574806156" sldId="2146849611"/>
            <ac:spMk id="1076" creationId="{739F295D-51BC-4575-B4A6-1DABAC71B2EE}"/>
          </ac:spMkLst>
        </pc:spChg>
        <pc:spChg chg="mod">
          <ac:chgData name="Lars Boe Riber" userId="a0746655-6c86-46e8-9fa0-3fdc9fc77da6" providerId="ADAL" clId="{4E480DD1-6EB6-40E9-AA5D-F0885641F18B}" dt="2022-11-18T10:27:07.527" v="272" actId="790"/>
          <ac:spMkLst>
            <pc:docMk/>
            <pc:sldMk cId="2574806156" sldId="2146849611"/>
            <ac:spMk id="1077" creationId="{FFDEE1EA-FFC6-4C0E-8999-2924E8458D57}"/>
          </ac:spMkLst>
        </pc:spChg>
        <pc:spChg chg="mod">
          <ac:chgData name="Lars Boe Riber" userId="a0746655-6c86-46e8-9fa0-3fdc9fc77da6" providerId="ADAL" clId="{4E480DD1-6EB6-40E9-AA5D-F0885641F18B}" dt="2022-11-18T10:27:07.528" v="273" actId="790"/>
          <ac:spMkLst>
            <pc:docMk/>
            <pc:sldMk cId="2574806156" sldId="2146849611"/>
            <ac:spMk id="1078" creationId="{35E6E319-3553-4B72-BEC3-EEC1237DB3C8}"/>
          </ac:spMkLst>
        </pc:spChg>
        <pc:spChg chg="mod">
          <ac:chgData name="Lars Boe Riber" userId="a0746655-6c86-46e8-9fa0-3fdc9fc77da6" providerId="ADAL" clId="{4E480DD1-6EB6-40E9-AA5D-F0885641F18B}" dt="2022-11-18T10:27:07.529" v="274" actId="790"/>
          <ac:spMkLst>
            <pc:docMk/>
            <pc:sldMk cId="2574806156" sldId="2146849611"/>
            <ac:spMk id="1079" creationId="{A2F6F059-0FA0-47E7-94C0-69AB2DA862E8}"/>
          </ac:spMkLst>
        </pc:spChg>
        <pc:spChg chg="mod">
          <ac:chgData name="Lars Boe Riber" userId="a0746655-6c86-46e8-9fa0-3fdc9fc77da6" providerId="ADAL" clId="{4E480DD1-6EB6-40E9-AA5D-F0885641F18B}" dt="2022-11-18T10:27:07.529" v="275" actId="790"/>
          <ac:spMkLst>
            <pc:docMk/>
            <pc:sldMk cId="2574806156" sldId="2146849611"/>
            <ac:spMk id="1080" creationId="{4D0283FA-68AC-425E-8399-7F451E589574}"/>
          </ac:spMkLst>
        </pc:spChg>
        <pc:spChg chg="mod">
          <ac:chgData name="Lars Boe Riber" userId="a0746655-6c86-46e8-9fa0-3fdc9fc77da6" providerId="ADAL" clId="{4E480DD1-6EB6-40E9-AA5D-F0885641F18B}" dt="2022-11-18T10:27:07.530" v="276" actId="790"/>
          <ac:spMkLst>
            <pc:docMk/>
            <pc:sldMk cId="2574806156" sldId="2146849611"/>
            <ac:spMk id="1081" creationId="{3E72621F-6A9A-42B9-AE60-1ABB45246A6A}"/>
          </ac:spMkLst>
        </pc:spChg>
        <pc:spChg chg="mod">
          <ac:chgData name="Lars Boe Riber" userId="a0746655-6c86-46e8-9fa0-3fdc9fc77da6" providerId="ADAL" clId="{4E480DD1-6EB6-40E9-AA5D-F0885641F18B}" dt="2022-11-18T10:27:07.531" v="277" actId="790"/>
          <ac:spMkLst>
            <pc:docMk/>
            <pc:sldMk cId="2574806156" sldId="2146849611"/>
            <ac:spMk id="1082" creationId="{D83E13C2-0117-491C-A5BE-2CD53C239AA4}"/>
          </ac:spMkLst>
        </pc:spChg>
        <pc:spChg chg="mod">
          <ac:chgData name="Lars Boe Riber" userId="a0746655-6c86-46e8-9fa0-3fdc9fc77da6" providerId="ADAL" clId="{4E480DD1-6EB6-40E9-AA5D-F0885641F18B}" dt="2022-11-18T10:27:07.532" v="278" actId="790"/>
          <ac:spMkLst>
            <pc:docMk/>
            <pc:sldMk cId="2574806156" sldId="2146849611"/>
            <ac:spMk id="1083" creationId="{F3A03903-14C6-4A18-8C67-FAF146A63971}"/>
          </ac:spMkLst>
        </pc:spChg>
        <pc:spChg chg="mod">
          <ac:chgData name="Lars Boe Riber" userId="a0746655-6c86-46e8-9fa0-3fdc9fc77da6" providerId="ADAL" clId="{4E480DD1-6EB6-40E9-AA5D-F0885641F18B}" dt="2022-11-18T10:27:07.533" v="279" actId="790"/>
          <ac:spMkLst>
            <pc:docMk/>
            <pc:sldMk cId="2574806156" sldId="2146849611"/>
            <ac:spMk id="1084" creationId="{EC4CA32E-B260-4F50-8A2B-4348C8524B87}"/>
          </ac:spMkLst>
        </pc:spChg>
        <pc:spChg chg="mod">
          <ac:chgData name="Lars Boe Riber" userId="a0746655-6c86-46e8-9fa0-3fdc9fc77da6" providerId="ADAL" clId="{4E480DD1-6EB6-40E9-AA5D-F0885641F18B}" dt="2022-11-18T10:27:07.534" v="280" actId="790"/>
          <ac:spMkLst>
            <pc:docMk/>
            <pc:sldMk cId="2574806156" sldId="2146849611"/>
            <ac:spMk id="1085" creationId="{6B7AD33A-3DF1-4857-AF01-8BB8C769085D}"/>
          </ac:spMkLst>
        </pc:spChg>
        <pc:spChg chg="mod">
          <ac:chgData name="Lars Boe Riber" userId="a0746655-6c86-46e8-9fa0-3fdc9fc77da6" providerId="ADAL" clId="{4E480DD1-6EB6-40E9-AA5D-F0885641F18B}" dt="2022-11-18T10:27:07.534" v="281" actId="790"/>
          <ac:spMkLst>
            <pc:docMk/>
            <pc:sldMk cId="2574806156" sldId="2146849611"/>
            <ac:spMk id="1086" creationId="{4538956E-FE54-4A39-B91E-95F2E04AA997}"/>
          </ac:spMkLst>
        </pc:spChg>
        <pc:spChg chg="mod">
          <ac:chgData name="Lars Boe Riber" userId="a0746655-6c86-46e8-9fa0-3fdc9fc77da6" providerId="ADAL" clId="{4E480DD1-6EB6-40E9-AA5D-F0885641F18B}" dt="2022-11-18T10:27:07.535" v="282" actId="790"/>
          <ac:spMkLst>
            <pc:docMk/>
            <pc:sldMk cId="2574806156" sldId="2146849611"/>
            <ac:spMk id="1087" creationId="{8279705B-B9E1-4B99-A348-FFD45805B14D}"/>
          </ac:spMkLst>
        </pc:spChg>
        <pc:spChg chg="mod">
          <ac:chgData name="Lars Boe Riber" userId="a0746655-6c86-46e8-9fa0-3fdc9fc77da6" providerId="ADAL" clId="{4E480DD1-6EB6-40E9-AA5D-F0885641F18B}" dt="2022-11-18T10:27:07.536" v="283" actId="790"/>
          <ac:spMkLst>
            <pc:docMk/>
            <pc:sldMk cId="2574806156" sldId="2146849611"/>
            <ac:spMk id="1088" creationId="{7881F652-7FA4-4E0E-BBFA-C163EB9B6F83}"/>
          </ac:spMkLst>
        </pc:spChg>
        <pc:spChg chg="mod">
          <ac:chgData name="Lars Boe Riber" userId="a0746655-6c86-46e8-9fa0-3fdc9fc77da6" providerId="ADAL" clId="{4E480DD1-6EB6-40E9-AA5D-F0885641F18B}" dt="2022-11-18T10:27:07.537" v="284" actId="790"/>
          <ac:spMkLst>
            <pc:docMk/>
            <pc:sldMk cId="2574806156" sldId="2146849611"/>
            <ac:spMk id="1089" creationId="{2A32ADAA-CCF0-4516-9565-E01D83BB83BD}"/>
          </ac:spMkLst>
        </pc:spChg>
        <pc:spChg chg="mod">
          <ac:chgData name="Lars Boe Riber" userId="a0746655-6c86-46e8-9fa0-3fdc9fc77da6" providerId="ADAL" clId="{4E480DD1-6EB6-40E9-AA5D-F0885641F18B}" dt="2022-11-18T10:27:07.537" v="285" actId="790"/>
          <ac:spMkLst>
            <pc:docMk/>
            <pc:sldMk cId="2574806156" sldId="2146849611"/>
            <ac:spMk id="1090" creationId="{B3D904BD-9DCE-4AA8-9BDB-D9B79F8C7DA3}"/>
          </ac:spMkLst>
        </pc:spChg>
        <pc:spChg chg="mod">
          <ac:chgData name="Lars Boe Riber" userId="a0746655-6c86-46e8-9fa0-3fdc9fc77da6" providerId="ADAL" clId="{4E480DD1-6EB6-40E9-AA5D-F0885641F18B}" dt="2022-11-18T10:27:07.538" v="286" actId="790"/>
          <ac:spMkLst>
            <pc:docMk/>
            <pc:sldMk cId="2574806156" sldId="2146849611"/>
            <ac:spMk id="1091" creationId="{D4DFF940-C6DF-40D3-AA9B-FFE93B0852B6}"/>
          </ac:spMkLst>
        </pc:spChg>
        <pc:spChg chg="mod">
          <ac:chgData name="Lars Boe Riber" userId="a0746655-6c86-46e8-9fa0-3fdc9fc77da6" providerId="ADAL" clId="{4E480DD1-6EB6-40E9-AA5D-F0885641F18B}" dt="2022-11-18T10:27:07.539" v="287" actId="790"/>
          <ac:spMkLst>
            <pc:docMk/>
            <pc:sldMk cId="2574806156" sldId="2146849611"/>
            <ac:spMk id="1092" creationId="{CE0CE898-CE26-4DFA-BD4E-2C5BC0FC51EA}"/>
          </ac:spMkLst>
        </pc:spChg>
        <pc:spChg chg="mod">
          <ac:chgData name="Lars Boe Riber" userId="a0746655-6c86-46e8-9fa0-3fdc9fc77da6" providerId="ADAL" clId="{4E480DD1-6EB6-40E9-AA5D-F0885641F18B}" dt="2022-11-18T10:27:07.539" v="288" actId="790"/>
          <ac:spMkLst>
            <pc:docMk/>
            <pc:sldMk cId="2574806156" sldId="2146849611"/>
            <ac:spMk id="1093" creationId="{A7F49C5A-0E09-45E1-9B0B-0FA8CB7C8266}"/>
          </ac:spMkLst>
        </pc:spChg>
        <pc:spChg chg="mod">
          <ac:chgData name="Lars Boe Riber" userId="a0746655-6c86-46e8-9fa0-3fdc9fc77da6" providerId="ADAL" clId="{4E480DD1-6EB6-40E9-AA5D-F0885641F18B}" dt="2022-11-18T10:27:07.540" v="289" actId="790"/>
          <ac:spMkLst>
            <pc:docMk/>
            <pc:sldMk cId="2574806156" sldId="2146849611"/>
            <ac:spMk id="1094" creationId="{57585B3F-3AC3-4721-A77D-007D004461B7}"/>
          </ac:spMkLst>
        </pc:spChg>
        <pc:spChg chg="mod">
          <ac:chgData name="Lars Boe Riber" userId="a0746655-6c86-46e8-9fa0-3fdc9fc77da6" providerId="ADAL" clId="{4E480DD1-6EB6-40E9-AA5D-F0885641F18B}" dt="2022-11-18T10:27:07.541" v="290" actId="790"/>
          <ac:spMkLst>
            <pc:docMk/>
            <pc:sldMk cId="2574806156" sldId="2146849611"/>
            <ac:spMk id="1095" creationId="{2A3676CB-39E9-4F0C-BC58-E15DF0340A21}"/>
          </ac:spMkLst>
        </pc:spChg>
        <pc:spChg chg="mod">
          <ac:chgData name="Lars Boe Riber" userId="a0746655-6c86-46e8-9fa0-3fdc9fc77da6" providerId="ADAL" clId="{4E480DD1-6EB6-40E9-AA5D-F0885641F18B}" dt="2022-11-18T10:27:07.542" v="291" actId="790"/>
          <ac:spMkLst>
            <pc:docMk/>
            <pc:sldMk cId="2574806156" sldId="2146849611"/>
            <ac:spMk id="1096" creationId="{A16BC34A-D20F-40C8-9851-328240EDF204}"/>
          </ac:spMkLst>
        </pc:spChg>
        <pc:spChg chg="mod">
          <ac:chgData name="Lars Boe Riber" userId="a0746655-6c86-46e8-9fa0-3fdc9fc77da6" providerId="ADAL" clId="{4E480DD1-6EB6-40E9-AA5D-F0885641F18B}" dt="2022-11-18T10:27:07.543" v="292" actId="790"/>
          <ac:spMkLst>
            <pc:docMk/>
            <pc:sldMk cId="2574806156" sldId="2146849611"/>
            <ac:spMk id="1097" creationId="{17C9DC05-3841-4299-9F3C-510C465ADBC6}"/>
          </ac:spMkLst>
        </pc:spChg>
        <pc:spChg chg="mod">
          <ac:chgData name="Lars Boe Riber" userId="a0746655-6c86-46e8-9fa0-3fdc9fc77da6" providerId="ADAL" clId="{4E480DD1-6EB6-40E9-AA5D-F0885641F18B}" dt="2022-11-18T10:27:07.544" v="293" actId="790"/>
          <ac:spMkLst>
            <pc:docMk/>
            <pc:sldMk cId="2574806156" sldId="2146849611"/>
            <ac:spMk id="1098" creationId="{3F0FF35A-E8DD-4B78-8B52-C9F151E8CF51}"/>
          </ac:spMkLst>
        </pc:spChg>
        <pc:spChg chg="mod">
          <ac:chgData name="Lars Boe Riber" userId="a0746655-6c86-46e8-9fa0-3fdc9fc77da6" providerId="ADAL" clId="{4E480DD1-6EB6-40E9-AA5D-F0885641F18B}" dt="2022-11-18T10:27:07.544" v="294" actId="790"/>
          <ac:spMkLst>
            <pc:docMk/>
            <pc:sldMk cId="2574806156" sldId="2146849611"/>
            <ac:spMk id="1099" creationId="{F595F141-2393-43A6-8E98-9BDA40DF0CE6}"/>
          </ac:spMkLst>
        </pc:spChg>
        <pc:spChg chg="mod">
          <ac:chgData name="Lars Boe Riber" userId="a0746655-6c86-46e8-9fa0-3fdc9fc77da6" providerId="ADAL" clId="{4E480DD1-6EB6-40E9-AA5D-F0885641F18B}" dt="2022-11-18T10:27:07.545" v="295" actId="790"/>
          <ac:spMkLst>
            <pc:docMk/>
            <pc:sldMk cId="2574806156" sldId="2146849611"/>
            <ac:spMk id="1100" creationId="{9BA079C9-2992-4087-8340-975C2ED1440B}"/>
          </ac:spMkLst>
        </pc:spChg>
        <pc:spChg chg="mod">
          <ac:chgData name="Lars Boe Riber" userId="a0746655-6c86-46e8-9fa0-3fdc9fc77da6" providerId="ADAL" clId="{4E480DD1-6EB6-40E9-AA5D-F0885641F18B}" dt="2022-11-18T10:27:07.546" v="296" actId="790"/>
          <ac:spMkLst>
            <pc:docMk/>
            <pc:sldMk cId="2574806156" sldId="2146849611"/>
            <ac:spMk id="1101" creationId="{045E6A2D-939A-4038-ABD1-F53F551BAFC2}"/>
          </ac:spMkLst>
        </pc:spChg>
        <pc:spChg chg="mod">
          <ac:chgData name="Lars Boe Riber" userId="a0746655-6c86-46e8-9fa0-3fdc9fc77da6" providerId="ADAL" clId="{4E480DD1-6EB6-40E9-AA5D-F0885641F18B}" dt="2022-11-18T10:27:07.547" v="297" actId="790"/>
          <ac:spMkLst>
            <pc:docMk/>
            <pc:sldMk cId="2574806156" sldId="2146849611"/>
            <ac:spMk id="1102" creationId="{034F19FD-8A4D-41F8-BF10-B97F4BB8DC7E}"/>
          </ac:spMkLst>
        </pc:spChg>
        <pc:spChg chg="mod">
          <ac:chgData name="Lars Boe Riber" userId="a0746655-6c86-46e8-9fa0-3fdc9fc77da6" providerId="ADAL" clId="{4E480DD1-6EB6-40E9-AA5D-F0885641F18B}" dt="2022-11-18T10:27:07.547" v="298" actId="790"/>
          <ac:spMkLst>
            <pc:docMk/>
            <pc:sldMk cId="2574806156" sldId="2146849611"/>
            <ac:spMk id="1103" creationId="{955DB9D2-60A3-46A3-91B9-7923A1672609}"/>
          </ac:spMkLst>
        </pc:spChg>
        <pc:spChg chg="mod">
          <ac:chgData name="Lars Boe Riber" userId="a0746655-6c86-46e8-9fa0-3fdc9fc77da6" providerId="ADAL" clId="{4E480DD1-6EB6-40E9-AA5D-F0885641F18B}" dt="2022-11-18T10:27:07.548" v="299" actId="790"/>
          <ac:spMkLst>
            <pc:docMk/>
            <pc:sldMk cId="2574806156" sldId="2146849611"/>
            <ac:spMk id="1104" creationId="{F26A94CA-D872-467F-8A80-975796FEDBA2}"/>
          </ac:spMkLst>
        </pc:spChg>
        <pc:spChg chg="mod">
          <ac:chgData name="Lars Boe Riber" userId="a0746655-6c86-46e8-9fa0-3fdc9fc77da6" providerId="ADAL" clId="{4E480DD1-6EB6-40E9-AA5D-F0885641F18B}" dt="2022-11-18T10:27:07.549" v="300" actId="790"/>
          <ac:spMkLst>
            <pc:docMk/>
            <pc:sldMk cId="2574806156" sldId="2146849611"/>
            <ac:spMk id="1105" creationId="{C702F34E-7EC5-43E4-B8C2-985D7AB6868C}"/>
          </ac:spMkLst>
        </pc:spChg>
        <pc:spChg chg="mod">
          <ac:chgData name="Lars Boe Riber" userId="a0746655-6c86-46e8-9fa0-3fdc9fc77da6" providerId="ADAL" clId="{4E480DD1-6EB6-40E9-AA5D-F0885641F18B}" dt="2022-11-18T10:27:07.550" v="301" actId="790"/>
          <ac:spMkLst>
            <pc:docMk/>
            <pc:sldMk cId="2574806156" sldId="2146849611"/>
            <ac:spMk id="1106" creationId="{37B29CF8-A62A-4C3B-8DAD-20D476A7D921}"/>
          </ac:spMkLst>
        </pc:spChg>
        <pc:spChg chg="mod">
          <ac:chgData name="Lars Boe Riber" userId="a0746655-6c86-46e8-9fa0-3fdc9fc77da6" providerId="ADAL" clId="{4E480DD1-6EB6-40E9-AA5D-F0885641F18B}" dt="2022-11-18T10:27:07.550" v="302" actId="790"/>
          <ac:spMkLst>
            <pc:docMk/>
            <pc:sldMk cId="2574806156" sldId="2146849611"/>
            <ac:spMk id="1107" creationId="{BC44F324-AD40-4B2F-A6E7-13B6DBA2D095}"/>
          </ac:spMkLst>
        </pc:spChg>
        <pc:spChg chg="mod">
          <ac:chgData name="Lars Boe Riber" userId="a0746655-6c86-46e8-9fa0-3fdc9fc77da6" providerId="ADAL" clId="{4E480DD1-6EB6-40E9-AA5D-F0885641F18B}" dt="2022-11-18T10:27:07.551" v="303" actId="790"/>
          <ac:spMkLst>
            <pc:docMk/>
            <pc:sldMk cId="2574806156" sldId="2146849611"/>
            <ac:spMk id="1108" creationId="{838EC58B-AFA4-493E-AE52-7EC50037DC50}"/>
          </ac:spMkLst>
        </pc:spChg>
        <pc:spChg chg="mod">
          <ac:chgData name="Lars Boe Riber" userId="a0746655-6c86-46e8-9fa0-3fdc9fc77da6" providerId="ADAL" clId="{4E480DD1-6EB6-40E9-AA5D-F0885641F18B}" dt="2022-11-18T10:27:07.552" v="304" actId="790"/>
          <ac:spMkLst>
            <pc:docMk/>
            <pc:sldMk cId="2574806156" sldId="2146849611"/>
            <ac:spMk id="1109" creationId="{EE4606B7-5E02-43D3-B012-FD284FE121D7}"/>
          </ac:spMkLst>
        </pc:spChg>
        <pc:spChg chg="mod">
          <ac:chgData name="Lars Boe Riber" userId="a0746655-6c86-46e8-9fa0-3fdc9fc77da6" providerId="ADAL" clId="{4E480DD1-6EB6-40E9-AA5D-F0885641F18B}" dt="2022-11-18T10:27:07.553" v="305" actId="790"/>
          <ac:spMkLst>
            <pc:docMk/>
            <pc:sldMk cId="2574806156" sldId="2146849611"/>
            <ac:spMk id="1110" creationId="{8C732186-6786-4425-A07B-C35AD83B831E}"/>
          </ac:spMkLst>
        </pc:spChg>
        <pc:spChg chg="mod">
          <ac:chgData name="Lars Boe Riber" userId="a0746655-6c86-46e8-9fa0-3fdc9fc77da6" providerId="ADAL" clId="{4E480DD1-6EB6-40E9-AA5D-F0885641F18B}" dt="2022-11-18T10:27:07.553" v="306" actId="790"/>
          <ac:spMkLst>
            <pc:docMk/>
            <pc:sldMk cId="2574806156" sldId="2146849611"/>
            <ac:spMk id="1111" creationId="{DFBBC693-C609-43EB-B31A-C14E524B798B}"/>
          </ac:spMkLst>
        </pc:spChg>
        <pc:spChg chg="mod">
          <ac:chgData name="Lars Boe Riber" userId="a0746655-6c86-46e8-9fa0-3fdc9fc77da6" providerId="ADAL" clId="{4E480DD1-6EB6-40E9-AA5D-F0885641F18B}" dt="2022-11-18T10:27:07.554" v="307" actId="790"/>
          <ac:spMkLst>
            <pc:docMk/>
            <pc:sldMk cId="2574806156" sldId="2146849611"/>
            <ac:spMk id="1112" creationId="{7998E548-FC4F-4ED1-AA11-52E3A0BA9524}"/>
          </ac:spMkLst>
        </pc:spChg>
        <pc:spChg chg="mod">
          <ac:chgData name="Lars Boe Riber" userId="a0746655-6c86-46e8-9fa0-3fdc9fc77da6" providerId="ADAL" clId="{4E480DD1-6EB6-40E9-AA5D-F0885641F18B}" dt="2022-11-18T10:27:07.555" v="308" actId="790"/>
          <ac:spMkLst>
            <pc:docMk/>
            <pc:sldMk cId="2574806156" sldId="2146849611"/>
            <ac:spMk id="1113" creationId="{EE758C70-C96F-46F5-B9D0-ED69D2427AC8}"/>
          </ac:spMkLst>
        </pc:spChg>
        <pc:spChg chg="mod">
          <ac:chgData name="Lars Boe Riber" userId="a0746655-6c86-46e8-9fa0-3fdc9fc77da6" providerId="ADAL" clId="{4E480DD1-6EB6-40E9-AA5D-F0885641F18B}" dt="2022-11-18T10:27:07.555" v="309" actId="790"/>
          <ac:spMkLst>
            <pc:docMk/>
            <pc:sldMk cId="2574806156" sldId="2146849611"/>
            <ac:spMk id="1114" creationId="{B16DFCDF-0E04-4BFB-840F-541875551EFA}"/>
          </ac:spMkLst>
        </pc:spChg>
        <pc:spChg chg="mod">
          <ac:chgData name="Lars Boe Riber" userId="a0746655-6c86-46e8-9fa0-3fdc9fc77da6" providerId="ADAL" clId="{4E480DD1-6EB6-40E9-AA5D-F0885641F18B}" dt="2022-11-18T10:27:07.557" v="310" actId="790"/>
          <ac:spMkLst>
            <pc:docMk/>
            <pc:sldMk cId="2574806156" sldId="2146849611"/>
            <ac:spMk id="1115" creationId="{CA7578DF-6FDC-4023-8C65-019EA94F4E83}"/>
          </ac:spMkLst>
        </pc:spChg>
        <pc:spChg chg="mod">
          <ac:chgData name="Lars Boe Riber" userId="a0746655-6c86-46e8-9fa0-3fdc9fc77da6" providerId="ADAL" clId="{4E480DD1-6EB6-40E9-AA5D-F0885641F18B}" dt="2022-11-18T10:27:07.557" v="311" actId="790"/>
          <ac:spMkLst>
            <pc:docMk/>
            <pc:sldMk cId="2574806156" sldId="2146849611"/>
            <ac:spMk id="1116" creationId="{474D2173-CBFD-468A-9420-1C0F243B036D}"/>
          </ac:spMkLst>
        </pc:spChg>
        <pc:spChg chg="mod">
          <ac:chgData name="Lars Boe Riber" userId="a0746655-6c86-46e8-9fa0-3fdc9fc77da6" providerId="ADAL" clId="{4E480DD1-6EB6-40E9-AA5D-F0885641F18B}" dt="2022-11-18T10:27:07.558" v="312" actId="790"/>
          <ac:spMkLst>
            <pc:docMk/>
            <pc:sldMk cId="2574806156" sldId="2146849611"/>
            <ac:spMk id="1117" creationId="{7CFFE9A4-800D-4754-81DB-62C0D4C09372}"/>
          </ac:spMkLst>
        </pc:spChg>
        <pc:spChg chg="mod">
          <ac:chgData name="Lars Boe Riber" userId="a0746655-6c86-46e8-9fa0-3fdc9fc77da6" providerId="ADAL" clId="{4E480DD1-6EB6-40E9-AA5D-F0885641F18B}" dt="2022-11-18T10:27:07.559" v="313" actId="790"/>
          <ac:spMkLst>
            <pc:docMk/>
            <pc:sldMk cId="2574806156" sldId="2146849611"/>
            <ac:spMk id="1118" creationId="{E1F54F77-1885-4D7C-8AC6-08D6DC8F0104}"/>
          </ac:spMkLst>
        </pc:spChg>
        <pc:spChg chg="mod">
          <ac:chgData name="Lars Boe Riber" userId="a0746655-6c86-46e8-9fa0-3fdc9fc77da6" providerId="ADAL" clId="{4E480DD1-6EB6-40E9-AA5D-F0885641F18B}" dt="2022-11-18T10:27:07.560" v="314" actId="790"/>
          <ac:spMkLst>
            <pc:docMk/>
            <pc:sldMk cId="2574806156" sldId="2146849611"/>
            <ac:spMk id="1119" creationId="{F2763D89-745E-491C-9493-73BCA9435D05}"/>
          </ac:spMkLst>
        </pc:spChg>
        <pc:spChg chg="mod">
          <ac:chgData name="Lars Boe Riber" userId="a0746655-6c86-46e8-9fa0-3fdc9fc77da6" providerId="ADAL" clId="{4E480DD1-6EB6-40E9-AA5D-F0885641F18B}" dt="2022-11-18T10:27:07.561" v="315" actId="790"/>
          <ac:spMkLst>
            <pc:docMk/>
            <pc:sldMk cId="2574806156" sldId="2146849611"/>
            <ac:spMk id="1120" creationId="{6B048EBC-B737-43E7-B2FA-6E025CDF92F1}"/>
          </ac:spMkLst>
        </pc:spChg>
        <pc:spChg chg="mod">
          <ac:chgData name="Lars Boe Riber" userId="a0746655-6c86-46e8-9fa0-3fdc9fc77da6" providerId="ADAL" clId="{4E480DD1-6EB6-40E9-AA5D-F0885641F18B}" dt="2022-11-18T10:27:07.561" v="316" actId="790"/>
          <ac:spMkLst>
            <pc:docMk/>
            <pc:sldMk cId="2574806156" sldId="2146849611"/>
            <ac:spMk id="1121" creationId="{403E54E8-3634-4FC0-B866-8B5756A49AD3}"/>
          </ac:spMkLst>
        </pc:spChg>
        <pc:spChg chg="mod">
          <ac:chgData name="Lars Boe Riber" userId="a0746655-6c86-46e8-9fa0-3fdc9fc77da6" providerId="ADAL" clId="{4E480DD1-6EB6-40E9-AA5D-F0885641F18B}" dt="2022-11-18T10:27:07.562" v="317" actId="790"/>
          <ac:spMkLst>
            <pc:docMk/>
            <pc:sldMk cId="2574806156" sldId="2146849611"/>
            <ac:spMk id="1122" creationId="{BE5A3A40-1A6F-4FB7-BCBE-57BF75D6589E}"/>
          </ac:spMkLst>
        </pc:spChg>
        <pc:spChg chg="mod">
          <ac:chgData name="Lars Boe Riber" userId="a0746655-6c86-46e8-9fa0-3fdc9fc77da6" providerId="ADAL" clId="{4E480DD1-6EB6-40E9-AA5D-F0885641F18B}" dt="2022-11-18T10:27:07.563" v="318" actId="790"/>
          <ac:spMkLst>
            <pc:docMk/>
            <pc:sldMk cId="2574806156" sldId="2146849611"/>
            <ac:spMk id="1123" creationId="{81C2A63B-372F-4401-9276-76CF1459C99D}"/>
          </ac:spMkLst>
        </pc:spChg>
        <pc:spChg chg="mod">
          <ac:chgData name="Lars Boe Riber" userId="a0746655-6c86-46e8-9fa0-3fdc9fc77da6" providerId="ADAL" clId="{4E480DD1-6EB6-40E9-AA5D-F0885641F18B}" dt="2022-11-18T10:27:07.564" v="319" actId="790"/>
          <ac:spMkLst>
            <pc:docMk/>
            <pc:sldMk cId="2574806156" sldId="2146849611"/>
            <ac:spMk id="1124" creationId="{9E28423D-6350-45D2-9040-F91F26ACB608}"/>
          </ac:spMkLst>
        </pc:spChg>
        <pc:spChg chg="mod">
          <ac:chgData name="Lars Boe Riber" userId="a0746655-6c86-46e8-9fa0-3fdc9fc77da6" providerId="ADAL" clId="{4E480DD1-6EB6-40E9-AA5D-F0885641F18B}" dt="2022-11-18T10:27:07.564" v="320" actId="790"/>
          <ac:spMkLst>
            <pc:docMk/>
            <pc:sldMk cId="2574806156" sldId="2146849611"/>
            <ac:spMk id="1125" creationId="{C2FADB8F-CD44-4224-B227-C21EF19CFDAB}"/>
          </ac:spMkLst>
        </pc:spChg>
        <pc:spChg chg="mod">
          <ac:chgData name="Lars Boe Riber" userId="a0746655-6c86-46e8-9fa0-3fdc9fc77da6" providerId="ADAL" clId="{4E480DD1-6EB6-40E9-AA5D-F0885641F18B}" dt="2022-11-18T10:27:07.565" v="321" actId="790"/>
          <ac:spMkLst>
            <pc:docMk/>
            <pc:sldMk cId="2574806156" sldId="2146849611"/>
            <ac:spMk id="1126" creationId="{3ACAA40A-89B0-4DA0-9B27-63C04D5A586F}"/>
          </ac:spMkLst>
        </pc:spChg>
        <pc:spChg chg="mod">
          <ac:chgData name="Lars Boe Riber" userId="a0746655-6c86-46e8-9fa0-3fdc9fc77da6" providerId="ADAL" clId="{4E480DD1-6EB6-40E9-AA5D-F0885641F18B}" dt="2022-11-18T10:27:07.566" v="322" actId="790"/>
          <ac:spMkLst>
            <pc:docMk/>
            <pc:sldMk cId="2574806156" sldId="2146849611"/>
            <ac:spMk id="1127" creationId="{95118139-A6FF-44C2-8581-DA9AEB2E59B3}"/>
          </ac:spMkLst>
        </pc:spChg>
        <pc:spChg chg="mod">
          <ac:chgData name="Lars Boe Riber" userId="a0746655-6c86-46e8-9fa0-3fdc9fc77da6" providerId="ADAL" clId="{4E480DD1-6EB6-40E9-AA5D-F0885641F18B}" dt="2022-11-18T10:27:07.567" v="323" actId="790"/>
          <ac:spMkLst>
            <pc:docMk/>
            <pc:sldMk cId="2574806156" sldId="2146849611"/>
            <ac:spMk id="1128" creationId="{8576BDCE-5917-410C-9B71-2C67414F829D}"/>
          </ac:spMkLst>
        </pc:spChg>
        <pc:spChg chg="mod">
          <ac:chgData name="Lars Boe Riber" userId="a0746655-6c86-46e8-9fa0-3fdc9fc77da6" providerId="ADAL" clId="{4E480DD1-6EB6-40E9-AA5D-F0885641F18B}" dt="2022-11-18T10:27:07.567" v="324" actId="790"/>
          <ac:spMkLst>
            <pc:docMk/>
            <pc:sldMk cId="2574806156" sldId="2146849611"/>
            <ac:spMk id="1129" creationId="{E1EF0F13-F417-4BD7-8EE3-0C9D5F67BD9C}"/>
          </ac:spMkLst>
        </pc:spChg>
        <pc:spChg chg="mod">
          <ac:chgData name="Lars Boe Riber" userId="a0746655-6c86-46e8-9fa0-3fdc9fc77da6" providerId="ADAL" clId="{4E480DD1-6EB6-40E9-AA5D-F0885641F18B}" dt="2022-11-18T10:27:07.568" v="325" actId="790"/>
          <ac:spMkLst>
            <pc:docMk/>
            <pc:sldMk cId="2574806156" sldId="2146849611"/>
            <ac:spMk id="1130" creationId="{A7E69930-3954-40FE-A2A3-9581124D5095}"/>
          </ac:spMkLst>
        </pc:spChg>
        <pc:spChg chg="mod">
          <ac:chgData name="Lars Boe Riber" userId="a0746655-6c86-46e8-9fa0-3fdc9fc77da6" providerId="ADAL" clId="{4E480DD1-6EB6-40E9-AA5D-F0885641F18B}" dt="2022-11-18T10:27:07.569" v="326" actId="790"/>
          <ac:spMkLst>
            <pc:docMk/>
            <pc:sldMk cId="2574806156" sldId="2146849611"/>
            <ac:spMk id="1131" creationId="{B2DE6B0B-57A9-4532-8863-AD7C0D05BD99}"/>
          </ac:spMkLst>
        </pc:spChg>
        <pc:spChg chg="mod">
          <ac:chgData name="Lars Boe Riber" userId="a0746655-6c86-46e8-9fa0-3fdc9fc77da6" providerId="ADAL" clId="{4E480DD1-6EB6-40E9-AA5D-F0885641F18B}" dt="2022-11-18T10:27:07.570" v="327" actId="790"/>
          <ac:spMkLst>
            <pc:docMk/>
            <pc:sldMk cId="2574806156" sldId="2146849611"/>
            <ac:spMk id="1132" creationId="{24D0F1AA-606E-412B-9304-A6938E7A3780}"/>
          </ac:spMkLst>
        </pc:spChg>
        <pc:spChg chg="mod">
          <ac:chgData name="Lars Boe Riber" userId="a0746655-6c86-46e8-9fa0-3fdc9fc77da6" providerId="ADAL" clId="{4E480DD1-6EB6-40E9-AA5D-F0885641F18B}" dt="2022-11-18T10:27:07.570" v="328" actId="790"/>
          <ac:spMkLst>
            <pc:docMk/>
            <pc:sldMk cId="2574806156" sldId="2146849611"/>
            <ac:spMk id="1133" creationId="{D4832CA7-0525-4DAA-B089-3AE7E19C2F64}"/>
          </ac:spMkLst>
        </pc:spChg>
        <pc:spChg chg="mod">
          <ac:chgData name="Lars Boe Riber" userId="a0746655-6c86-46e8-9fa0-3fdc9fc77da6" providerId="ADAL" clId="{4E480DD1-6EB6-40E9-AA5D-F0885641F18B}" dt="2022-11-18T10:27:07.571" v="329" actId="790"/>
          <ac:spMkLst>
            <pc:docMk/>
            <pc:sldMk cId="2574806156" sldId="2146849611"/>
            <ac:spMk id="1134" creationId="{844B0DD1-9EFE-4588-9E04-84A0C0A7CBE4}"/>
          </ac:spMkLst>
        </pc:spChg>
        <pc:spChg chg="mod">
          <ac:chgData name="Lars Boe Riber" userId="a0746655-6c86-46e8-9fa0-3fdc9fc77da6" providerId="ADAL" clId="{4E480DD1-6EB6-40E9-AA5D-F0885641F18B}" dt="2022-11-18T10:27:07.573" v="330" actId="790"/>
          <ac:spMkLst>
            <pc:docMk/>
            <pc:sldMk cId="2574806156" sldId="2146849611"/>
            <ac:spMk id="1135" creationId="{D828FB9E-F26E-4F00-A3AB-DBADBB7D7405}"/>
          </ac:spMkLst>
        </pc:spChg>
        <pc:spChg chg="mod">
          <ac:chgData name="Lars Boe Riber" userId="a0746655-6c86-46e8-9fa0-3fdc9fc77da6" providerId="ADAL" clId="{4E480DD1-6EB6-40E9-AA5D-F0885641F18B}" dt="2022-11-18T10:27:07.574" v="331" actId="790"/>
          <ac:spMkLst>
            <pc:docMk/>
            <pc:sldMk cId="2574806156" sldId="2146849611"/>
            <ac:spMk id="1136" creationId="{AD8B313E-7805-476F-8FFA-0FF25B7E8C87}"/>
          </ac:spMkLst>
        </pc:spChg>
        <pc:spChg chg="mod">
          <ac:chgData name="Lars Boe Riber" userId="a0746655-6c86-46e8-9fa0-3fdc9fc77da6" providerId="ADAL" clId="{4E480DD1-6EB6-40E9-AA5D-F0885641F18B}" dt="2022-11-18T10:27:07.575" v="332" actId="790"/>
          <ac:spMkLst>
            <pc:docMk/>
            <pc:sldMk cId="2574806156" sldId="2146849611"/>
            <ac:spMk id="1137" creationId="{CD49F2BD-E329-4451-A197-E060C9AA048E}"/>
          </ac:spMkLst>
        </pc:spChg>
        <pc:spChg chg="mod">
          <ac:chgData name="Lars Boe Riber" userId="a0746655-6c86-46e8-9fa0-3fdc9fc77da6" providerId="ADAL" clId="{4E480DD1-6EB6-40E9-AA5D-F0885641F18B}" dt="2022-11-18T10:27:07.576" v="333" actId="790"/>
          <ac:spMkLst>
            <pc:docMk/>
            <pc:sldMk cId="2574806156" sldId="2146849611"/>
            <ac:spMk id="1138" creationId="{40FD687E-A84B-4834-BE63-227757D994B5}"/>
          </ac:spMkLst>
        </pc:spChg>
        <pc:spChg chg="mod">
          <ac:chgData name="Lars Boe Riber" userId="a0746655-6c86-46e8-9fa0-3fdc9fc77da6" providerId="ADAL" clId="{4E480DD1-6EB6-40E9-AA5D-F0885641F18B}" dt="2022-11-18T10:27:07.577" v="334" actId="790"/>
          <ac:spMkLst>
            <pc:docMk/>
            <pc:sldMk cId="2574806156" sldId="2146849611"/>
            <ac:spMk id="1139" creationId="{9FB17FBC-2274-4F1D-A00F-2B235200A263}"/>
          </ac:spMkLst>
        </pc:spChg>
        <pc:spChg chg="mod">
          <ac:chgData name="Lars Boe Riber" userId="a0746655-6c86-46e8-9fa0-3fdc9fc77da6" providerId="ADAL" clId="{4E480DD1-6EB6-40E9-AA5D-F0885641F18B}" dt="2022-11-18T10:27:07.578" v="335" actId="790"/>
          <ac:spMkLst>
            <pc:docMk/>
            <pc:sldMk cId="2574806156" sldId="2146849611"/>
            <ac:spMk id="1140" creationId="{622B095E-51F7-474F-AAA5-D42A76666785}"/>
          </ac:spMkLst>
        </pc:spChg>
        <pc:spChg chg="mod">
          <ac:chgData name="Lars Boe Riber" userId="a0746655-6c86-46e8-9fa0-3fdc9fc77da6" providerId="ADAL" clId="{4E480DD1-6EB6-40E9-AA5D-F0885641F18B}" dt="2022-11-18T10:27:07.579" v="336" actId="790"/>
          <ac:spMkLst>
            <pc:docMk/>
            <pc:sldMk cId="2574806156" sldId="2146849611"/>
            <ac:spMk id="1141" creationId="{B2026E2A-481A-4862-8571-0690E8F23DEF}"/>
          </ac:spMkLst>
        </pc:spChg>
        <pc:spChg chg="mod">
          <ac:chgData name="Lars Boe Riber" userId="a0746655-6c86-46e8-9fa0-3fdc9fc77da6" providerId="ADAL" clId="{4E480DD1-6EB6-40E9-AA5D-F0885641F18B}" dt="2022-11-18T10:27:07.580" v="337" actId="790"/>
          <ac:spMkLst>
            <pc:docMk/>
            <pc:sldMk cId="2574806156" sldId="2146849611"/>
            <ac:spMk id="1142" creationId="{B13A8100-BC00-4816-A1C7-1DA8D2697492}"/>
          </ac:spMkLst>
        </pc:spChg>
        <pc:spChg chg="mod">
          <ac:chgData name="Lars Boe Riber" userId="a0746655-6c86-46e8-9fa0-3fdc9fc77da6" providerId="ADAL" clId="{4E480DD1-6EB6-40E9-AA5D-F0885641F18B}" dt="2022-11-18T10:27:07.581" v="338" actId="790"/>
          <ac:spMkLst>
            <pc:docMk/>
            <pc:sldMk cId="2574806156" sldId="2146849611"/>
            <ac:spMk id="1143" creationId="{FB2F5492-5CC5-44D6-9A93-A25FC2A7F9AE}"/>
          </ac:spMkLst>
        </pc:spChg>
        <pc:spChg chg="mod">
          <ac:chgData name="Lars Boe Riber" userId="a0746655-6c86-46e8-9fa0-3fdc9fc77da6" providerId="ADAL" clId="{4E480DD1-6EB6-40E9-AA5D-F0885641F18B}" dt="2022-11-18T10:27:07.581" v="339" actId="790"/>
          <ac:spMkLst>
            <pc:docMk/>
            <pc:sldMk cId="2574806156" sldId="2146849611"/>
            <ac:spMk id="1144" creationId="{D2506262-FA6D-409E-B512-28D6F8C537CB}"/>
          </ac:spMkLst>
        </pc:spChg>
        <pc:spChg chg="mod">
          <ac:chgData name="Lars Boe Riber" userId="a0746655-6c86-46e8-9fa0-3fdc9fc77da6" providerId="ADAL" clId="{4E480DD1-6EB6-40E9-AA5D-F0885641F18B}" dt="2022-11-18T10:27:07.582" v="340" actId="790"/>
          <ac:spMkLst>
            <pc:docMk/>
            <pc:sldMk cId="2574806156" sldId="2146849611"/>
            <ac:spMk id="1145" creationId="{252FDD83-E3E6-44A7-A8AA-3D62BF9952E6}"/>
          </ac:spMkLst>
        </pc:spChg>
        <pc:spChg chg="mod">
          <ac:chgData name="Lars Boe Riber" userId="a0746655-6c86-46e8-9fa0-3fdc9fc77da6" providerId="ADAL" clId="{4E480DD1-6EB6-40E9-AA5D-F0885641F18B}" dt="2022-11-18T10:27:07.583" v="341" actId="790"/>
          <ac:spMkLst>
            <pc:docMk/>
            <pc:sldMk cId="2574806156" sldId="2146849611"/>
            <ac:spMk id="1146" creationId="{45D6A361-7A5B-4289-B7A5-8C7AF711B216}"/>
          </ac:spMkLst>
        </pc:spChg>
        <pc:spChg chg="mod">
          <ac:chgData name="Lars Boe Riber" userId="a0746655-6c86-46e8-9fa0-3fdc9fc77da6" providerId="ADAL" clId="{4E480DD1-6EB6-40E9-AA5D-F0885641F18B}" dt="2022-11-18T10:27:07.584" v="342" actId="790"/>
          <ac:spMkLst>
            <pc:docMk/>
            <pc:sldMk cId="2574806156" sldId="2146849611"/>
            <ac:spMk id="1147" creationId="{DF8FA55E-3B65-42F0-87C5-CF7B9FFC6967}"/>
          </ac:spMkLst>
        </pc:spChg>
        <pc:spChg chg="mod">
          <ac:chgData name="Lars Boe Riber" userId="a0746655-6c86-46e8-9fa0-3fdc9fc77da6" providerId="ADAL" clId="{4E480DD1-6EB6-40E9-AA5D-F0885641F18B}" dt="2022-11-18T10:27:07.585" v="343" actId="790"/>
          <ac:spMkLst>
            <pc:docMk/>
            <pc:sldMk cId="2574806156" sldId="2146849611"/>
            <ac:spMk id="1148" creationId="{76E564DA-DC90-493C-B6A9-1EE16F7F8115}"/>
          </ac:spMkLst>
        </pc:spChg>
        <pc:spChg chg="mod">
          <ac:chgData name="Lars Boe Riber" userId="a0746655-6c86-46e8-9fa0-3fdc9fc77da6" providerId="ADAL" clId="{4E480DD1-6EB6-40E9-AA5D-F0885641F18B}" dt="2022-11-18T10:27:07.585" v="344" actId="790"/>
          <ac:spMkLst>
            <pc:docMk/>
            <pc:sldMk cId="2574806156" sldId="2146849611"/>
            <ac:spMk id="1149" creationId="{C27C4329-4ACF-4729-828A-2DCBE8C3BBCE}"/>
          </ac:spMkLst>
        </pc:spChg>
        <pc:spChg chg="mod">
          <ac:chgData name="Lars Boe Riber" userId="a0746655-6c86-46e8-9fa0-3fdc9fc77da6" providerId="ADAL" clId="{4E480DD1-6EB6-40E9-AA5D-F0885641F18B}" dt="2022-11-18T10:27:07.586" v="345" actId="790"/>
          <ac:spMkLst>
            <pc:docMk/>
            <pc:sldMk cId="2574806156" sldId="2146849611"/>
            <ac:spMk id="1150" creationId="{DC317105-180D-415D-AB7E-55C7EE0C763C}"/>
          </ac:spMkLst>
        </pc:spChg>
        <pc:spChg chg="mod">
          <ac:chgData name="Lars Boe Riber" userId="a0746655-6c86-46e8-9fa0-3fdc9fc77da6" providerId="ADAL" clId="{4E480DD1-6EB6-40E9-AA5D-F0885641F18B}" dt="2022-11-18T10:27:07.587" v="346" actId="790"/>
          <ac:spMkLst>
            <pc:docMk/>
            <pc:sldMk cId="2574806156" sldId="2146849611"/>
            <ac:spMk id="1151" creationId="{FB43BD8F-9ACC-43A2-AB22-0F9B93A1E9D1}"/>
          </ac:spMkLst>
        </pc:spChg>
        <pc:spChg chg="mod">
          <ac:chgData name="Lars Boe Riber" userId="a0746655-6c86-46e8-9fa0-3fdc9fc77da6" providerId="ADAL" clId="{4E480DD1-6EB6-40E9-AA5D-F0885641F18B}" dt="2022-11-18T10:27:07.588" v="347" actId="790"/>
          <ac:spMkLst>
            <pc:docMk/>
            <pc:sldMk cId="2574806156" sldId="2146849611"/>
            <ac:spMk id="1152" creationId="{55BBFF55-8C56-4F1B-B0E7-6E6B05BAE6E3}"/>
          </ac:spMkLst>
        </pc:spChg>
        <pc:spChg chg="mod">
          <ac:chgData name="Lars Boe Riber" userId="a0746655-6c86-46e8-9fa0-3fdc9fc77da6" providerId="ADAL" clId="{4E480DD1-6EB6-40E9-AA5D-F0885641F18B}" dt="2022-11-18T10:27:07.589" v="348" actId="790"/>
          <ac:spMkLst>
            <pc:docMk/>
            <pc:sldMk cId="2574806156" sldId="2146849611"/>
            <ac:spMk id="1153" creationId="{63FB2660-7067-4D83-866D-23ADE5765FFF}"/>
          </ac:spMkLst>
        </pc:spChg>
        <pc:spChg chg="mod">
          <ac:chgData name="Lars Boe Riber" userId="a0746655-6c86-46e8-9fa0-3fdc9fc77da6" providerId="ADAL" clId="{4E480DD1-6EB6-40E9-AA5D-F0885641F18B}" dt="2022-11-18T10:27:07.589" v="349" actId="790"/>
          <ac:spMkLst>
            <pc:docMk/>
            <pc:sldMk cId="2574806156" sldId="2146849611"/>
            <ac:spMk id="1154" creationId="{DA305F40-0EE8-476C-9DBF-626DF2AC0B90}"/>
          </ac:spMkLst>
        </pc:spChg>
        <pc:spChg chg="mod">
          <ac:chgData name="Lars Boe Riber" userId="a0746655-6c86-46e8-9fa0-3fdc9fc77da6" providerId="ADAL" clId="{4E480DD1-6EB6-40E9-AA5D-F0885641F18B}" dt="2022-11-18T10:27:07.590" v="350" actId="790"/>
          <ac:spMkLst>
            <pc:docMk/>
            <pc:sldMk cId="2574806156" sldId="2146849611"/>
            <ac:spMk id="1155" creationId="{D144D049-B5EE-4A2F-9BE8-075BDAB180E0}"/>
          </ac:spMkLst>
        </pc:spChg>
        <pc:spChg chg="mod">
          <ac:chgData name="Lars Boe Riber" userId="a0746655-6c86-46e8-9fa0-3fdc9fc77da6" providerId="ADAL" clId="{4E480DD1-6EB6-40E9-AA5D-F0885641F18B}" dt="2022-11-18T10:27:07.591" v="351" actId="790"/>
          <ac:spMkLst>
            <pc:docMk/>
            <pc:sldMk cId="2574806156" sldId="2146849611"/>
            <ac:spMk id="1156" creationId="{267F8BC2-0F72-42BA-859E-FA77AAC4C23C}"/>
          </ac:spMkLst>
        </pc:spChg>
        <pc:spChg chg="mod">
          <ac:chgData name="Lars Boe Riber" userId="a0746655-6c86-46e8-9fa0-3fdc9fc77da6" providerId="ADAL" clId="{4E480DD1-6EB6-40E9-AA5D-F0885641F18B}" dt="2022-11-18T10:27:07.591" v="352" actId="790"/>
          <ac:spMkLst>
            <pc:docMk/>
            <pc:sldMk cId="2574806156" sldId="2146849611"/>
            <ac:spMk id="1157" creationId="{60EDAEBE-1940-45FF-8F95-0D31BB382877}"/>
          </ac:spMkLst>
        </pc:spChg>
        <pc:spChg chg="mod">
          <ac:chgData name="Lars Boe Riber" userId="a0746655-6c86-46e8-9fa0-3fdc9fc77da6" providerId="ADAL" clId="{4E480DD1-6EB6-40E9-AA5D-F0885641F18B}" dt="2022-11-18T10:27:07.592" v="353" actId="790"/>
          <ac:spMkLst>
            <pc:docMk/>
            <pc:sldMk cId="2574806156" sldId="2146849611"/>
            <ac:spMk id="1158" creationId="{CECD93CD-4E73-49F2-A3DB-1E5FF8657D7B}"/>
          </ac:spMkLst>
        </pc:spChg>
        <pc:spChg chg="mod">
          <ac:chgData name="Lars Boe Riber" userId="a0746655-6c86-46e8-9fa0-3fdc9fc77da6" providerId="ADAL" clId="{4E480DD1-6EB6-40E9-AA5D-F0885641F18B}" dt="2022-11-18T10:27:07.593" v="354" actId="790"/>
          <ac:spMkLst>
            <pc:docMk/>
            <pc:sldMk cId="2574806156" sldId="2146849611"/>
            <ac:spMk id="1159" creationId="{0F86B3AF-7849-4882-A112-057B343BBB82}"/>
          </ac:spMkLst>
        </pc:spChg>
        <pc:spChg chg="mod">
          <ac:chgData name="Lars Boe Riber" userId="a0746655-6c86-46e8-9fa0-3fdc9fc77da6" providerId="ADAL" clId="{4E480DD1-6EB6-40E9-AA5D-F0885641F18B}" dt="2022-11-18T10:27:07.594" v="355" actId="790"/>
          <ac:spMkLst>
            <pc:docMk/>
            <pc:sldMk cId="2574806156" sldId="2146849611"/>
            <ac:spMk id="1160" creationId="{2DDA3293-43ED-4D7B-8135-A08C229B4585}"/>
          </ac:spMkLst>
        </pc:spChg>
        <pc:spChg chg="mod">
          <ac:chgData name="Lars Boe Riber" userId="a0746655-6c86-46e8-9fa0-3fdc9fc77da6" providerId="ADAL" clId="{4E480DD1-6EB6-40E9-AA5D-F0885641F18B}" dt="2022-11-18T10:27:07.594" v="356" actId="790"/>
          <ac:spMkLst>
            <pc:docMk/>
            <pc:sldMk cId="2574806156" sldId="2146849611"/>
            <ac:spMk id="1161" creationId="{FBDAC761-888C-415D-AC2D-3A180C4ACCF1}"/>
          </ac:spMkLst>
        </pc:spChg>
        <pc:spChg chg="mod">
          <ac:chgData name="Lars Boe Riber" userId="a0746655-6c86-46e8-9fa0-3fdc9fc77da6" providerId="ADAL" clId="{4E480DD1-6EB6-40E9-AA5D-F0885641F18B}" dt="2022-11-18T10:27:07.595" v="357" actId="790"/>
          <ac:spMkLst>
            <pc:docMk/>
            <pc:sldMk cId="2574806156" sldId="2146849611"/>
            <ac:spMk id="1162" creationId="{426EF6CE-0883-4900-83E4-365AAC7D77F7}"/>
          </ac:spMkLst>
        </pc:spChg>
        <pc:spChg chg="mod">
          <ac:chgData name="Lars Boe Riber" userId="a0746655-6c86-46e8-9fa0-3fdc9fc77da6" providerId="ADAL" clId="{4E480DD1-6EB6-40E9-AA5D-F0885641F18B}" dt="2022-11-18T10:27:07.596" v="358" actId="790"/>
          <ac:spMkLst>
            <pc:docMk/>
            <pc:sldMk cId="2574806156" sldId="2146849611"/>
            <ac:spMk id="1163" creationId="{C0DEAB56-A9C2-4822-8F68-C90B20E42926}"/>
          </ac:spMkLst>
        </pc:spChg>
        <pc:spChg chg="mod">
          <ac:chgData name="Lars Boe Riber" userId="a0746655-6c86-46e8-9fa0-3fdc9fc77da6" providerId="ADAL" clId="{4E480DD1-6EB6-40E9-AA5D-F0885641F18B}" dt="2022-11-18T10:27:07.597" v="359" actId="790"/>
          <ac:spMkLst>
            <pc:docMk/>
            <pc:sldMk cId="2574806156" sldId="2146849611"/>
            <ac:spMk id="1164" creationId="{6BE67C37-00E5-408D-86B8-3B4C65AD0F6A}"/>
          </ac:spMkLst>
        </pc:spChg>
        <pc:spChg chg="mod">
          <ac:chgData name="Lars Boe Riber" userId="a0746655-6c86-46e8-9fa0-3fdc9fc77da6" providerId="ADAL" clId="{4E480DD1-6EB6-40E9-AA5D-F0885641F18B}" dt="2022-11-18T10:27:07.597" v="360" actId="790"/>
          <ac:spMkLst>
            <pc:docMk/>
            <pc:sldMk cId="2574806156" sldId="2146849611"/>
            <ac:spMk id="1165" creationId="{254BC08E-6E24-4325-BC04-91CD5B8DB869}"/>
          </ac:spMkLst>
        </pc:spChg>
        <pc:spChg chg="mod">
          <ac:chgData name="Lars Boe Riber" userId="a0746655-6c86-46e8-9fa0-3fdc9fc77da6" providerId="ADAL" clId="{4E480DD1-6EB6-40E9-AA5D-F0885641F18B}" dt="2022-11-18T10:27:07.598" v="361" actId="790"/>
          <ac:spMkLst>
            <pc:docMk/>
            <pc:sldMk cId="2574806156" sldId="2146849611"/>
            <ac:spMk id="1166" creationId="{3F9C2B4F-C2CA-42FF-B879-B42E8D067FF8}"/>
          </ac:spMkLst>
        </pc:spChg>
        <pc:spChg chg="mod">
          <ac:chgData name="Lars Boe Riber" userId="a0746655-6c86-46e8-9fa0-3fdc9fc77da6" providerId="ADAL" clId="{4E480DD1-6EB6-40E9-AA5D-F0885641F18B}" dt="2022-11-18T10:27:07.599" v="362" actId="790"/>
          <ac:spMkLst>
            <pc:docMk/>
            <pc:sldMk cId="2574806156" sldId="2146849611"/>
            <ac:spMk id="1167" creationId="{9FABCF8F-8E16-4301-AA40-D4E188C7606C}"/>
          </ac:spMkLst>
        </pc:spChg>
        <pc:spChg chg="mod">
          <ac:chgData name="Lars Boe Riber" userId="a0746655-6c86-46e8-9fa0-3fdc9fc77da6" providerId="ADAL" clId="{4E480DD1-6EB6-40E9-AA5D-F0885641F18B}" dt="2022-11-18T10:27:07.600" v="363" actId="790"/>
          <ac:spMkLst>
            <pc:docMk/>
            <pc:sldMk cId="2574806156" sldId="2146849611"/>
            <ac:spMk id="1168" creationId="{9EF9C575-EB53-47A9-94FE-87EE519D907C}"/>
          </ac:spMkLst>
        </pc:spChg>
        <pc:spChg chg="mod">
          <ac:chgData name="Lars Boe Riber" userId="a0746655-6c86-46e8-9fa0-3fdc9fc77da6" providerId="ADAL" clId="{4E480DD1-6EB6-40E9-AA5D-F0885641F18B}" dt="2022-11-18T10:27:07.600" v="364" actId="790"/>
          <ac:spMkLst>
            <pc:docMk/>
            <pc:sldMk cId="2574806156" sldId="2146849611"/>
            <ac:spMk id="1169" creationId="{84B01861-441F-4BCF-BB90-A16AFC649226}"/>
          </ac:spMkLst>
        </pc:spChg>
        <pc:spChg chg="mod">
          <ac:chgData name="Lars Boe Riber" userId="a0746655-6c86-46e8-9fa0-3fdc9fc77da6" providerId="ADAL" clId="{4E480DD1-6EB6-40E9-AA5D-F0885641F18B}" dt="2022-11-18T10:27:07.601" v="365" actId="790"/>
          <ac:spMkLst>
            <pc:docMk/>
            <pc:sldMk cId="2574806156" sldId="2146849611"/>
            <ac:spMk id="1170" creationId="{E7B87C43-A114-4397-AFFE-90819831A5B1}"/>
          </ac:spMkLst>
        </pc:spChg>
        <pc:spChg chg="mod">
          <ac:chgData name="Lars Boe Riber" userId="a0746655-6c86-46e8-9fa0-3fdc9fc77da6" providerId="ADAL" clId="{4E480DD1-6EB6-40E9-AA5D-F0885641F18B}" dt="2022-11-18T10:27:07.602" v="366" actId="790"/>
          <ac:spMkLst>
            <pc:docMk/>
            <pc:sldMk cId="2574806156" sldId="2146849611"/>
            <ac:spMk id="1171" creationId="{7CCFEA83-DF3F-4EE5-86CC-B8AE1B8FE93F}"/>
          </ac:spMkLst>
        </pc:spChg>
        <pc:spChg chg="mod">
          <ac:chgData name="Lars Boe Riber" userId="a0746655-6c86-46e8-9fa0-3fdc9fc77da6" providerId="ADAL" clId="{4E480DD1-6EB6-40E9-AA5D-F0885641F18B}" dt="2022-11-18T10:27:07.603" v="367" actId="790"/>
          <ac:spMkLst>
            <pc:docMk/>
            <pc:sldMk cId="2574806156" sldId="2146849611"/>
            <ac:spMk id="1172" creationId="{6E23E979-6C8C-44A9-8563-66F6337B1B9A}"/>
          </ac:spMkLst>
        </pc:spChg>
        <pc:spChg chg="mod">
          <ac:chgData name="Lars Boe Riber" userId="a0746655-6c86-46e8-9fa0-3fdc9fc77da6" providerId="ADAL" clId="{4E480DD1-6EB6-40E9-AA5D-F0885641F18B}" dt="2022-11-18T10:27:07.604" v="368" actId="790"/>
          <ac:spMkLst>
            <pc:docMk/>
            <pc:sldMk cId="2574806156" sldId="2146849611"/>
            <ac:spMk id="1173" creationId="{A86FA0B2-D1AA-42F6-BF44-3A6EA10EB60B}"/>
          </ac:spMkLst>
        </pc:spChg>
        <pc:spChg chg="mod">
          <ac:chgData name="Lars Boe Riber" userId="a0746655-6c86-46e8-9fa0-3fdc9fc77da6" providerId="ADAL" clId="{4E480DD1-6EB6-40E9-AA5D-F0885641F18B}" dt="2022-11-18T10:27:07.605" v="369" actId="790"/>
          <ac:spMkLst>
            <pc:docMk/>
            <pc:sldMk cId="2574806156" sldId="2146849611"/>
            <ac:spMk id="1174" creationId="{4FB8B2BF-1D1D-432C-B5E4-5985DFC49E41}"/>
          </ac:spMkLst>
        </pc:spChg>
        <pc:spChg chg="mod">
          <ac:chgData name="Lars Boe Riber" userId="a0746655-6c86-46e8-9fa0-3fdc9fc77da6" providerId="ADAL" clId="{4E480DD1-6EB6-40E9-AA5D-F0885641F18B}" dt="2022-11-18T10:27:07.606" v="370" actId="790"/>
          <ac:spMkLst>
            <pc:docMk/>
            <pc:sldMk cId="2574806156" sldId="2146849611"/>
            <ac:spMk id="1175" creationId="{FB70AECF-12B2-468B-9988-F8BDDDCB37B1}"/>
          </ac:spMkLst>
        </pc:spChg>
        <pc:spChg chg="mod">
          <ac:chgData name="Lars Boe Riber" userId="a0746655-6c86-46e8-9fa0-3fdc9fc77da6" providerId="ADAL" clId="{4E480DD1-6EB6-40E9-AA5D-F0885641F18B}" dt="2022-11-18T10:27:07.607" v="371" actId="790"/>
          <ac:spMkLst>
            <pc:docMk/>
            <pc:sldMk cId="2574806156" sldId="2146849611"/>
            <ac:spMk id="1176" creationId="{B74D8D9A-A9F6-4B0E-A1D5-7566EE47E284}"/>
          </ac:spMkLst>
        </pc:spChg>
        <pc:spChg chg="mod">
          <ac:chgData name="Lars Boe Riber" userId="a0746655-6c86-46e8-9fa0-3fdc9fc77da6" providerId="ADAL" clId="{4E480DD1-6EB6-40E9-AA5D-F0885641F18B}" dt="2022-11-18T10:27:07.607" v="372" actId="790"/>
          <ac:spMkLst>
            <pc:docMk/>
            <pc:sldMk cId="2574806156" sldId="2146849611"/>
            <ac:spMk id="1177" creationId="{361A5CDB-98AA-4AF9-9786-8A3C5FD73DF1}"/>
          </ac:spMkLst>
        </pc:spChg>
        <pc:spChg chg="mod">
          <ac:chgData name="Lars Boe Riber" userId="a0746655-6c86-46e8-9fa0-3fdc9fc77da6" providerId="ADAL" clId="{4E480DD1-6EB6-40E9-AA5D-F0885641F18B}" dt="2022-11-18T10:27:07.608" v="373" actId="790"/>
          <ac:spMkLst>
            <pc:docMk/>
            <pc:sldMk cId="2574806156" sldId="2146849611"/>
            <ac:spMk id="1178" creationId="{B8EFDD50-38E8-42AD-B900-1B9E0C7DED92}"/>
          </ac:spMkLst>
        </pc:spChg>
        <pc:spChg chg="mod">
          <ac:chgData name="Lars Boe Riber" userId="a0746655-6c86-46e8-9fa0-3fdc9fc77da6" providerId="ADAL" clId="{4E480DD1-6EB6-40E9-AA5D-F0885641F18B}" dt="2022-11-18T10:27:07.609" v="374" actId="790"/>
          <ac:spMkLst>
            <pc:docMk/>
            <pc:sldMk cId="2574806156" sldId="2146849611"/>
            <ac:spMk id="1179" creationId="{72C46AB5-EFE1-469D-97DC-41279E9A2D6B}"/>
          </ac:spMkLst>
        </pc:spChg>
        <pc:spChg chg="mod">
          <ac:chgData name="Lars Boe Riber" userId="a0746655-6c86-46e8-9fa0-3fdc9fc77da6" providerId="ADAL" clId="{4E480DD1-6EB6-40E9-AA5D-F0885641F18B}" dt="2022-11-18T10:27:07.610" v="375" actId="790"/>
          <ac:spMkLst>
            <pc:docMk/>
            <pc:sldMk cId="2574806156" sldId="2146849611"/>
            <ac:spMk id="1180" creationId="{7382B44F-A69F-4C0A-9EEB-D951BF1E043A}"/>
          </ac:spMkLst>
        </pc:spChg>
        <pc:spChg chg="mod">
          <ac:chgData name="Lars Boe Riber" userId="a0746655-6c86-46e8-9fa0-3fdc9fc77da6" providerId="ADAL" clId="{4E480DD1-6EB6-40E9-AA5D-F0885641F18B}" dt="2022-11-18T10:27:07.611" v="376" actId="790"/>
          <ac:spMkLst>
            <pc:docMk/>
            <pc:sldMk cId="2574806156" sldId="2146849611"/>
            <ac:spMk id="1181" creationId="{9D481E18-BED0-476E-8360-C3A217E2BA43}"/>
          </ac:spMkLst>
        </pc:spChg>
        <pc:spChg chg="mod">
          <ac:chgData name="Lars Boe Riber" userId="a0746655-6c86-46e8-9fa0-3fdc9fc77da6" providerId="ADAL" clId="{4E480DD1-6EB6-40E9-AA5D-F0885641F18B}" dt="2022-11-18T10:27:07.611" v="377" actId="790"/>
          <ac:spMkLst>
            <pc:docMk/>
            <pc:sldMk cId="2574806156" sldId="2146849611"/>
            <ac:spMk id="1182" creationId="{A9109037-BB53-4602-A141-1BF26E8EB682}"/>
          </ac:spMkLst>
        </pc:spChg>
        <pc:spChg chg="mod">
          <ac:chgData name="Lars Boe Riber" userId="a0746655-6c86-46e8-9fa0-3fdc9fc77da6" providerId="ADAL" clId="{4E480DD1-6EB6-40E9-AA5D-F0885641F18B}" dt="2022-11-18T10:27:07.612" v="378" actId="790"/>
          <ac:spMkLst>
            <pc:docMk/>
            <pc:sldMk cId="2574806156" sldId="2146849611"/>
            <ac:spMk id="1183" creationId="{12C07192-66A2-4172-B45E-862A1C1508DC}"/>
          </ac:spMkLst>
        </pc:spChg>
        <pc:spChg chg="mod">
          <ac:chgData name="Lars Boe Riber" userId="a0746655-6c86-46e8-9fa0-3fdc9fc77da6" providerId="ADAL" clId="{4E480DD1-6EB6-40E9-AA5D-F0885641F18B}" dt="2022-11-18T10:27:07.613" v="379" actId="790"/>
          <ac:spMkLst>
            <pc:docMk/>
            <pc:sldMk cId="2574806156" sldId="2146849611"/>
            <ac:spMk id="1184" creationId="{FF04B262-D475-474A-A055-0548E8270535}"/>
          </ac:spMkLst>
        </pc:spChg>
        <pc:spChg chg="mod">
          <ac:chgData name="Lars Boe Riber" userId="a0746655-6c86-46e8-9fa0-3fdc9fc77da6" providerId="ADAL" clId="{4E480DD1-6EB6-40E9-AA5D-F0885641F18B}" dt="2022-11-18T10:27:07.613" v="380" actId="790"/>
          <ac:spMkLst>
            <pc:docMk/>
            <pc:sldMk cId="2574806156" sldId="2146849611"/>
            <ac:spMk id="1185" creationId="{CC9661E0-ED23-4140-8D83-F8727E47D29A}"/>
          </ac:spMkLst>
        </pc:spChg>
        <pc:spChg chg="mod">
          <ac:chgData name="Lars Boe Riber" userId="a0746655-6c86-46e8-9fa0-3fdc9fc77da6" providerId="ADAL" clId="{4E480DD1-6EB6-40E9-AA5D-F0885641F18B}" dt="2022-11-18T10:27:07.614" v="381" actId="790"/>
          <ac:spMkLst>
            <pc:docMk/>
            <pc:sldMk cId="2574806156" sldId="2146849611"/>
            <ac:spMk id="1186" creationId="{28917786-E8BE-46ED-B2BD-0CC45D999B4D}"/>
          </ac:spMkLst>
        </pc:spChg>
        <pc:spChg chg="mod">
          <ac:chgData name="Lars Boe Riber" userId="a0746655-6c86-46e8-9fa0-3fdc9fc77da6" providerId="ADAL" clId="{4E480DD1-6EB6-40E9-AA5D-F0885641F18B}" dt="2022-11-18T10:27:07.615" v="382" actId="790"/>
          <ac:spMkLst>
            <pc:docMk/>
            <pc:sldMk cId="2574806156" sldId="2146849611"/>
            <ac:spMk id="1187" creationId="{8890590F-C5B6-4CA8-BF48-E65BD28F2B7B}"/>
          </ac:spMkLst>
        </pc:spChg>
        <pc:spChg chg="mod">
          <ac:chgData name="Lars Boe Riber" userId="a0746655-6c86-46e8-9fa0-3fdc9fc77da6" providerId="ADAL" clId="{4E480DD1-6EB6-40E9-AA5D-F0885641F18B}" dt="2022-11-18T10:27:07.616" v="383" actId="790"/>
          <ac:spMkLst>
            <pc:docMk/>
            <pc:sldMk cId="2574806156" sldId="2146849611"/>
            <ac:spMk id="1188" creationId="{216A4246-D032-44FE-9E57-AAD1D212120E}"/>
          </ac:spMkLst>
        </pc:spChg>
        <pc:spChg chg="mod">
          <ac:chgData name="Lars Boe Riber" userId="a0746655-6c86-46e8-9fa0-3fdc9fc77da6" providerId="ADAL" clId="{4E480DD1-6EB6-40E9-AA5D-F0885641F18B}" dt="2022-11-18T10:27:07.617" v="384" actId="790"/>
          <ac:spMkLst>
            <pc:docMk/>
            <pc:sldMk cId="2574806156" sldId="2146849611"/>
            <ac:spMk id="1189" creationId="{16E90120-82D6-49F3-AFAB-2B14FE57E098}"/>
          </ac:spMkLst>
        </pc:spChg>
        <pc:spChg chg="mod">
          <ac:chgData name="Lars Boe Riber" userId="a0746655-6c86-46e8-9fa0-3fdc9fc77da6" providerId="ADAL" clId="{4E480DD1-6EB6-40E9-AA5D-F0885641F18B}" dt="2022-11-18T10:27:07.617" v="385" actId="790"/>
          <ac:spMkLst>
            <pc:docMk/>
            <pc:sldMk cId="2574806156" sldId="2146849611"/>
            <ac:spMk id="1190" creationId="{6AC79558-66D7-4AF7-9F1F-D33353D2DFFE}"/>
          </ac:spMkLst>
        </pc:spChg>
        <pc:spChg chg="mod">
          <ac:chgData name="Lars Boe Riber" userId="a0746655-6c86-46e8-9fa0-3fdc9fc77da6" providerId="ADAL" clId="{4E480DD1-6EB6-40E9-AA5D-F0885641F18B}" dt="2022-11-18T10:27:07.618" v="386" actId="790"/>
          <ac:spMkLst>
            <pc:docMk/>
            <pc:sldMk cId="2574806156" sldId="2146849611"/>
            <ac:spMk id="1191" creationId="{4B68656E-AF1B-4EA3-A1F2-BC0875320E2D}"/>
          </ac:spMkLst>
        </pc:spChg>
        <pc:spChg chg="mod">
          <ac:chgData name="Lars Boe Riber" userId="a0746655-6c86-46e8-9fa0-3fdc9fc77da6" providerId="ADAL" clId="{4E480DD1-6EB6-40E9-AA5D-F0885641F18B}" dt="2022-11-18T10:27:07.619" v="387" actId="790"/>
          <ac:spMkLst>
            <pc:docMk/>
            <pc:sldMk cId="2574806156" sldId="2146849611"/>
            <ac:spMk id="1192" creationId="{B1A83027-F318-4174-9CA0-9E35EF13C2E6}"/>
          </ac:spMkLst>
        </pc:spChg>
        <pc:spChg chg="mod">
          <ac:chgData name="Lars Boe Riber" userId="a0746655-6c86-46e8-9fa0-3fdc9fc77da6" providerId="ADAL" clId="{4E480DD1-6EB6-40E9-AA5D-F0885641F18B}" dt="2022-11-18T10:27:07.620" v="388" actId="790"/>
          <ac:spMkLst>
            <pc:docMk/>
            <pc:sldMk cId="2574806156" sldId="2146849611"/>
            <ac:spMk id="1193" creationId="{831204D8-9960-466B-BE57-E47F1F01A192}"/>
          </ac:spMkLst>
        </pc:spChg>
        <pc:spChg chg="mod">
          <ac:chgData name="Lars Boe Riber" userId="a0746655-6c86-46e8-9fa0-3fdc9fc77da6" providerId="ADAL" clId="{4E480DD1-6EB6-40E9-AA5D-F0885641F18B}" dt="2022-11-18T10:27:07.621" v="389" actId="790"/>
          <ac:spMkLst>
            <pc:docMk/>
            <pc:sldMk cId="2574806156" sldId="2146849611"/>
            <ac:spMk id="1194" creationId="{13F79994-1457-463C-928A-80FA85C0182F}"/>
          </ac:spMkLst>
        </pc:spChg>
        <pc:spChg chg="mod">
          <ac:chgData name="Lars Boe Riber" userId="a0746655-6c86-46e8-9fa0-3fdc9fc77da6" providerId="ADAL" clId="{4E480DD1-6EB6-40E9-AA5D-F0885641F18B}" dt="2022-11-18T10:27:07.621" v="390" actId="790"/>
          <ac:spMkLst>
            <pc:docMk/>
            <pc:sldMk cId="2574806156" sldId="2146849611"/>
            <ac:spMk id="1195" creationId="{160B71CB-1258-48FC-94B8-60E777C49E74}"/>
          </ac:spMkLst>
        </pc:spChg>
        <pc:spChg chg="mod">
          <ac:chgData name="Lars Boe Riber" userId="a0746655-6c86-46e8-9fa0-3fdc9fc77da6" providerId="ADAL" clId="{4E480DD1-6EB6-40E9-AA5D-F0885641F18B}" dt="2022-11-18T10:27:07.622" v="391" actId="790"/>
          <ac:spMkLst>
            <pc:docMk/>
            <pc:sldMk cId="2574806156" sldId="2146849611"/>
            <ac:spMk id="1196" creationId="{DE37C57F-3794-420D-BF7E-EF97BD9B1D50}"/>
          </ac:spMkLst>
        </pc:spChg>
        <pc:spChg chg="mod">
          <ac:chgData name="Lars Boe Riber" userId="a0746655-6c86-46e8-9fa0-3fdc9fc77da6" providerId="ADAL" clId="{4E480DD1-6EB6-40E9-AA5D-F0885641F18B}" dt="2022-11-18T10:27:07.623" v="392" actId="790"/>
          <ac:spMkLst>
            <pc:docMk/>
            <pc:sldMk cId="2574806156" sldId="2146849611"/>
            <ac:spMk id="1197" creationId="{87593691-183C-4A64-93B7-895855D4FDF7}"/>
          </ac:spMkLst>
        </pc:spChg>
        <pc:spChg chg="mod">
          <ac:chgData name="Lars Boe Riber" userId="a0746655-6c86-46e8-9fa0-3fdc9fc77da6" providerId="ADAL" clId="{4E480DD1-6EB6-40E9-AA5D-F0885641F18B}" dt="2022-11-18T10:27:07.624" v="393" actId="790"/>
          <ac:spMkLst>
            <pc:docMk/>
            <pc:sldMk cId="2574806156" sldId="2146849611"/>
            <ac:spMk id="1198" creationId="{95F83AC8-DC53-4906-9EF2-FF04D09D1927}"/>
          </ac:spMkLst>
        </pc:spChg>
        <pc:spChg chg="mod">
          <ac:chgData name="Lars Boe Riber" userId="a0746655-6c86-46e8-9fa0-3fdc9fc77da6" providerId="ADAL" clId="{4E480DD1-6EB6-40E9-AA5D-F0885641F18B}" dt="2022-11-18T10:27:07.625" v="394" actId="790"/>
          <ac:spMkLst>
            <pc:docMk/>
            <pc:sldMk cId="2574806156" sldId="2146849611"/>
            <ac:spMk id="1199" creationId="{0CA1542B-DC9E-4E14-85C5-4BAB4BC75B37}"/>
          </ac:spMkLst>
        </pc:spChg>
        <pc:spChg chg="mod">
          <ac:chgData name="Lars Boe Riber" userId="a0746655-6c86-46e8-9fa0-3fdc9fc77da6" providerId="ADAL" clId="{4E480DD1-6EB6-40E9-AA5D-F0885641F18B}" dt="2022-11-18T10:27:07.626" v="395" actId="790"/>
          <ac:spMkLst>
            <pc:docMk/>
            <pc:sldMk cId="2574806156" sldId="2146849611"/>
            <ac:spMk id="1200" creationId="{34B05DEF-64F4-46FC-A8BB-562455527E16}"/>
          </ac:spMkLst>
        </pc:spChg>
        <pc:spChg chg="mod">
          <ac:chgData name="Lars Boe Riber" userId="a0746655-6c86-46e8-9fa0-3fdc9fc77da6" providerId="ADAL" clId="{4E480DD1-6EB6-40E9-AA5D-F0885641F18B}" dt="2022-11-18T10:27:07.626" v="396" actId="790"/>
          <ac:spMkLst>
            <pc:docMk/>
            <pc:sldMk cId="2574806156" sldId="2146849611"/>
            <ac:spMk id="1201" creationId="{96CB2197-FF43-4AA2-BFE6-F8BEE94F3BA2}"/>
          </ac:spMkLst>
        </pc:spChg>
        <pc:spChg chg="mod">
          <ac:chgData name="Lars Boe Riber" userId="a0746655-6c86-46e8-9fa0-3fdc9fc77da6" providerId="ADAL" clId="{4E480DD1-6EB6-40E9-AA5D-F0885641F18B}" dt="2022-11-18T10:27:07.627" v="397" actId="790"/>
          <ac:spMkLst>
            <pc:docMk/>
            <pc:sldMk cId="2574806156" sldId="2146849611"/>
            <ac:spMk id="1202" creationId="{2D823809-41EB-4571-AF11-9560FF419F73}"/>
          </ac:spMkLst>
        </pc:spChg>
        <pc:spChg chg="mod">
          <ac:chgData name="Lars Boe Riber" userId="a0746655-6c86-46e8-9fa0-3fdc9fc77da6" providerId="ADAL" clId="{4E480DD1-6EB6-40E9-AA5D-F0885641F18B}" dt="2022-11-18T10:27:07.628" v="398" actId="790"/>
          <ac:spMkLst>
            <pc:docMk/>
            <pc:sldMk cId="2574806156" sldId="2146849611"/>
            <ac:spMk id="1203" creationId="{8660A9B3-CA2B-4DAE-B241-FC2B6D48F58D}"/>
          </ac:spMkLst>
        </pc:spChg>
        <pc:spChg chg="mod">
          <ac:chgData name="Lars Boe Riber" userId="a0746655-6c86-46e8-9fa0-3fdc9fc77da6" providerId="ADAL" clId="{4E480DD1-6EB6-40E9-AA5D-F0885641F18B}" dt="2022-11-18T10:27:07.629" v="399" actId="790"/>
          <ac:spMkLst>
            <pc:docMk/>
            <pc:sldMk cId="2574806156" sldId="2146849611"/>
            <ac:spMk id="1204" creationId="{E3674709-583F-4A86-800B-946B1FC8814B}"/>
          </ac:spMkLst>
        </pc:spChg>
        <pc:spChg chg="mod">
          <ac:chgData name="Lars Boe Riber" userId="a0746655-6c86-46e8-9fa0-3fdc9fc77da6" providerId="ADAL" clId="{4E480DD1-6EB6-40E9-AA5D-F0885641F18B}" dt="2022-11-18T10:27:07.629" v="400" actId="790"/>
          <ac:spMkLst>
            <pc:docMk/>
            <pc:sldMk cId="2574806156" sldId="2146849611"/>
            <ac:spMk id="1205" creationId="{D3D3DF46-EDA4-478A-B4DD-281BB3C65894}"/>
          </ac:spMkLst>
        </pc:spChg>
        <pc:spChg chg="mod">
          <ac:chgData name="Lars Boe Riber" userId="a0746655-6c86-46e8-9fa0-3fdc9fc77da6" providerId="ADAL" clId="{4E480DD1-6EB6-40E9-AA5D-F0885641F18B}" dt="2022-11-18T10:27:07.630" v="401" actId="790"/>
          <ac:spMkLst>
            <pc:docMk/>
            <pc:sldMk cId="2574806156" sldId="2146849611"/>
            <ac:spMk id="1206" creationId="{E2D2B246-C871-4DEE-802D-98DBAD787ABF}"/>
          </ac:spMkLst>
        </pc:spChg>
        <pc:spChg chg="mod">
          <ac:chgData name="Lars Boe Riber" userId="a0746655-6c86-46e8-9fa0-3fdc9fc77da6" providerId="ADAL" clId="{4E480DD1-6EB6-40E9-AA5D-F0885641F18B}" dt="2022-11-18T10:27:07.631" v="402" actId="790"/>
          <ac:spMkLst>
            <pc:docMk/>
            <pc:sldMk cId="2574806156" sldId="2146849611"/>
            <ac:spMk id="1207" creationId="{3542A83E-DCC8-4C24-BB94-65A1DD496494}"/>
          </ac:spMkLst>
        </pc:spChg>
        <pc:spChg chg="mod">
          <ac:chgData name="Lars Boe Riber" userId="a0746655-6c86-46e8-9fa0-3fdc9fc77da6" providerId="ADAL" clId="{4E480DD1-6EB6-40E9-AA5D-F0885641F18B}" dt="2022-11-18T10:27:07.632" v="403" actId="790"/>
          <ac:spMkLst>
            <pc:docMk/>
            <pc:sldMk cId="2574806156" sldId="2146849611"/>
            <ac:spMk id="1208" creationId="{E89F98C8-2674-402C-B4B6-2DF0DBE242CF}"/>
          </ac:spMkLst>
        </pc:spChg>
        <pc:spChg chg="mod">
          <ac:chgData name="Lars Boe Riber" userId="a0746655-6c86-46e8-9fa0-3fdc9fc77da6" providerId="ADAL" clId="{4E480DD1-6EB6-40E9-AA5D-F0885641F18B}" dt="2022-11-18T10:27:07.632" v="404" actId="790"/>
          <ac:spMkLst>
            <pc:docMk/>
            <pc:sldMk cId="2574806156" sldId="2146849611"/>
            <ac:spMk id="1209" creationId="{BECBB8C0-3621-426A-8EDF-7756C7709140}"/>
          </ac:spMkLst>
        </pc:spChg>
        <pc:spChg chg="mod">
          <ac:chgData name="Lars Boe Riber" userId="a0746655-6c86-46e8-9fa0-3fdc9fc77da6" providerId="ADAL" clId="{4E480DD1-6EB6-40E9-AA5D-F0885641F18B}" dt="2022-11-18T10:27:07.633" v="405" actId="790"/>
          <ac:spMkLst>
            <pc:docMk/>
            <pc:sldMk cId="2574806156" sldId="2146849611"/>
            <ac:spMk id="1210" creationId="{428CCB04-8AFD-436B-9072-36DD836ED518}"/>
          </ac:spMkLst>
        </pc:spChg>
        <pc:spChg chg="mod">
          <ac:chgData name="Lars Boe Riber" userId="a0746655-6c86-46e8-9fa0-3fdc9fc77da6" providerId="ADAL" clId="{4E480DD1-6EB6-40E9-AA5D-F0885641F18B}" dt="2022-11-18T10:27:07.634" v="406" actId="790"/>
          <ac:spMkLst>
            <pc:docMk/>
            <pc:sldMk cId="2574806156" sldId="2146849611"/>
            <ac:spMk id="1211" creationId="{B4CB4308-1A01-466B-ADD2-43AACBF2178A}"/>
          </ac:spMkLst>
        </pc:spChg>
        <pc:spChg chg="mod">
          <ac:chgData name="Lars Boe Riber" userId="a0746655-6c86-46e8-9fa0-3fdc9fc77da6" providerId="ADAL" clId="{4E480DD1-6EB6-40E9-AA5D-F0885641F18B}" dt="2022-11-18T10:27:07.635" v="407" actId="790"/>
          <ac:spMkLst>
            <pc:docMk/>
            <pc:sldMk cId="2574806156" sldId="2146849611"/>
            <ac:spMk id="1212" creationId="{35C55E26-CB85-4FC6-8E44-8B0FA98F2759}"/>
          </ac:spMkLst>
        </pc:spChg>
        <pc:spChg chg="mod">
          <ac:chgData name="Lars Boe Riber" userId="a0746655-6c86-46e8-9fa0-3fdc9fc77da6" providerId="ADAL" clId="{4E480DD1-6EB6-40E9-AA5D-F0885641F18B}" dt="2022-11-18T10:27:07.636" v="408" actId="790"/>
          <ac:spMkLst>
            <pc:docMk/>
            <pc:sldMk cId="2574806156" sldId="2146849611"/>
            <ac:spMk id="1213" creationId="{05770208-8479-4936-B8EE-B1A86274A2C4}"/>
          </ac:spMkLst>
        </pc:spChg>
        <pc:spChg chg="mod">
          <ac:chgData name="Lars Boe Riber" userId="a0746655-6c86-46e8-9fa0-3fdc9fc77da6" providerId="ADAL" clId="{4E480DD1-6EB6-40E9-AA5D-F0885641F18B}" dt="2022-11-18T10:27:07.636" v="409" actId="790"/>
          <ac:spMkLst>
            <pc:docMk/>
            <pc:sldMk cId="2574806156" sldId="2146849611"/>
            <ac:spMk id="1214" creationId="{B10989F8-13D1-42C5-98C4-532E2D99BAAB}"/>
          </ac:spMkLst>
        </pc:spChg>
        <pc:spChg chg="mod">
          <ac:chgData name="Lars Boe Riber" userId="a0746655-6c86-46e8-9fa0-3fdc9fc77da6" providerId="ADAL" clId="{4E480DD1-6EB6-40E9-AA5D-F0885641F18B}" dt="2022-11-18T10:27:07.638" v="410" actId="790"/>
          <ac:spMkLst>
            <pc:docMk/>
            <pc:sldMk cId="2574806156" sldId="2146849611"/>
            <ac:spMk id="1215" creationId="{912B162B-3605-42FB-BA39-ED8B6D9F6F8A}"/>
          </ac:spMkLst>
        </pc:spChg>
        <pc:spChg chg="mod">
          <ac:chgData name="Lars Boe Riber" userId="a0746655-6c86-46e8-9fa0-3fdc9fc77da6" providerId="ADAL" clId="{4E480DD1-6EB6-40E9-AA5D-F0885641F18B}" dt="2022-11-18T10:27:07.638" v="411" actId="790"/>
          <ac:spMkLst>
            <pc:docMk/>
            <pc:sldMk cId="2574806156" sldId="2146849611"/>
            <ac:spMk id="1216" creationId="{3377ABE8-633A-4576-BACC-567E5EDF0B04}"/>
          </ac:spMkLst>
        </pc:spChg>
        <pc:spChg chg="mod">
          <ac:chgData name="Lars Boe Riber" userId="a0746655-6c86-46e8-9fa0-3fdc9fc77da6" providerId="ADAL" clId="{4E480DD1-6EB6-40E9-AA5D-F0885641F18B}" dt="2022-11-18T10:27:07.639" v="412" actId="790"/>
          <ac:spMkLst>
            <pc:docMk/>
            <pc:sldMk cId="2574806156" sldId="2146849611"/>
            <ac:spMk id="1217" creationId="{B451B142-9D9A-4759-9C0B-BFB1E3CB28BB}"/>
          </ac:spMkLst>
        </pc:spChg>
        <pc:spChg chg="mod">
          <ac:chgData name="Lars Boe Riber" userId="a0746655-6c86-46e8-9fa0-3fdc9fc77da6" providerId="ADAL" clId="{4E480DD1-6EB6-40E9-AA5D-F0885641F18B}" dt="2022-11-18T10:27:07.640" v="413" actId="790"/>
          <ac:spMkLst>
            <pc:docMk/>
            <pc:sldMk cId="2574806156" sldId="2146849611"/>
            <ac:spMk id="1218" creationId="{6EF7D786-5493-4385-A1D9-5F97650F9DF4}"/>
          </ac:spMkLst>
        </pc:spChg>
        <pc:spChg chg="mod">
          <ac:chgData name="Lars Boe Riber" userId="a0746655-6c86-46e8-9fa0-3fdc9fc77da6" providerId="ADAL" clId="{4E480DD1-6EB6-40E9-AA5D-F0885641F18B}" dt="2022-11-18T10:27:07.641" v="414" actId="790"/>
          <ac:spMkLst>
            <pc:docMk/>
            <pc:sldMk cId="2574806156" sldId="2146849611"/>
            <ac:spMk id="1219" creationId="{BB3B0875-34D8-403A-BB94-6805B5DBAA45}"/>
          </ac:spMkLst>
        </pc:spChg>
        <pc:spChg chg="mod">
          <ac:chgData name="Lars Boe Riber" userId="a0746655-6c86-46e8-9fa0-3fdc9fc77da6" providerId="ADAL" clId="{4E480DD1-6EB6-40E9-AA5D-F0885641F18B}" dt="2022-11-18T10:27:07.641" v="415" actId="790"/>
          <ac:spMkLst>
            <pc:docMk/>
            <pc:sldMk cId="2574806156" sldId="2146849611"/>
            <ac:spMk id="1220" creationId="{6CCB1E76-9BD0-458B-8DB5-DD13F3053C1B}"/>
          </ac:spMkLst>
        </pc:spChg>
        <pc:spChg chg="mod">
          <ac:chgData name="Lars Boe Riber" userId="a0746655-6c86-46e8-9fa0-3fdc9fc77da6" providerId="ADAL" clId="{4E480DD1-6EB6-40E9-AA5D-F0885641F18B}" dt="2022-11-18T10:27:07.642" v="416" actId="790"/>
          <ac:spMkLst>
            <pc:docMk/>
            <pc:sldMk cId="2574806156" sldId="2146849611"/>
            <ac:spMk id="1221" creationId="{DB1EDE7E-056D-4A3F-A4C7-D044F23D20A6}"/>
          </ac:spMkLst>
        </pc:spChg>
        <pc:spChg chg="mod">
          <ac:chgData name="Lars Boe Riber" userId="a0746655-6c86-46e8-9fa0-3fdc9fc77da6" providerId="ADAL" clId="{4E480DD1-6EB6-40E9-AA5D-F0885641F18B}" dt="2022-11-18T10:27:07.643" v="417" actId="790"/>
          <ac:spMkLst>
            <pc:docMk/>
            <pc:sldMk cId="2574806156" sldId="2146849611"/>
            <ac:spMk id="1222" creationId="{87433526-33F6-4693-8FA2-BF707A6591B7}"/>
          </ac:spMkLst>
        </pc:spChg>
        <pc:spChg chg="mod">
          <ac:chgData name="Lars Boe Riber" userId="a0746655-6c86-46e8-9fa0-3fdc9fc77da6" providerId="ADAL" clId="{4E480DD1-6EB6-40E9-AA5D-F0885641F18B}" dt="2022-11-18T10:27:07.644" v="418" actId="790"/>
          <ac:spMkLst>
            <pc:docMk/>
            <pc:sldMk cId="2574806156" sldId="2146849611"/>
            <ac:spMk id="1223" creationId="{91313650-2AA8-4B6E-BF59-9E1523C675BD}"/>
          </ac:spMkLst>
        </pc:spChg>
        <pc:spChg chg="mod">
          <ac:chgData name="Lars Boe Riber" userId="a0746655-6c86-46e8-9fa0-3fdc9fc77da6" providerId="ADAL" clId="{4E480DD1-6EB6-40E9-AA5D-F0885641F18B}" dt="2022-11-18T10:27:07.644" v="419" actId="790"/>
          <ac:spMkLst>
            <pc:docMk/>
            <pc:sldMk cId="2574806156" sldId="2146849611"/>
            <ac:spMk id="1224" creationId="{3DB93364-8B2F-4147-A281-E74707F51A50}"/>
          </ac:spMkLst>
        </pc:spChg>
        <pc:spChg chg="mod">
          <ac:chgData name="Lars Boe Riber" userId="a0746655-6c86-46e8-9fa0-3fdc9fc77da6" providerId="ADAL" clId="{4E480DD1-6EB6-40E9-AA5D-F0885641F18B}" dt="2022-11-18T10:27:07.645" v="420" actId="790"/>
          <ac:spMkLst>
            <pc:docMk/>
            <pc:sldMk cId="2574806156" sldId="2146849611"/>
            <ac:spMk id="1225" creationId="{7C246F42-38D0-4351-91F0-9B86FCC1DA32}"/>
          </ac:spMkLst>
        </pc:spChg>
        <pc:spChg chg="mod">
          <ac:chgData name="Lars Boe Riber" userId="a0746655-6c86-46e8-9fa0-3fdc9fc77da6" providerId="ADAL" clId="{4E480DD1-6EB6-40E9-AA5D-F0885641F18B}" dt="2022-11-18T10:27:07.646" v="421" actId="790"/>
          <ac:spMkLst>
            <pc:docMk/>
            <pc:sldMk cId="2574806156" sldId="2146849611"/>
            <ac:spMk id="1226" creationId="{41C37536-BF48-48A0-9ED8-1A4FC69B1428}"/>
          </ac:spMkLst>
        </pc:spChg>
        <pc:spChg chg="mod">
          <ac:chgData name="Lars Boe Riber" userId="a0746655-6c86-46e8-9fa0-3fdc9fc77da6" providerId="ADAL" clId="{4E480DD1-6EB6-40E9-AA5D-F0885641F18B}" dt="2022-11-18T10:27:07.647" v="422" actId="790"/>
          <ac:spMkLst>
            <pc:docMk/>
            <pc:sldMk cId="2574806156" sldId="2146849611"/>
            <ac:spMk id="1227" creationId="{868C7799-E447-4AE9-9323-110268A0CA0A}"/>
          </ac:spMkLst>
        </pc:spChg>
        <pc:spChg chg="mod">
          <ac:chgData name="Lars Boe Riber" userId="a0746655-6c86-46e8-9fa0-3fdc9fc77da6" providerId="ADAL" clId="{4E480DD1-6EB6-40E9-AA5D-F0885641F18B}" dt="2022-11-18T10:27:07.647" v="423" actId="790"/>
          <ac:spMkLst>
            <pc:docMk/>
            <pc:sldMk cId="2574806156" sldId="2146849611"/>
            <ac:spMk id="1228" creationId="{265C9F0B-A638-43E1-9FAF-C8B412F3F6E5}"/>
          </ac:spMkLst>
        </pc:spChg>
        <pc:spChg chg="mod">
          <ac:chgData name="Lars Boe Riber" userId="a0746655-6c86-46e8-9fa0-3fdc9fc77da6" providerId="ADAL" clId="{4E480DD1-6EB6-40E9-AA5D-F0885641F18B}" dt="2022-11-18T10:27:07.648" v="424" actId="790"/>
          <ac:spMkLst>
            <pc:docMk/>
            <pc:sldMk cId="2574806156" sldId="2146849611"/>
            <ac:spMk id="1229" creationId="{D317C3D2-A294-44FD-8E9C-16F5088F0C9F}"/>
          </ac:spMkLst>
        </pc:spChg>
        <pc:spChg chg="mod">
          <ac:chgData name="Lars Boe Riber" userId="a0746655-6c86-46e8-9fa0-3fdc9fc77da6" providerId="ADAL" clId="{4E480DD1-6EB6-40E9-AA5D-F0885641F18B}" dt="2022-11-18T10:27:07.649" v="425" actId="790"/>
          <ac:spMkLst>
            <pc:docMk/>
            <pc:sldMk cId="2574806156" sldId="2146849611"/>
            <ac:spMk id="1230" creationId="{9FF52A7B-FC28-4757-9ECD-878153E12AB8}"/>
          </ac:spMkLst>
        </pc:spChg>
        <pc:spChg chg="mod">
          <ac:chgData name="Lars Boe Riber" userId="a0746655-6c86-46e8-9fa0-3fdc9fc77da6" providerId="ADAL" clId="{4E480DD1-6EB6-40E9-AA5D-F0885641F18B}" dt="2022-11-18T10:27:07.650" v="426" actId="790"/>
          <ac:spMkLst>
            <pc:docMk/>
            <pc:sldMk cId="2574806156" sldId="2146849611"/>
            <ac:spMk id="1231" creationId="{7DCF3C69-EB52-4919-A315-B5934C77A3F1}"/>
          </ac:spMkLst>
        </pc:spChg>
        <pc:spChg chg="mod">
          <ac:chgData name="Lars Boe Riber" userId="a0746655-6c86-46e8-9fa0-3fdc9fc77da6" providerId="ADAL" clId="{4E480DD1-6EB6-40E9-AA5D-F0885641F18B}" dt="2022-11-18T10:27:07.651" v="427" actId="790"/>
          <ac:spMkLst>
            <pc:docMk/>
            <pc:sldMk cId="2574806156" sldId="2146849611"/>
            <ac:spMk id="1232" creationId="{F81061EE-681B-439E-B75B-AAEA0E956856}"/>
          </ac:spMkLst>
        </pc:spChg>
        <pc:spChg chg="mod">
          <ac:chgData name="Lars Boe Riber" userId="a0746655-6c86-46e8-9fa0-3fdc9fc77da6" providerId="ADAL" clId="{4E480DD1-6EB6-40E9-AA5D-F0885641F18B}" dt="2022-11-18T10:27:07.652" v="428" actId="790"/>
          <ac:spMkLst>
            <pc:docMk/>
            <pc:sldMk cId="2574806156" sldId="2146849611"/>
            <ac:spMk id="1233" creationId="{95FA3927-DA1A-44AE-A306-41E0294B7E74}"/>
          </ac:spMkLst>
        </pc:spChg>
        <pc:spChg chg="mod">
          <ac:chgData name="Lars Boe Riber" userId="a0746655-6c86-46e8-9fa0-3fdc9fc77da6" providerId="ADAL" clId="{4E480DD1-6EB6-40E9-AA5D-F0885641F18B}" dt="2022-11-18T10:27:07.653" v="429" actId="790"/>
          <ac:spMkLst>
            <pc:docMk/>
            <pc:sldMk cId="2574806156" sldId="2146849611"/>
            <ac:spMk id="1234" creationId="{2A268B35-BC0B-4DC6-AEF9-0A7D771A4FFB}"/>
          </ac:spMkLst>
        </pc:spChg>
        <pc:spChg chg="mod">
          <ac:chgData name="Lars Boe Riber" userId="a0746655-6c86-46e8-9fa0-3fdc9fc77da6" providerId="ADAL" clId="{4E480DD1-6EB6-40E9-AA5D-F0885641F18B}" dt="2022-11-18T10:27:07.654" v="430" actId="790"/>
          <ac:spMkLst>
            <pc:docMk/>
            <pc:sldMk cId="2574806156" sldId="2146849611"/>
            <ac:spMk id="1235" creationId="{58F0AECB-B8A1-458C-9D53-B8C2CCBB6D9C}"/>
          </ac:spMkLst>
        </pc:spChg>
        <pc:spChg chg="mod">
          <ac:chgData name="Lars Boe Riber" userId="a0746655-6c86-46e8-9fa0-3fdc9fc77da6" providerId="ADAL" clId="{4E480DD1-6EB6-40E9-AA5D-F0885641F18B}" dt="2022-11-18T10:27:07.655" v="431" actId="790"/>
          <ac:spMkLst>
            <pc:docMk/>
            <pc:sldMk cId="2574806156" sldId="2146849611"/>
            <ac:spMk id="1236" creationId="{001BA3AB-DE20-469A-9A02-93AB262DA5F3}"/>
          </ac:spMkLst>
        </pc:spChg>
        <pc:spChg chg="mod">
          <ac:chgData name="Lars Boe Riber" userId="a0746655-6c86-46e8-9fa0-3fdc9fc77da6" providerId="ADAL" clId="{4E480DD1-6EB6-40E9-AA5D-F0885641F18B}" dt="2022-11-18T10:27:07.656" v="432" actId="790"/>
          <ac:spMkLst>
            <pc:docMk/>
            <pc:sldMk cId="2574806156" sldId="2146849611"/>
            <ac:spMk id="1237" creationId="{478CEDCF-F8D5-45DB-9C39-AEE0218342D7}"/>
          </ac:spMkLst>
        </pc:spChg>
        <pc:spChg chg="mod">
          <ac:chgData name="Lars Boe Riber" userId="a0746655-6c86-46e8-9fa0-3fdc9fc77da6" providerId="ADAL" clId="{4E480DD1-6EB6-40E9-AA5D-F0885641F18B}" dt="2022-11-18T10:27:07.657" v="433" actId="790"/>
          <ac:spMkLst>
            <pc:docMk/>
            <pc:sldMk cId="2574806156" sldId="2146849611"/>
            <ac:spMk id="1238" creationId="{06968339-F015-4C92-BD33-D74065B4DF8F}"/>
          </ac:spMkLst>
        </pc:spChg>
        <pc:spChg chg="mod">
          <ac:chgData name="Lars Boe Riber" userId="a0746655-6c86-46e8-9fa0-3fdc9fc77da6" providerId="ADAL" clId="{4E480DD1-6EB6-40E9-AA5D-F0885641F18B}" dt="2022-11-18T10:27:07.658" v="434" actId="790"/>
          <ac:spMkLst>
            <pc:docMk/>
            <pc:sldMk cId="2574806156" sldId="2146849611"/>
            <ac:spMk id="1239" creationId="{7CF087D2-9626-4FD6-B655-DF37172B7B07}"/>
          </ac:spMkLst>
        </pc:spChg>
        <pc:spChg chg="mod">
          <ac:chgData name="Lars Boe Riber" userId="a0746655-6c86-46e8-9fa0-3fdc9fc77da6" providerId="ADAL" clId="{4E480DD1-6EB6-40E9-AA5D-F0885641F18B}" dt="2022-11-18T10:27:07.659" v="435" actId="790"/>
          <ac:spMkLst>
            <pc:docMk/>
            <pc:sldMk cId="2574806156" sldId="2146849611"/>
            <ac:spMk id="1240" creationId="{6C603064-B625-425E-B606-D60A6BA60043}"/>
          </ac:spMkLst>
        </pc:spChg>
        <pc:spChg chg="mod">
          <ac:chgData name="Lars Boe Riber" userId="a0746655-6c86-46e8-9fa0-3fdc9fc77da6" providerId="ADAL" clId="{4E480DD1-6EB6-40E9-AA5D-F0885641F18B}" dt="2022-11-18T10:27:07.659" v="436" actId="790"/>
          <ac:spMkLst>
            <pc:docMk/>
            <pc:sldMk cId="2574806156" sldId="2146849611"/>
            <ac:spMk id="1241" creationId="{BC17AD73-181D-4CED-9954-8583523ADB06}"/>
          </ac:spMkLst>
        </pc:spChg>
        <pc:spChg chg="mod">
          <ac:chgData name="Lars Boe Riber" userId="a0746655-6c86-46e8-9fa0-3fdc9fc77da6" providerId="ADAL" clId="{4E480DD1-6EB6-40E9-AA5D-F0885641F18B}" dt="2022-11-18T10:27:07.660" v="437" actId="790"/>
          <ac:spMkLst>
            <pc:docMk/>
            <pc:sldMk cId="2574806156" sldId="2146849611"/>
            <ac:spMk id="1242" creationId="{8935FEF6-1D1F-476D-8416-685689113C10}"/>
          </ac:spMkLst>
        </pc:spChg>
        <pc:spChg chg="mod">
          <ac:chgData name="Lars Boe Riber" userId="a0746655-6c86-46e8-9fa0-3fdc9fc77da6" providerId="ADAL" clId="{4E480DD1-6EB6-40E9-AA5D-F0885641F18B}" dt="2022-11-18T10:27:07.661" v="438" actId="790"/>
          <ac:spMkLst>
            <pc:docMk/>
            <pc:sldMk cId="2574806156" sldId="2146849611"/>
            <ac:spMk id="1243" creationId="{7308E181-53ED-4224-9122-283F50433C6D}"/>
          </ac:spMkLst>
        </pc:spChg>
        <pc:spChg chg="mod">
          <ac:chgData name="Lars Boe Riber" userId="a0746655-6c86-46e8-9fa0-3fdc9fc77da6" providerId="ADAL" clId="{4E480DD1-6EB6-40E9-AA5D-F0885641F18B}" dt="2022-11-18T10:27:07.662" v="439" actId="790"/>
          <ac:spMkLst>
            <pc:docMk/>
            <pc:sldMk cId="2574806156" sldId="2146849611"/>
            <ac:spMk id="1244" creationId="{2F4F2B21-BEEA-482A-96FD-73EE523C4D9B}"/>
          </ac:spMkLst>
        </pc:spChg>
        <pc:spChg chg="mod">
          <ac:chgData name="Lars Boe Riber" userId="a0746655-6c86-46e8-9fa0-3fdc9fc77da6" providerId="ADAL" clId="{4E480DD1-6EB6-40E9-AA5D-F0885641F18B}" dt="2022-11-18T10:27:07.662" v="440" actId="790"/>
          <ac:spMkLst>
            <pc:docMk/>
            <pc:sldMk cId="2574806156" sldId="2146849611"/>
            <ac:spMk id="1245" creationId="{9636B7B9-C6DB-42AF-B716-6519FAE2B543}"/>
          </ac:spMkLst>
        </pc:spChg>
        <pc:spChg chg="mod">
          <ac:chgData name="Lars Boe Riber" userId="a0746655-6c86-46e8-9fa0-3fdc9fc77da6" providerId="ADAL" clId="{4E480DD1-6EB6-40E9-AA5D-F0885641F18B}" dt="2022-11-18T10:27:07.663" v="441" actId="790"/>
          <ac:spMkLst>
            <pc:docMk/>
            <pc:sldMk cId="2574806156" sldId="2146849611"/>
            <ac:spMk id="1246" creationId="{9B25CA8F-E93D-43E1-AA94-21C849EEAA01}"/>
          </ac:spMkLst>
        </pc:spChg>
        <pc:spChg chg="mod">
          <ac:chgData name="Lars Boe Riber" userId="a0746655-6c86-46e8-9fa0-3fdc9fc77da6" providerId="ADAL" clId="{4E480DD1-6EB6-40E9-AA5D-F0885641F18B}" dt="2022-11-18T10:27:07.664" v="442" actId="790"/>
          <ac:spMkLst>
            <pc:docMk/>
            <pc:sldMk cId="2574806156" sldId="2146849611"/>
            <ac:spMk id="1247" creationId="{D0D88E12-ECD2-433E-9B42-6BB441AF190D}"/>
          </ac:spMkLst>
        </pc:spChg>
        <pc:spChg chg="mod">
          <ac:chgData name="Lars Boe Riber" userId="a0746655-6c86-46e8-9fa0-3fdc9fc77da6" providerId="ADAL" clId="{4E480DD1-6EB6-40E9-AA5D-F0885641F18B}" dt="2022-11-18T10:27:07.665" v="443" actId="790"/>
          <ac:spMkLst>
            <pc:docMk/>
            <pc:sldMk cId="2574806156" sldId="2146849611"/>
            <ac:spMk id="1248" creationId="{B17B882E-D8DE-4614-882A-96B31F514BD5}"/>
          </ac:spMkLst>
        </pc:spChg>
        <pc:spChg chg="mod">
          <ac:chgData name="Lars Boe Riber" userId="a0746655-6c86-46e8-9fa0-3fdc9fc77da6" providerId="ADAL" clId="{4E480DD1-6EB6-40E9-AA5D-F0885641F18B}" dt="2022-11-18T10:27:07.666" v="444" actId="790"/>
          <ac:spMkLst>
            <pc:docMk/>
            <pc:sldMk cId="2574806156" sldId="2146849611"/>
            <ac:spMk id="1249" creationId="{51571527-8DF0-4A4B-B1E9-B7A4580FCFEC}"/>
          </ac:spMkLst>
        </pc:spChg>
        <pc:spChg chg="mod">
          <ac:chgData name="Lars Boe Riber" userId="a0746655-6c86-46e8-9fa0-3fdc9fc77da6" providerId="ADAL" clId="{4E480DD1-6EB6-40E9-AA5D-F0885641F18B}" dt="2022-11-18T10:27:07.667" v="445" actId="790"/>
          <ac:spMkLst>
            <pc:docMk/>
            <pc:sldMk cId="2574806156" sldId="2146849611"/>
            <ac:spMk id="1250" creationId="{651749C2-280D-425E-ABB5-497AB3819CBF}"/>
          </ac:spMkLst>
        </pc:spChg>
        <pc:spChg chg="mod">
          <ac:chgData name="Lars Boe Riber" userId="a0746655-6c86-46e8-9fa0-3fdc9fc77da6" providerId="ADAL" clId="{4E480DD1-6EB6-40E9-AA5D-F0885641F18B}" dt="2022-11-18T10:27:07.667" v="446" actId="790"/>
          <ac:spMkLst>
            <pc:docMk/>
            <pc:sldMk cId="2574806156" sldId="2146849611"/>
            <ac:spMk id="1251" creationId="{02C3B06B-601A-41F1-B48E-A59351181B95}"/>
          </ac:spMkLst>
        </pc:spChg>
        <pc:spChg chg="mod">
          <ac:chgData name="Lars Boe Riber" userId="a0746655-6c86-46e8-9fa0-3fdc9fc77da6" providerId="ADAL" clId="{4E480DD1-6EB6-40E9-AA5D-F0885641F18B}" dt="2022-11-18T10:27:07.668" v="447" actId="790"/>
          <ac:spMkLst>
            <pc:docMk/>
            <pc:sldMk cId="2574806156" sldId="2146849611"/>
            <ac:spMk id="1252" creationId="{BBE3FA18-7EB1-4DD1-9C9D-8B6755878652}"/>
          </ac:spMkLst>
        </pc:spChg>
        <pc:spChg chg="mod">
          <ac:chgData name="Lars Boe Riber" userId="a0746655-6c86-46e8-9fa0-3fdc9fc77da6" providerId="ADAL" clId="{4E480DD1-6EB6-40E9-AA5D-F0885641F18B}" dt="2022-11-18T10:27:07.669" v="448" actId="790"/>
          <ac:spMkLst>
            <pc:docMk/>
            <pc:sldMk cId="2574806156" sldId="2146849611"/>
            <ac:spMk id="1253" creationId="{A2B75866-7273-422E-A220-5BFD31CD9165}"/>
          </ac:spMkLst>
        </pc:spChg>
        <pc:spChg chg="mod">
          <ac:chgData name="Lars Boe Riber" userId="a0746655-6c86-46e8-9fa0-3fdc9fc77da6" providerId="ADAL" clId="{4E480DD1-6EB6-40E9-AA5D-F0885641F18B}" dt="2022-11-18T10:27:07.670" v="449" actId="790"/>
          <ac:spMkLst>
            <pc:docMk/>
            <pc:sldMk cId="2574806156" sldId="2146849611"/>
            <ac:spMk id="1254" creationId="{BB02228C-70CF-444B-918C-5E4EFB0D8CB9}"/>
          </ac:spMkLst>
        </pc:spChg>
        <pc:spChg chg="mod">
          <ac:chgData name="Lars Boe Riber" userId="a0746655-6c86-46e8-9fa0-3fdc9fc77da6" providerId="ADAL" clId="{4E480DD1-6EB6-40E9-AA5D-F0885641F18B}" dt="2022-11-18T10:27:07.670" v="450" actId="790"/>
          <ac:spMkLst>
            <pc:docMk/>
            <pc:sldMk cId="2574806156" sldId="2146849611"/>
            <ac:spMk id="1255" creationId="{BC6DEA73-75B9-453E-8927-EF19100D579B}"/>
          </ac:spMkLst>
        </pc:spChg>
        <pc:spChg chg="mod">
          <ac:chgData name="Lars Boe Riber" userId="a0746655-6c86-46e8-9fa0-3fdc9fc77da6" providerId="ADAL" clId="{4E480DD1-6EB6-40E9-AA5D-F0885641F18B}" dt="2022-11-18T10:27:07.671" v="451" actId="790"/>
          <ac:spMkLst>
            <pc:docMk/>
            <pc:sldMk cId="2574806156" sldId="2146849611"/>
            <ac:spMk id="1256" creationId="{F528B12F-707C-418D-B2AD-3917323AD9B3}"/>
          </ac:spMkLst>
        </pc:spChg>
        <pc:spChg chg="mod">
          <ac:chgData name="Lars Boe Riber" userId="a0746655-6c86-46e8-9fa0-3fdc9fc77da6" providerId="ADAL" clId="{4E480DD1-6EB6-40E9-AA5D-F0885641F18B}" dt="2022-11-18T10:27:07.672" v="452" actId="790"/>
          <ac:spMkLst>
            <pc:docMk/>
            <pc:sldMk cId="2574806156" sldId="2146849611"/>
            <ac:spMk id="1257" creationId="{047576D6-7720-4B27-9D4C-D40CD46E4430}"/>
          </ac:spMkLst>
        </pc:spChg>
        <pc:spChg chg="mod">
          <ac:chgData name="Lars Boe Riber" userId="a0746655-6c86-46e8-9fa0-3fdc9fc77da6" providerId="ADAL" clId="{4E480DD1-6EB6-40E9-AA5D-F0885641F18B}" dt="2022-11-18T10:27:07.673" v="453" actId="790"/>
          <ac:spMkLst>
            <pc:docMk/>
            <pc:sldMk cId="2574806156" sldId="2146849611"/>
            <ac:spMk id="1258" creationId="{984FD16F-12B9-48D7-8F41-FC19F47973D0}"/>
          </ac:spMkLst>
        </pc:spChg>
        <pc:spChg chg="mod">
          <ac:chgData name="Lars Boe Riber" userId="a0746655-6c86-46e8-9fa0-3fdc9fc77da6" providerId="ADAL" clId="{4E480DD1-6EB6-40E9-AA5D-F0885641F18B}" dt="2022-11-18T10:27:07.674" v="454" actId="790"/>
          <ac:spMkLst>
            <pc:docMk/>
            <pc:sldMk cId="2574806156" sldId="2146849611"/>
            <ac:spMk id="1259" creationId="{65651678-1D30-4E54-8BF9-FD48FB459665}"/>
          </ac:spMkLst>
        </pc:spChg>
        <pc:spChg chg="mod">
          <ac:chgData name="Lars Boe Riber" userId="a0746655-6c86-46e8-9fa0-3fdc9fc77da6" providerId="ADAL" clId="{4E480DD1-6EB6-40E9-AA5D-F0885641F18B}" dt="2022-11-18T10:27:07.674" v="455" actId="790"/>
          <ac:spMkLst>
            <pc:docMk/>
            <pc:sldMk cId="2574806156" sldId="2146849611"/>
            <ac:spMk id="1260" creationId="{947A25E7-D166-4826-BB32-F0042B8472A4}"/>
          </ac:spMkLst>
        </pc:spChg>
        <pc:spChg chg="mod">
          <ac:chgData name="Lars Boe Riber" userId="a0746655-6c86-46e8-9fa0-3fdc9fc77da6" providerId="ADAL" clId="{4E480DD1-6EB6-40E9-AA5D-F0885641F18B}" dt="2022-11-18T10:27:07.675" v="456" actId="790"/>
          <ac:spMkLst>
            <pc:docMk/>
            <pc:sldMk cId="2574806156" sldId="2146849611"/>
            <ac:spMk id="1261" creationId="{FE42A455-C305-4E2E-AE15-A5EF3B720C7B}"/>
          </ac:spMkLst>
        </pc:spChg>
        <pc:spChg chg="mod">
          <ac:chgData name="Lars Boe Riber" userId="a0746655-6c86-46e8-9fa0-3fdc9fc77da6" providerId="ADAL" clId="{4E480DD1-6EB6-40E9-AA5D-F0885641F18B}" dt="2022-11-18T10:27:07.676" v="457" actId="790"/>
          <ac:spMkLst>
            <pc:docMk/>
            <pc:sldMk cId="2574806156" sldId="2146849611"/>
            <ac:spMk id="1262" creationId="{DC8FFF30-D115-44A1-968D-92E1993E0F45}"/>
          </ac:spMkLst>
        </pc:spChg>
        <pc:spChg chg="mod">
          <ac:chgData name="Lars Boe Riber" userId="a0746655-6c86-46e8-9fa0-3fdc9fc77da6" providerId="ADAL" clId="{4E480DD1-6EB6-40E9-AA5D-F0885641F18B}" dt="2022-11-18T10:27:07.677" v="458" actId="790"/>
          <ac:spMkLst>
            <pc:docMk/>
            <pc:sldMk cId="2574806156" sldId="2146849611"/>
            <ac:spMk id="1263" creationId="{17EB3C55-3E7E-4293-A520-1B6917AE1EE4}"/>
          </ac:spMkLst>
        </pc:spChg>
        <pc:spChg chg="mod">
          <ac:chgData name="Lars Boe Riber" userId="a0746655-6c86-46e8-9fa0-3fdc9fc77da6" providerId="ADAL" clId="{4E480DD1-6EB6-40E9-AA5D-F0885641F18B}" dt="2022-11-18T10:27:07.678" v="459" actId="790"/>
          <ac:spMkLst>
            <pc:docMk/>
            <pc:sldMk cId="2574806156" sldId="2146849611"/>
            <ac:spMk id="1264" creationId="{73AE298D-AD31-40EE-9477-8322EED59A5F}"/>
          </ac:spMkLst>
        </pc:spChg>
        <pc:spChg chg="mod">
          <ac:chgData name="Lars Boe Riber" userId="a0746655-6c86-46e8-9fa0-3fdc9fc77da6" providerId="ADAL" clId="{4E480DD1-6EB6-40E9-AA5D-F0885641F18B}" dt="2022-11-18T10:27:07.678" v="460" actId="790"/>
          <ac:spMkLst>
            <pc:docMk/>
            <pc:sldMk cId="2574806156" sldId="2146849611"/>
            <ac:spMk id="1265" creationId="{235CCEB2-0035-4CD9-800A-DEE10E2FEA88}"/>
          </ac:spMkLst>
        </pc:spChg>
        <pc:spChg chg="mod">
          <ac:chgData name="Lars Boe Riber" userId="a0746655-6c86-46e8-9fa0-3fdc9fc77da6" providerId="ADAL" clId="{4E480DD1-6EB6-40E9-AA5D-F0885641F18B}" dt="2022-11-18T10:27:07.679" v="461" actId="790"/>
          <ac:spMkLst>
            <pc:docMk/>
            <pc:sldMk cId="2574806156" sldId="2146849611"/>
            <ac:spMk id="1266" creationId="{D217785A-5C63-4225-A175-3DBE3094B0CA}"/>
          </ac:spMkLst>
        </pc:spChg>
        <pc:spChg chg="mod">
          <ac:chgData name="Lars Boe Riber" userId="a0746655-6c86-46e8-9fa0-3fdc9fc77da6" providerId="ADAL" clId="{4E480DD1-6EB6-40E9-AA5D-F0885641F18B}" dt="2022-11-18T10:27:07.680" v="462" actId="790"/>
          <ac:spMkLst>
            <pc:docMk/>
            <pc:sldMk cId="2574806156" sldId="2146849611"/>
            <ac:spMk id="1267" creationId="{8A937087-2A8A-42A3-AB32-838D1D82D193}"/>
          </ac:spMkLst>
        </pc:spChg>
        <pc:spChg chg="mod">
          <ac:chgData name="Lars Boe Riber" userId="a0746655-6c86-46e8-9fa0-3fdc9fc77da6" providerId="ADAL" clId="{4E480DD1-6EB6-40E9-AA5D-F0885641F18B}" dt="2022-11-18T10:27:07.681" v="463" actId="790"/>
          <ac:spMkLst>
            <pc:docMk/>
            <pc:sldMk cId="2574806156" sldId="2146849611"/>
            <ac:spMk id="1268" creationId="{4BC70B9B-95E5-44E3-89B9-3BBF35F1FEB3}"/>
          </ac:spMkLst>
        </pc:spChg>
        <pc:spChg chg="mod">
          <ac:chgData name="Lars Boe Riber" userId="a0746655-6c86-46e8-9fa0-3fdc9fc77da6" providerId="ADAL" clId="{4E480DD1-6EB6-40E9-AA5D-F0885641F18B}" dt="2022-11-18T10:27:07.681" v="464" actId="790"/>
          <ac:spMkLst>
            <pc:docMk/>
            <pc:sldMk cId="2574806156" sldId="2146849611"/>
            <ac:spMk id="1269" creationId="{CF4B0D76-7D48-4F43-8B99-F60A722987C8}"/>
          </ac:spMkLst>
        </pc:spChg>
        <pc:spChg chg="mod">
          <ac:chgData name="Lars Boe Riber" userId="a0746655-6c86-46e8-9fa0-3fdc9fc77da6" providerId="ADAL" clId="{4E480DD1-6EB6-40E9-AA5D-F0885641F18B}" dt="2022-11-18T10:27:07.682" v="465" actId="790"/>
          <ac:spMkLst>
            <pc:docMk/>
            <pc:sldMk cId="2574806156" sldId="2146849611"/>
            <ac:spMk id="1270" creationId="{FC7B1735-32EE-4B14-B44E-91C573E8FCFF}"/>
          </ac:spMkLst>
        </pc:spChg>
        <pc:spChg chg="mod">
          <ac:chgData name="Lars Boe Riber" userId="a0746655-6c86-46e8-9fa0-3fdc9fc77da6" providerId="ADAL" clId="{4E480DD1-6EB6-40E9-AA5D-F0885641F18B}" dt="2022-11-18T10:27:07.683" v="466" actId="790"/>
          <ac:spMkLst>
            <pc:docMk/>
            <pc:sldMk cId="2574806156" sldId="2146849611"/>
            <ac:spMk id="1271" creationId="{4BA80AEB-58D2-4CF0-BAFD-8D9F19E4B361}"/>
          </ac:spMkLst>
        </pc:spChg>
        <pc:spChg chg="mod">
          <ac:chgData name="Lars Boe Riber" userId="a0746655-6c86-46e8-9fa0-3fdc9fc77da6" providerId="ADAL" clId="{4E480DD1-6EB6-40E9-AA5D-F0885641F18B}" dt="2022-11-18T10:27:07.684" v="467" actId="790"/>
          <ac:spMkLst>
            <pc:docMk/>
            <pc:sldMk cId="2574806156" sldId="2146849611"/>
            <ac:spMk id="1272" creationId="{E333C9C8-4109-4CF6-A3F2-443542A91031}"/>
          </ac:spMkLst>
        </pc:spChg>
        <pc:spChg chg="mod">
          <ac:chgData name="Lars Boe Riber" userId="a0746655-6c86-46e8-9fa0-3fdc9fc77da6" providerId="ADAL" clId="{4E480DD1-6EB6-40E9-AA5D-F0885641F18B}" dt="2022-11-18T10:27:07.685" v="468" actId="790"/>
          <ac:spMkLst>
            <pc:docMk/>
            <pc:sldMk cId="2574806156" sldId="2146849611"/>
            <ac:spMk id="1273" creationId="{2F019C58-541B-44A8-AFB1-021D533B471D}"/>
          </ac:spMkLst>
        </pc:spChg>
        <pc:spChg chg="mod">
          <ac:chgData name="Lars Boe Riber" userId="a0746655-6c86-46e8-9fa0-3fdc9fc77da6" providerId="ADAL" clId="{4E480DD1-6EB6-40E9-AA5D-F0885641F18B}" dt="2022-11-18T10:27:07.685" v="469" actId="790"/>
          <ac:spMkLst>
            <pc:docMk/>
            <pc:sldMk cId="2574806156" sldId="2146849611"/>
            <ac:spMk id="1274" creationId="{79DA160E-0613-42F5-A894-A6C0CB848E83}"/>
          </ac:spMkLst>
        </pc:spChg>
        <pc:spChg chg="mod">
          <ac:chgData name="Lars Boe Riber" userId="a0746655-6c86-46e8-9fa0-3fdc9fc77da6" providerId="ADAL" clId="{4E480DD1-6EB6-40E9-AA5D-F0885641F18B}" dt="2022-11-18T10:27:07.686" v="470" actId="790"/>
          <ac:spMkLst>
            <pc:docMk/>
            <pc:sldMk cId="2574806156" sldId="2146849611"/>
            <ac:spMk id="1275" creationId="{16FFDAB1-D532-4BDF-BE68-63AED1EE82EC}"/>
          </ac:spMkLst>
        </pc:spChg>
        <pc:spChg chg="mod">
          <ac:chgData name="Lars Boe Riber" userId="a0746655-6c86-46e8-9fa0-3fdc9fc77da6" providerId="ADAL" clId="{4E480DD1-6EB6-40E9-AA5D-F0885641F18B}" dt="2022-11-18T10:27:07.687" v="471" actId="790"/>
          <ac:spMkLst>
            <pc:docMk/>
            <pc:sldMk cId="2574806156" sldId="2146849611"/>
            <ac:spMk id="1276" creationId="{0983A91B-B0F6-47ED-9C2A-DF0442FA114E}"/>
          </ac:spMkLst>
        </pc:spChg>
        <pc:spChg chg="mod">
          <ac:chgData name="Lars Boe Riber" userId="a0746655-6c86-46e8-9fa0-3fdc9fc77da6" providerId="ADAL" clId="{4E480DD1-6EB6-40E9-AA5D-F0885641F18B}" dt="2022-11-18T10:27:07.688" v="472" actId="790"/>
          <ac:spMkLst>
            <pc:docMk/>
            <pc:sldMk cId="2574806156" sldId="2146849611"/>
            <ac:spMk id="1277" creationId="{5610C432-40B6-4B3C-BE3C-2240EE22C66F}"/>
          </ac:spMkLst>
        </pc:spChg>
        <pc:spChg chg="mod">
          <ac:chgData name="Lars Boe Riber" userId="a0746655-6c86-46e8-9fa0-3fdc9fc77da6" providerId="ADAL" clId="{4E480DD1-6EB6-40E9-AA5D-F0885641F18B}" dt="2022-11-18T10:27:07.689" v="473" actId="790"/>
          <ac:spMkLst>
            <pc:docMk/>
            <pc:sldMk cId="2574806156" sldId="2146849611"/>
            <ac:spMk id="1278" creationId="{F379142D-1497-4B31-ABF2-703095EFF828}"/>
          </ac:spMkLst>
        </pc:spChg>
        <pc:spChg chg="mod">
          <ac:chgData name="Lars Boe Riber" userId="a0746655-6c86-46e8-9fa0-3fdc9fc77da6" providerId="ADAL" clId="{4E480DD1-6EB6-40E9-AA5D-F0885641F18B}" dt="2022-11-18T10:27:07.690" v="474" actId="790"/>
          <ac:spMkLst>
            <pc:docMk/>
            <pc:sldMk cId="2574806156" sldId="2146849611"/>
            <ac:spMk id="1279" creationId="{152ED888-25C7-4E59-BF3E-DA032FD4EF57}"/>
          </ac:spMkLst>
        </pc:spChg>
        <pc:spChg chg="mod">
          <ac:chgData name="Lars Boe Riber" userId="a0746655-6c86-46e8-9fa0-3fdc9fc77da6" providerId="ADAL" clId="{4E480DD1-6EB6-40E9-AA5D-F0885641F18B}" dt="2022-11-18T10:27:07.690" v="475" actId="790"/>
          <ac:spMkLst>
            <pc:docMk/>
            <pc:sldMk cId="2574806156" sldId="2146849611"/>
            <ac:spMk id="1280" creationId="{BB9FBF37-2FE1-4E3F-9911-0BA47CFFAC90}"/>
          </ac:spMkLst>
        </pc:spChg>
        <pc:spChg chg="mod">
          <ac:chgData name="Lars Boe Riber" userId="a0746655-6c86-46e8-9fa0-3fdc9fc77da6" providerId="ADAL" clId="{4E480DD1-6EB6-40E9-AA5D-F0885641F18B}" dt="2022-11-18T10:27:07.691" v="476" actId="790"/>
          <ac:spMkLst>
            <pc:docMk/>
            <pc:sldMk cId="2574806156" sldId="2146849611"/>
            <ac:spMk id="1281" creationId="{7D2452B0-BE8B-433A-A7FA-21E9B77896D9}"/>
          </ac:spMkLst>
        </pc:spChg>
        <pc:spChg chg="mod">
          <ac:chgData name="Lars Boe Riber" userId="a0746655-6c86-46e8-9fa0-3fdc9fc77da6" providerId="ADAL" clId="{4E480DD1-6EB6-40E9-AA5D-F0885641F18B}" dt="2022-11-18T10:27:07.692" v="477" actId="790"/>
          <ac:spMkLst>
            <pc:docMk/>
            <pc:sldMk cId="2574806156" sldId="2146849611"/>
            <ac:spMk id="1282" creationId="{4B1FE15E-7C74-4B1B-845F-4C5AE3CB4EEA}"/>
          </ac:spMkLst>
        </pc:spChg>
        <pc:spChg chg="mod">
          <ac:chgData name="Lars Boe Riber" userId="a0746655-6c86-46e8-9fa0-3fdc9fc77da6" providerId="ADAL" clId="{4E480DD1-6EB6-40E9-AA5D-F0885641F18B}" dt="2022-11-18T10:27:07.692" v="478" actId="790"/>
          <ac:spMkLst>
            <pc:docMk/>
            <pc:sldMk cId="2574806156" sldId="2146849611"/>
            <ac:spMk id="1283" creationId="{F4C4F64D-FC85-4DD3-94C5-5230AC33C5D2}"/>
          </ac:spMkLst>
        </pc:spChg>
        <pc:spChg chg="mod">
          <ac:chgData name="Lars Boe Riber" userId="a0746655-6c86-46e8-9fa0-3fdc9fc77da6" providerId="ADAL" clId="{4E480DD1-6EB6-40E9-AA5D-F0885641F18B}" dt="2022-11-18T10:27:07.693" v="479" actId="790"/>
          <ac:spMkLst>
            <pc:docMk/>
            <pc:sldMk cId="2574806156" sldId="2146849611"/>
            <ac:spMk id="1284" creationId="{3B64AA7E-E93C-4828-9F45-1052BA2DAD6E}"/>
          </ac:spMkLst>
        </pc:spChg>
        <pc:spChg chg="mod">
          <ac:chgData name="Lars Boe Riber" userId="a0746655-6c86-46e8-9fa0-3fdc9fc77da6" providerId="ADAL" clId="{4E480DD1-6EB6-40E9-AA5D-F0885641F18B}" dt="2022-11-18T10:27:07.694" v="480" actId="790"/>
          <ac:spMkLst>
            <pc:docMk/>
            <pc:sldMk cId="2574806156" sldId="2146849611"/>
            <ac:spMk id="1285" creationId="{1FB485FC-4D28-4B2D-980E-51AF8516E858}"/>
          </ac:spMkLst>
        </pc:spChg>
        <pc:spChg chg="mod">
          <ac:chgData name="Lars Boe Riber" userId="a0746655-6c86-46e8-9fa0-3fdc9fc77da6" providerId="ADAL" clId="{4E480DD1-6EB6-40E9-AA5D-F0885641F18B}" dt="2022-11-18T10:27:07.695" v="481" actId="790"/>
          <ac:spMkLst>
            <pc:docMk/>
            <pc:sldMk cId="2574806156" sldId="2146849611"/>
            <ac:spMk id="1286" creationId="{881D5C06-3745-453C-A4CA-2D0324F3386F}"/>
          </ac:spMkLst>
        </pc:spChg>
        <pc:spChg chg="mod">
          <ac:chgData name="Lars Boe Riber" userId="a0746655-6c86-46e8-9fa0-3fdc9fc77da6" providerId="ADAL" clId="{4E480DD1-6EB6-40E9-AA5D-F0885641F18B}" dt="2022-11-18T10:27:07.695" v="482" actId="790"/>
          <ac:spMkLst>
            <pc:docMk/>
            <pc:sldMk cId="2574806156" sldId="2146849611"/>
            <ac:spMk id="1287" creationId="{C6042B61-E1CB-49D4-829E-4D3038937D2E}"/>
          </ac:spMkLst>
        </pc:spChg>
        <pc:spChg chg="mod">
          <ac:chgData name="Lars Boe Riber" userId="a0746655-6c86-46e8-9fa0-3fdc9fc77da6" providerId="ADAL" clId="{4E480DD1-6EB6-40E9-AA5D-F0885641F18B}" dt="2022-11-18T10:27:07.696" v="483" actId="790"/>
          <ac:spMkLst>
            <pc:docMk/>
            <pc:sldMk cId="2574806156" sldId="2146849611"/>
            <ac:spMk id="1288" creationId="{4CE41DC3-82B6-4807-B3B1-D72037B7551D}"/>
          </ac:spMkLst>
        </pc:spChg>
        <pc:spChg chg="mod">
          <ac:chgData name="Lars Boe Riber" userId="a0746655-6c86-46e8-9fa0-3fdc9fc77da6" providerId="ADAL" clId="{4E480DD1-6EB6-40E9-AA5D-F0885641F18B}" dt="2022-11-18T10:27:07.697" v="484" actId="790"/>
          <ac:spMkLst>
            <pc:docMk/>
            <pc:sldMk cId="2574806156" sldId="2146849611"/>
            <ac:spMk id="1289" creationId="{32990129-DF6D-4B2C-B6E0-7C30D9FFD14C}"/>
          </ac:spMkLst>
        </pc:spChg>
        <pc:spChg chg="mod">
          <ac:chgData name="Lars Boe Riber" userId="a0746655-6c86-46e8-9fa0-3fdc9fc77da6" providerId="ADAL" clId="{4E480DD1-6EB6-40E9-AA5D-F0885641F18B}" dt="2022-11-18T10:27:07.698" v="485" actId="790"/>
          <ac:spMkLst>
            <pc:docMk/>
            <pc:sldMk cId="2574806156" sldId="2146849611"/>
            <ac:spMk id="1290" creationId="{4AA4F736-B3BF-4A8D-B495-A36BC2F7237E}"/>
          </ac:spMkLst>
        </pc:spChg>
        <pc:spChg chg="mod">
          <ac:chgData name="Lars Boe Riber" userId="a0746655-6c86-46e8-9fa0-3fdc9fc77da6" providerId="ADAL" clId="{4E480DD1-6EB6-40E9-AA5D-F0885641F18B}" dt="2022-11-18T10:27:07.699" v="486" actId="790"/>
          <ac:spMkLst>
            <pc:docMk/>
            <pc:sldMk cId="2574806156" sldId="2146849611"/>
            <ac:spMk id="1291" creationId="{33CD8483-C4B4-4D2D-8C11-F5B4317CD13E}"/>
          </ac:spMkLst>
        </pc:spChg>
        <pc:spChg chg="mod">
          <ac:chgData name="Lars Boe Riber" userId="a0746655-6c86-46e8-9fa0-3fdc9fc77da6" providerId="ADAL" clId="{4E480DD1-6EB6-40E9-AA5D-F0885641F18B}" dt="2022-11-18T10:27:07.699" v="487" actId="790"/>
          <ac:spMkLst>
            <pc:docMk/>
            <pc:sldMk cId="2574806156" sldId="2146849611"/>
            <ac:spMk id="1292" creationId="{C0F4F781-0C3F-4618-BE1F-8AD9C788976A}"/>
          </ac:spMkLst>
        </pc:spChg>
        <pc:spChg chg="mod">
          <ac:chgData name="Lars Boe Riber" userId="a0746655-6c86-46e8-9fa0-3fdc9fc77da6" providerId="ADAL" clId="{4E480DD1-6EB6-40E9-AA5D-F0885641F18B}" dt="2022-11-18T10:27:07.700" v="488" actId="790"/>
          <ac:spMkLst>
            <pc:docMk/>
            <pc:sldMk cId="2574806156" sldId="2146849611"/>
            <ac:spMk id="1293" creationId="{74F3BEC7-8167-440F-AE2D-84AE0BD98358}"/>
          </ac:spMkLst>
        </pc:spChg>
        <pc:spChg chg="mod">
          <ac:chgData name="Lars Boe Riber" userId="a0746655-6c86-46e8-9fa0-3fdc9fc77da6" providerId="ADAL" clId="{4E480DD1-6EB6-40E9-AA5D-F0885641F18B}" dt="2022-11-18T10:27:07.701" v="489" actId="790"/>
          <ac:spMkLst>
            <pc:docMk/>
            <pc:sldMk cId="2574806156" sldId="2146849611"/>
            <ac:spMk id="1294" creationId="{8213B279-13AE-4291-8A9E-05FEC1F4FCF6}"/>
          </ac:spMkLst>
        </pc:spChg>
        <pc:spChg chg="mod">
          <ac:chgData name="Lars Boe Riber" userId="a0746655-6c86-46e8-9fa0-3fdc9fc77da6" providerId="ADAL" clId="{4E480DD1-6EB6-40E9-AA5D-F0885641F18B}" dt="2022-11-18T10:27:07.702" v="490" actId="790"/>
          <ac:spMkLst>
            <pc:docMk/>
            <pc:sldMk cId="2574806156" sldId="2146849611"/>
            <ac:spMk id="1295" creationId="{6AECF169-456B-499B-96DF-46E71699A343}"/>
          </ac:spMkLst>
        </pc:spChg>
        <pc:spChg chg="mod">
          <ac:chgData name="Lars Boe Riber" userId="a0746655-6c86-46e8-9fa0-3fdc9fc77da6" providerId="ADAL" clId="{4E480DD1-6EB6-40E9-AA5D-F0885641F18B}" dt="2022-11-18T10:27:07.703" v="491" actId="790"/>
          <ac:spMkLst>
            <pc:docMk/>
            <pc:sldMk cId="2574806156" sldId="2146849611"/>
            <ac:spMk id="1296" creationId="{E57CDFCE-C144-45A6-81F2-0DECB1013769}"/>
          </ac:spMkLst>
        </pc:spChg>
        <pc:spChg chg="mod">
          <ac:chgData name="Lars Boe Riber" userId="a0746655-6c86-46e8-9fa0-3fdc9fc77da6" providerId="ADAL" clId="{4E480DD1-6EB6-40E9-AA5D-F0885641F18B}" dt="2022-11-18T10:27:07.704" v="492" actId="790"/>
          <ac:spMkLst>
            <pc:docMk/>
            <pc:sldMk cId="2574806156" sldId="2146849611"/>
            <ac:spMk id="1297" creationId="{33AFE66F-D90A-4EDE-8011-12EC857BC3B9}"/>
          </ac:spMkLst>
        </pc:spChg>
        <pc:spChg chg="mod">
          <ac:chgData name="Lars Boe Riber" userId="a0746655-6c86-46e8-9fa0-3fdc9fc77da6" providerId="ADAL" clId="{4E480DD1-6EB6-40E9-AA5D-F0885641F18B}" dt="2022-11-18T10:27:07.704" v="493" actId="790"/>
          <ac:spMkLst>
            <pc:docMk/>
            <pc:sldMk cId="2574806156" sldId="2146849611"/>
            <ac:spMk id="1298" creationId="{4CE4B3CC-436E-4A0A-81A3-EB250CEED012}"/>
          </ac:spMkLst>
        </pc:spChg>
        <pc:spChg chg="mod">
          <ac:chgData name="Lars Boe Riber" userId="a0746655-6c86-46e8-9fa0-3fdc9fc77da6" providerId="ADAL" clId="{4E480DD1-6EB6-40E9-AA5D-F0885641F18B}" dt="2022-11-18T10:27:07.705" v="494" actId="790"/>
          <ac:spMkLst>
            <pc:docMk/>
            <pc:sldMk cId="2574806156" sldId="2146849611"/>
            <ac:spMk id="1299" creationId="{5BC33741-FEF4-4718-B09E-01C50A07DF0D}"/>
          </ac:spMkLst>
        </pc:spChg>
        <pc:spChg chg="mod">
          <ac:chgData name="Lars Boe Riber" userId="a0746655-6c86-46e8-9fa0-3fdc9fc77da6" providerId="ADAL" clId="{4E480DD1-6EB6-40E9-AA5D-F0885641F18B}" dt="2022-11-18T10:27:07.706" v="495" actId="790"/>
          <ac:spMkLst>
            <pc:docMk/>
            <pc:sldMk cId="2574806156" sldId="2146849611"/>
            <ac:spMk id="1300" creationId="{C54A9C4A-6811-469F-93BF-A35B4D4A350D}"/>
          </ac:spMkLst>
        </pc:spChg>
        <pc:spChg chg="mod">
          <ac:chgData name="Lars Boe Riber" userId="a0746655-6c86-46e8-9fa0-3fdc9fc77da6" providerId="ADAL" clId="{4E480DD1-6EB6-40E9-AA5D-F0885641F18B}" dt="2022-11-18T10:27:07.707" v="496" actId="790"/>
          <ac:spMkLst>
            <pc:docMk/>
            <pc:sldMk cId="2574806156" sldId="2146849611"/>
            <ac:spMk id="1301" creationId="{D1D833A9-3567-49B8-ADB5-C64266BBCB9A}"/>
          </ac:spMkLst>
        </pc:spChg>
        <pc:spChg chg="mod">
          <ac:chgData name="Lars Boe Riber" userId="a0746655-6c86-46e8-9fa0-3fdc9fc77da6" providerId="ADAL" clId="{4E480DD1-6EB6-40E9-AA5D-F0885641F18B}" dt="2022-11-18T10:27:07.707" v="497" actId="790"/>
          <ac:spMkLst>
            <pc:docMk/>
            <pc:sldMk cId="2574806156" sldId="2146849611"/>
            <ac:spMk id="1302" creationId="{11A08EF5-11B6-415E-A636-A2E8518BEC13}"/>
          </ac:spMkLst>
        </pc:spChg>
        <pc:spChg chg="mod">
          <ac:chgData name="Lars Boe Riber" userId="a0746655-6c86-46e8-9fa0-3fdc9fc77da6" providerId="ADAL" clId="{4E480DD1-6EB6-40E9-AA5D-F0885641F18B}" dt="2022-11-18T10:27:07.708" v="498" actId="790"/>
          <ac:spMkLst>
            <pc:docMk/>
            <pc:sldMk cId="2574806156" sldId="2146849611"/>
            <ac:spMk id="1303" creationId="{C4AABE42-3248-4A5C-80C8-E74335B01DB9}"/>
          </ac:spMkLst>
        </pc:spChg>
        <pc:spChg chg="mod">
          <ac:chgData name="Lars Boe Riber" userId="a0746655-6c86-46e8-9fa0-3fdc9fc77da6" providerId="ADAL" clId="{4E480DD1-6EB6-40E9-AA5D-F0885641F18B}" dt="2022-11-18T10:27:07.709" v="499" actId="790"/>
          <ac:spMkLst>
            <pc:docMk/>
            <pc:sldMk cId="2574806156" sldId="2146849611"/>
            <ac:spMk id="1304" creationId="{F88175E4-082C-4B0F-B82B-8A14406FDA95}"/>
          </ac:spMkLst>
        </pc:spChg>
        <pc:spChg chg="mod">
          <ac:chgData name="Lars Boe Riber" userId="a0746655-6c86-46e8-9fa0-3fdc9fc77da6" providerId="ADAL" clId="{4E480DD1-6EB6-40E9-AA5D-F0885641F18B}" dt="2022-11-18T10:27:07.709" v="500" actId="790"/>
          <ac:spMkLst>
            <pc:docMk/>
            <pc:sldMk cId="2574806156" sldId="2146849611"/>
            <ac:spMk id="1305" creationId="{39A9D649-1645-45E5-A4A4-0A215B6BB475}"/>
          </ac:spMkLst>
        </pc:spChg>
        <pc:spChg chg="mod">
          <ac:chgData name="Lars Boe Riber" userId="a0746655-6c86-46e8-9fa0-3fdc9fc77da6" providerId="ADAL" clId="{4E480DD1-6EB6-40E9-AA5D-F0885641F18B}" dt="2022-11-18T10:27:07.710" v="501" actId="790"/>
          <ac:spMkLst>
            <pc:docMk/>
            <pc:sldMk cId="2574806156" sldId="2146849611"/>
            <ac:spMk id="1306" creationId="{66E73105-9A77-406A-9417-482B5A5A2133}"/>
          </ac:spMkLst>
        </pc:spChg>
        <pc:spChg chg="mod">
          <ac:chgData name="Lars Boe Riber" userId="a0746655-6c86-46e8-9fa0-3fdc9fc77da6" providerId="ADAL" clId="{4E480DD1-6EB6-40E9-AA5D-F0885641F18B}" dt="2022-11-18T10:27:07.711" v="502" actId="790"/>
          <ac:spMkLst>
            <pc:docMk/>
            <pc:sldMk cId="2574806156" sldId="2146849611"/>
            <ac:spMk id="1307" creationId="{9098E32D-BB46-4F81-9591-B12F83E344E3}"/>
          </ac:spMkLst>
        </pc:spChg>
        <pc:spChg chg="mod">
          <ac:chgData name="Lars Boe Riber" userId="a0746655-6c86-46e8-9fa0-3fdc9fc77da6" providerId="ADAL" clId="{4E480DD1-6EB6-40E9-AA5D-F0885641F18B}" dt="2022-11-18T10:27:07.712" v="503" actId="790"/>
          <ac:spMkLst>
            <pc:docMk/>
            <pc:sldMk cId="2574806156" sldId="2146849611"/>
            <ac:spMk id="1308" creationId="{E787F6C4-80B7-4657-A9B4-047FFB8AEAE1}"/>
          </ac:spMkLst>
        </pc:spChg>
        <pc:spChg chg="mod">
          <ac:chgData name="Lars Boe Riber" userId="a0746655-6c86-46e8-9fa0-3fdc9fc77da6" providerId="ADAL" clId="{4E480DD1-6EB6-40E9-AA5D-F0885641F18B}" dt="2022-11-18T10:27:07.712" v="504" actId="790"/>
          <ac:spMkLst>
            <pc:docMk/>
            <pc:sldMk cId="2574806156" sldId="2146849611"/>
            <ac:spMk id="1309" creationId="{C7D9BCEA-B046-48A5-A7BE-21D1D1F54221}"/>
          </ac:spMkLst>
        </pc:spChg>
        <pc:spChg chg="mod">
          <ac:chgData name="Lars Boe Riber" userId="a0746655-6c86-46e8-9fa0-3fdc9fc77da6" providerId="ADAL" clId="{4E480DD1-6EB6-40E9-AA5D-F0885641F18B}" dt="2022-11-18T10:27:07.713" v="505" actId="790"/>
          <ac:spMkLst>
            <pc:docMk/>
            <pc:sldMk cId="2574806156" sldId="2146849611"/>
            <ac:spMk id="1310" creationId="{2E0AA86D-4D59-45F1-B912-A9FA692889CE}"/>
          </ac:spMkLst>
        </pc:spChg>
        <pc:spChg chg="mod">
          <ac:chgData name="Lars Boe Riber" userId="a0746655-6c86-46e8-9fa0-3fdc9fc77da6" providerId="ADAL" clId="{4E480DD1-6EB6-40E9-AA5D-F0885641F18B}" dt="2022-11-18T10:27:07.714" v="506" actId="790"/>
          <ac:spMkLst>
            <pc:docMk/>
            <pc:sldMk cId="2574806156" sldId="2146849611"/>
            <ac:spMk id="1311" creationId="{3578B3DE-A541-49E2-AF03-E73CD8590005}"/>
          </ac:spMkLst>
        </pc:spChg>
        <pc:spChg chg="mod">
          <ac:chgData name="Lars Boe Riber" userId="a0746655-6c86-46e8-9fa0-3fdc9fc77da6" providerId="ADAL" clId="{4E480DD1-6EB6-40E9-AA5D-F0885641F18B}" dt="2022-11-18T10:27:07.715" v="507" actId="790"/>
          <ac:spMkLst>
            <pc:docMk/>
            <pc:sldMk cId="2574806156" sldId="2146849611"/>
            <ac:spMk id="1312" creationId="{F9CEFC1C-F5D1-4170-BDEF-A7FF49C7803A}"/>
          </ac:spMkLst>
        </pc:spChg>
        <pc:spChg chg="mod">
          <ac:chgData name="Lars Boe Riber" userId="a0746655-6c86-46e8-9fa0-3fdc9fc77da6" providerId="ADAL" clId="{4E480DD1-6EB6-40E9-AA5D-F0885641F18B}" dt="2022-11-18T10:27:07.716" v="508" actId="790"/>
          <ac:spMkLst>
            <pc:docMk/>
            <pc:sldMk cId="2574806156" sldId="2146849611"/>
            <ac:spMk id="1313" creationId="{59601BE5-14D2-4DD9-B6FF-89B4A6551C8B}"/>
          </ac:spMkLst>
        </pc:spChg>
        <pc:spChg chg="mod">
          <ac:chgData name="Lars Boe Riber" userId="a0746655-6c86-46e8-9fa0-3fdc9fc77da6" providerId="ADAL" clId="{4E480DD1-6EB6-40E9-AA5D-F0885641F18B}" dt="2022-11-18T10:27:07.717" v="509" actId="790"/>
          <ac:spMkLst>
            <pc:docMk/>
            <pc:sldMk cId="2574806156" sldId="2146849611"/>
            <ac:spMk id="1314" creationId="{2BE6F61B-6E66-4BD1-A2F4-A456D21FD10A}"/>
          </ac:spMkLst>
        </pc:spChg>
        <pc:spChg chg="mod">
          <ac:chgData name="Lars Boe Riber" userId="a0746655-6c86-46e8-9fa0-3fdc9fc77da6" providerId="ADAL" clId="{4E480DD1-6EB6-40E9-AA5D-F0885641F18B}" dt="2022-11-18T10:27:07.718" v="510" actId="790"/>
          <ac:spMkLst>
            <pc:docMk/>
            <pc:sldMk cId="2574806156" sldId="2146849611"/>
            <ac:spMk id="1315" creationId="{4E2E110D-6BFF-43BA-8578-922ACC016C7B}"/>
          </ac:spMkLst>
        </pc:spChg>
        <pc:spChg chg="mod">
          <ac:chgData name="Lars Boe Riber" userId="a0746655-6c86-46e8-9fa0-3fdc9fc77da6" providerId="ADAL" clId="{4E480DD1-6EB6-40E9-AA5D-F0885641F18B}" dt="2022-11-18T10:27:07.719" v="511" actId="790"/>
          <ac:spMkLst>
            <pc:docMk/>
            <pc:sldMk cId="2574806156" sldId="2146849611"/>
            <ac:spMk id="1316" creationId="{5EF31A4E-87FC-4FA8-ABE4-9062460F3245}"/>
          </ac:spMkLst>
        </pc:spChg>
        <pc:spChg chg="mod">
          <ac:chgData name="Lars Boe Riber" userId="a0746655-6c86-46e8-9fa0-3fdc9fc77da6" providerId="ADAL" clId="{4E480DD1-6EB6-40E9-AA5D-F0885641F18B}" dt="2022-11-18T10:27:07.720" v="512" actId="790"/>
          <ac:spMkLst>
            <pc:docMk/>
            <pc:sldMk cId="2574806156" sldId="2146849611"/>
            <ac:spMk id="1317" creationId="{FB447FC0-4267-4014-97D2-AB44DFE51D98}"/>
          </ac:spMkLst>
        </pc:spChg>
        <pc:spChg chg="mod">
          <ac:chgData name="Lars Boe Riber" userId="a0746655-6c86-46e8-9fa0-3fdc9fc77da6" providerId="ADAL" clId="{4E480DD1-6EB6-40E9-AA5D-F0885641F18B}" dt="2022-11-18T10:27:07.720" v="513" actId="790"/>
          <ac:spMkLst>
            <pc:docMk/>
            <pc:sldMk cId="2574806156" sldId="2146849611"/>
            <ac:spMk id="1318" creationId="{B115530B-FFF0-44C3-89D9-712310D7B543}"/>
          </ac:spMkLst>
        </pc:spChg>
        <pc:spChg chg="mod">
          <ac:chgData name="Lars Boe Riber" userId="a0746655-6c86-46e8-9fa0-3fdc9fc77da6" providerId="ADAL" clId="{4E480DD1-6EB6-40E9-AA5D-F0885641F18B}" dt="2022-11-18T10:27:07.721" v="514" actId="790"/>
          <ac:spMkLst>
            <pc:docMk/>
            <pc:sldMk cId="2574806156" sldId="2146849611"/>
            <ac:spMk id="1319" creationId="{9F3006D8-2060-4295-9134-916DFEDC9520}"/>
          </ac:spMkLst>
        </pc:spChg>
        <pc:spChg chg="mod">
          <ac:chgData name="Lars Boe Riber" userId="a0746655-6c86-46e8-9fa0-3fdc9fc77da6" providerId="ADAL" clId="{4E480DD1-6EB6-40E9-AA5D-F0885641F18B}" dt="2022-11-18T10:27:07.722" v="515" actId="790"/>
          <ac:spMkLst>
            <pc:docMk/>
            <pc:sldMk cId="2574806156" sldId="2146849611"/>
            <ac:spMk id="1320" creationId="{F2745E72-D5FE-469A-B8EA-D41834438132}"/>
          </ac:spMkLst>
        </pc:spChg>
        <pc:spChg chg="mod">
          <ac:chgData name="Lars Boe Riber" userId="a0746655-6c86-46e8-9fa0-3fdc9fc77da6" providerId="ADAL" clId="{4E480DD1-6EB6-40E9-AA5D-F0885641F18B}" dt="2022-11-18T10:27:07.723" v="516" actId="790"/>
          <ac:spMkLst>
            <pc:docMk/>
            <pc:sldMk cId="2574806156" sldId="2146849611"/>
            <ac:spMk id="1321" creationId="{39AE59F3-8EA8-49A1-886D-438D203480AA}"/>
          </ac:spMkLst>
        </pc:spChg>
        <pc:spChg chg="mod">
          <ac:chgData name="Lars Boe Riber" userId="a0746655-6c86-46e8-9fa0-3fdc9fc77da6" providerId="ADAL" clId="{4E480DD1-6EB6-40E9-AA5D-F0885641F18B}" dt="2022-11-18T10:27:07.724" v="517" actId="790"/>
          <ac:spMkLst>
            <pc:docMk/>
            <pc:sldMk cId="2574806156" sldId="2146849611"/>
            <ac:spMk id="1322" creationId="{C03151D7-22D6-4298-83EE-ED2CF5AA0E48}"/>
          </ac:spMkLst>
        </pc:spChg>
        <pc:spChg chg="mod">
          <ac:chgData name="Lars Boe Riber" userId="a0746655-6c86-46e8-9fa0-3fdc9fc77da6" providerId="ADAL" clId="{4E480DD1-6EB6-40E9-AA5D-F0885641F18B}" dt="2022-11-18T10:27:07.724" v="518" actId="790"/>
          <ac:spMkLst>
            <pc:docMk/>
            <pc:sldMk cId="2574806156" sldId="2146849611"/>
            <ac:spMk id="1323" creationId="{D6BDE710-490F-40AC-96E5-B0901D0DC05D}"/>
          </ac:spMkLst>
        </pc:spChg>
        <pc:spChg chg="mod">
          <ac:chgData name="Lars Boe Riber" userId="a0746655-6c86-46e8-9fa0-3fdc9fc77da6" providerId="ADAL" clId="{4E480DD1-6EB6-40E9-AA5D-F0885641F18B}" dt="2022-11-18T10:27:07.725" v="519" actId="790"/>
          <ac:spMkLst>
            <pc:docMk/>
            <pc:sldMk cId="2574806156" sldId="2146849611"/>
            <ac:spMk id="1324" creationId="{A5C18D66-24AA-4E9D-AA2D-F82882A10E69}"/>
          </ac:spMkLst>
        </pc:spChg>
        <pc:spChg chg="mod">
          <ac:chgData name="Lars Boe Riber" userId="a0746655-6c86-46e8-9fa0-3fdc9fc77da6" providerId="ADAL" clId="{4E480DD1-6EB6-40E9-AA5D-F0885641F18B}" dt="2022-11-18T10:27:07.726" v="520" actId="790"/>
          <ac:spMkLst>
            <pc:docMk/>
            <pc:sldMk cId="2574806156" sldId="2146849611"/>
            <ac:spMk id="1325" creationId="{4FEFEA2E-CD4B-4AD9-8A63-7900D6E3D3E4}"/>
          </ac:spMkLst>
        </pc:spChg>
        <pc:spChg chg="mod">
          <ac:chgData name="Lars Boe Riber" userId="a0746655-6c86-46e8-9fa0-3fdc9fc77da6" providerId="ADAL" clId="{4E480DD1-6EB6-40E9-AA5D-F0885641F18B}" dt="2022-11-18T10:27:07.726" v="521" actId="790"/>
          <ac:spMkLst>
            <pc:docMk/>
            <pc:sldMk cId="2574806156" sldId="2146849611"/>
            <ac:spMk id="1326" creationId="{21704DD9-201C-4AEE-8E49-4134EC6AA5A2}"/>
          </ac:spMkLst>
        </pc:spChg>
        <pc:spChg chg="mod">
          <ac:chgData name="Lars Boe Riber" userId="a0746655-6c86-46e8-9fa0-3fdc9fc77da6" providerId="ADAL" clId="{4E480DD1-6EB6-40E9-AA5D-F0885641F18B}" dt="2022-11-18T10:27:07.727" v="522" actId="790"/>
          <ac:spMkLst>
            <pc:docMk/>
            <pc:sldMk cId="2574806156" sldId="2146849611"/>
            <ac:spMk id="1327" creationId="{DA22A8F3-4154-4986-AFC8-768CE3BE51F6}"/>
          </ac:spMkLst>
        </pc:spChg>
        <pc:spChg chg="mod">
          <ac:chgData name="Lars Boe Riber" userId="a0746655-6c86-46e8-9fa0-3fdc9fc77da6" providerId="ADAL" clId="{4E480DD1-6EB6-40E9-AA5D-F0885641F18B}" dt="2022-11-18T10:27:07.728" v="523" actId="790"/>
          <ac:spMkLst>
            <pc:docMk/>
            <pc:sldMk cId="2574806156" sldId="2146849611"/>
            <ac:spMk id="1328" creationId="{483389FF-0138-4F64-B443-9ECB0EBB2105}"/>
          </ac:spMkLst>
        </pc:spChg>
        <pc:spChg chg="mod">
          <ac:chgData name="Lars Boe Riber" userId="a0746655-6c86-46e8-9fa0-3fdc9fc77da6" providerId="ADAL" clId="{4E480DD1-6EB6-40E9-AA5D-F0885641F18B}" dt="2022-11-18T10:27:07.729" v="524" actId="790"/>
          <ac:spMkLst>
            <pc:docMk/>
            <pc:sldMk cId="2574806156" sldId="2146849611"/>
            <ac:spMk id="1329" creationId="{4DAF5702-B0E0-40B1-90F2-BC067129C2F0}"/>
          </ac:spMkLst>
        </pc:spChg>
        <pc:spChg chg="mod">
          <ac:chgData name="Lars Boe Riber" userId="a0746655-6c86-46e8-9fa0-3fdc9fc77da6" providerId="ADAL" clId="{4E480DD1-6EB6-40E9-AA5D-F0885641F18B}" dt="2022-11-18T10:27:07.730" v="525" actId="790"/>
          <ac:spMkLst>
            <pc:docMk/>
            <pc:sldMk cId="2574806156" sldId="2146849611"/>
            <ac:spMk id="1330" creationId="{4699FA98-A0E9-4DD3-891E-B1B89E54572D}"/>
          </ac:spMkLst>
        </pc:spChg>
        <pc:spChg chg="mod">
          <ac:chgData name="Lars Boe Riber" userId="a0746655-6c86-46e8-9fa0-3fdc9fc77da6" providerId="ADAL" clId="{4E480DD1-6EB6-40E9-AA5D-F0885641F18B}" dt="2022-11-18T10:27:07.730" v="526" actId="790"/>
          <ac:spMkLst>
            <pc:docMk/>
            <pc:sldMk cId="2574806156" sldId="2146849611"/>
            <ac:spMk id="1331" creationId="{DA5801D7-0B7D-49D8-A7B0-1D9F96DA9E08}"/>
          </ac:spMkLst>
        </pc:spChg>
        <pc:spChg chg="mod">
          <ac:chgData name="Lars Boe Riber" userId="a0746655-6c86-46e8-9fa0-3fdc9fc77da6" providerId="ADAL" clId="{4E480DD1-6EB6-40E9-AA5D-F0885641F18B}" dt="2022-11-18T10:27:07.731" v="527" actId="790"/>
          <ac:spMkLst>
            <pc:docMk/>
            <pc:sldMk cId="2574806156" sldId="2146849611"/>
            <ac:spMk id="1332" creationId="{1BA3B90D-D0E3-4DFC-860C-B2D8C461F65A}"/>
          </ac:spMkLst>
        </pc:spChg>
        <pc:spChg chg="mod">
          <ac:chgData name="Lars Boe Riber" userId="a0746655-6c86-46e8-9fa0-3fdc9fc77da6" providerId="ADAL" clId="{4E480DD1-6EB6-40E9-AA5D-F0885641F18B}" dt="2022-11-18T10:27:07.732" v="528" actId="790"/>
          <ac:spMkLst>
            <pc:docMk/>
            <pc:sldMk cId="2574806156" sldId="2146849611"/>
            <ac:spMk id="1333" creationId="{76FB0188-82EC-463C-9B15-0D7D1BF633E4}"/>
          </ac:spMkLst>
        </pc:spChg>
        <pc:spChg chg="mod">
          <ac:chgData name="Lars Boe Riber" userId="a0746655-6c86-46e8-9fa0-3fdc9fc77da6" providerId="ADAL" clId="{4E480DD1-6EB6-40E9-AA5D-F0885641F18B}" dt="2022-11-18T10:27:07.733" v="529" actId="790"/>
          <ac:spMkLst>
            <pc:docMk/>
            <pc:sldMk cId="2574806156" sldId="2146849611"/>
            <ac:spMk id="1334" creationId="{7A16E0C0-6830-4DCD-85A0-E26802EEDBF0}"/>
          </ac:spMkLst>
        </pc:spChg>
        <pc:spChg chg="mod">
          <ac:chgData name="Lars Boe Riber" userId="a0746655-6c86-46e8-9fa0-3fdc9fc77da6" providerId="ADAL" clId="{4E480DD1-6EB6-40E9-AA5D-F0885641F18B}" dt="2022-11-18T10:27:07.733" v="530" actId="790"/>
          <ac:spMkLst>
            <pc:docMk/>
            <pc:sldMk cId="2574806156" sldId="2146849611"/>
            <ac:spMk id="1335" creationId="{BF1D7DD8-6CEE-48D6-891D-68274E8D591C}"/>
          </ac:spMkLst>
        </pc:spChg>
        <pc:spChg chg="mod">
          <ac:chgData name="Lars Boe Riber" userId="a0746655-6c86-46e8-9fa0-3fdc9fc77da6" providerId="ADAL" clId="{4E480DD1-6EB6-40E9-AA5D-F0885641F18B}" dt="2022-11-18T10:27:07.734" v="531" actId="790"/>
          <ac:spMkLst>
            <pc:docMk/>
            <pc:sldMk cId="2574806156" sldId="2146849611"/>
            <ac:spMk id="1336" creationId="{25345493-5EB7-49E1-978D-D574F9775720}"/>
          </ac:spMkLst>
        </pc:spChg>
        <pc:spChg chg="mod">
          <ac:chgData name="Lars Boe Riber" userId="a0746655-6c86-46e8-9fa0-3fdc9fc77da6" providerId="ADAL" clId="{4E480DD1-6EB6-40E9-AA5D-F0885641F18B}" dt="2022-11-18T10:27:07.735" v="532" actId="790"/>
          <ac:spMkLst>
            <pc:docMk/>
            <pc:sldMk cId="2574806156" sldId="2146849611"/>
            <ac:spMk id="1337" creationId="{74E22F7E-2F9F-4DA1-B30D-874CBBD6E3F5}"/>
          </ac:spMkLst>
        </pc:spChg>
        <pc:spChg chg="mod">
          <ac:chgData name="Lars Boe Riber" userId="a0746655-6c86-46e8-9fa0-3fdc9fc77da6" providerId="ADAL" clId="{4E480DD1-6EB6-40E9-AA5D-F0885641F18B}" dt="2022-11-18T10:27:07.736" v="533" actId="790"/>
          <ac:spMkLst>
            <pc:docMk/>
            <pc:sldMk cId="2574806156" sldId="2146849611"/>
            <ac:spMk id="1338" creationId="{B55788C4-853D-4EF1-9F7A-A9E9B28D325D}"/>
          </ac:spMkLst>
        </pc:spChg>
        <pc:spChg chg="mod">
          <ac:chgData name="Lars Boe Riber" userId="a0746655-6c86-46e8-9fa0-3fdc9fc77da6" providerId="ADAL" clId="{4E480DD1-6EB6-40E9-AA5D-F0885641F18B}" dt="2022-11-18T10:27:07.736" v="534" actId="790"/>
          <ac:spMkLst>
            <pc:docMk/>
            <pc:sldMk cId="2574806156" sldId="2146849611"/>
            <ac:spMk id="1339" creationId="{4DC07F20-B745-4F28-8CF0-BE090658150B}"/>
          </ac:spMkLst>
        </pc:spChg>
        <pc:spChg chg="mod">
          <ac:chgData name="Lars Boe Riber" userId="a0746655-6c86-46e8-9fa0-3fdc9fc77da6" providerId="ADAL" clId="{4E480DD1-6EB6-40E9-AA5D-F0885641F18B}" dt="2022-11-18T10:27:07.737" v="535" actId="790"/>
          <ac:spMkLst>
            <pc:docMk/>
            <pc:sldMk cId="2574806156" sldId="2146849611"/>
            <ac:spMk id="1340" creationId="{594F66FC-D55F-4FE5-88F3-C120FA6566E8}"/>
          </ac:spMkLst>
        </pc:spChg>
        <pc:spChg chg="mod">
          <ac:chgData name="Lars Boe Riber" userId="a0746655-6c86-46e8-9fa0-3fdc9fc77da6" providerId="ADAL" clId="{4E480DD1-6EB6-40E9-AA5D-F0885641F18B}" dt="2022-11-18T10:27:07.738" v="536" actId="790"/>
          <ac:spMkLst>
            <pc:docMk/>
            <pc:sldMk cId="2574806156" sldId="2146849611"/>
            <ac:spMk id="1341" creationId="{78B90717-195C-445E-A8D3-047606FD4D7D}"/>
          </ac:spMkLst>
        </pc:spChg>
        <pc:spChg chg="mod">
          <ac:chgData name="Lars Boe Riber" userId="a0746655-6c86-46e8-9fa0-3fdc9fc77da6" providerId="ADAL" clId="{4E480DD1-6EB6-40E9-AA5D-F0885641F18B}" dt="2022-11-18T10:27:07.739" v="537" actId="790"/>
          <ac:spMkLst>
            <pc:docMk/>
            <pc:sldMk cId="2574806156" sldId="2146849611"/>
            <ac:spMk id="1342" creationId="{EC1AFFC5-94C2-4926-B86B-DC2DB3EAC5CB}"/>
          </ac:spMkLst>
        </pc:spChg>
        <pc:spChg chg="mod">
          <ac:chgData name="Lars Boe Riber" userId="a0746655-6c86-46e8-9fa0-3fdc9fc77da6" providerId="ADAL" clId="{4E480DD1-6EB6-40E9-AA5D-F0885641F18B}" dt="2022-11-18T10:27:07.739" v="538" actId="790"/>
          <ac:spMkLst>
            <pc:docMk/>
            <pc:sldMk cId="2574806156" sldId="2146849611"/>
            <ac:spMk id="1343" creationId="{83D9B05A-82DC-4BC9-9CAF-CCDDDC3C92C0}"/>
          </ac:spMkLst>
        </pc:spChg>
        <pc:spChg chg="mod">
          <ac:chgData name="Lars Boe Riber" userId="a0746655-6c86-46e8-9fa0-3fdc9fc77da6" providerId="ADAL" clId="{4E480DD1-6EB6-40E9-AA5D-F0885641F18B}" dt="2022-11-18T10:27:07.740" v="539" actId="790"/>
          <ac:spMkLst>
            <pc:docMk/>
            <pc:sldMk cId="2574806156" sldId="2146849611"/>
            <ac:spMk id="1344" creationId="{E675677F-5022-4D28-8A16-6B14574CFE32}"/>
          </ac:spMkLst>
        </pc:spChg>
        <pc:spChg chg="mod">
          <ac:chgData name="Lars Boe Riber" userId="a0746655-6c86-46e8-9fa0-3fdc9fc77da6" providerId="ADAL" clId="{4E480DD1-6EB6-40E9-AA5D-F0885641F18B}" dt="2022-11-18T10:27:07.741" v="540" actId="790"/>
          <ac:spMkLst>
            <pc:docMk/>
            <pc:sldMk cId="2574806156" sldId="2146849611"/>
            <ac:spMk id="1345" creationId="{12FCB075-94C1-453F-877B-EEA90EA98198}"/>
          </ac:spMkLst>
        </pc:spChg>
        <pc:spChg chg="mod">
          <ac:chgData name="Lars Boe Riber" userId="a0746655-6c86-46e8-9fa0-3fdc9fc77da6" providerId="ADAL" clId="{4E480DD1-6EB6-40E9-AA5D-F0885641F18B}" dt="2022-11-18T10:27:07.742" v="541" actId="790"/>
          <ac:spMkLst>
            <pc:docMk/>
            <pc:sldMk cId="2574806156" sldId="2146849611"/>
            <ac:spMk id="1346" creationId="{C5A4FE04-E8B4-45B8-B8CE-E25EEE3E4D78}"/>
          </ac:spMkLst>
        </pc:spChg>
        <pc:spChg chg="mod">
          <ac:chgData name="Lars Boe Riber" userId="a0746655-6c86-46e8-9fa0-3fdc9fc77da6" providerId="ADAL" clId="{4E480DD1-6EB6-40E9-AA5D-F0885641F18B}" dt="2022-11-18T10:27:07.742" v="542" actId="790"/>
          <ac:spMkLst>
            <pc:docMk/>
            <pc:sldMk cId="2574806156" sldId="2146849611"/>
            <ac:spMk id="1347" creationId="{4B7A07B0-5B59-4694-BBB7-141BD524B497}"/>
          </ac:spMkLst>
        </pc:spChg>
        <pc:spChg chg="mod">
          <ac:chgData name="Lars Boe Riber" userId="a0746655-6c86-46e8-9fa0-3fdc9fc77da6" providerId="ADAL" clId="{4E480DD1-6EB6-40E9-AA5D-F0885641F18B}" dt="2022-11-18T10:27:07.743" v="543" actId="790"/>
          <ac:spMkLst>
            <pc:docMk/>
            <pc:sldMk cId="2574806156" sldId="2146849611"/>
            <ac:spMk id="1348" creationId="{0E8C586F-B8F7-4779-A999-FA34E6A3B2A3}"/>
          </ac:spMkLst>
        </pc:spChg>
        <pc:spChg chg="mod">
          <ac:chgData name="Lars Boe Riber" userId="a0746655-6c86-46e8-9fa0-3fdc9fc77da6" providerId="ADAL" clId="{4E480DD1-6EB6-40E9-AA5D-F0885641F18B}" dt="2022-11-18T10:27:07.744" v="544" actId="790"/>
          <ac:spMkLst>
            <pc:docMk/>
            <pc:sldMk cId="2574806156" sldId="2146849611"/>
            <ac:spMk id="1349" creationId="{11D2214C-2E0A-40D0-8DEF-CD7A5A9C9015}"/>
          </ac:spMkLst>
        </pc:spChg>
        <pc:spChg chg="mod">
          <ac:chgData name="Lars Boe Riber" userId="a0746655-6c86-46e8-9fa0-3fdc9fc77da6" providerId="ADAL" clId="{4E480DD1-6EB6-40E9-AA5D-F0885641F18B}" dt="2022-11-18T10:27:07.745" v="545" actId="790"/>
          <ac:spMkLst>
            <pc:docMk/>
            <pc:sldMk cId="2574806156" sldId="2146849611"/>
            <ac:spMk id="1350" creationId="{64282250-173B-4B77-A3EC-71A8F7D0317A}"/>
          </ac:spMkLst>
        </pc:spChg>
        <pc:spChg chg="mod">
          <ac:chgData name="Lars Boe Riber" userId="a0746655-6c86-46e8-9fa0-3fdc9fc77da6" providerId="ADAL" clId="{4E480DD1-6EB6-40E9-AA5D-F0885641F18B}" dt="2022-11-18T10:27:07.745" v="546" actId="790"/>
          <ac:spMkLst>
            <pc:docMk/>
            <pc:sldMk cId="2574806156" sldId="2146849611"/>
            <ac:spMk id="1351" creationId="{8370D71C-0438-43C8-8F6A-1C00EEB36EF3}"/>
          </ac:spMkLst>
        </pc:spChg>
        <pc:spChg chg="mod">
          <ac:chgData name="Lars Boe Riber" userId="a0746655-6c86-46e8-9fa0-3fdc9fc77da6" providerId="ADAL" clId="{4E480DD1-6EB6-40E9-AA5D-F0885641F18B}" dt="2022-11-18T10:27:07.746" v="547" actId="790"/>
          <ac:spMkLst>
            <pc:docMk/>
            <pc:sldMk cId="2574806156" sldId="2146849611"/>
            <ac:spMk id="1352" creationId="{2EA9D8E9-BF52-44FD-A46A-C011A24CAFC6}"/>
          </ac:spMkLst>
        </pc:spChg>
        <pc:spChg chg="mod">
          <ac:chgData name="Lars Boe Riber" userId="a0746655-6c86-46e8-9fa0-3fdc9fc77da6" providerId="ADAL" clId="{4E480DD1-6EB6-40E9-AA5D-F0885641F18B}" dt="2022-11-18T10:27:07.747" v="548" actId="790"/>
          <ac:spMkLst>
            <pc:docMk/>
            <pc:sldMk cId="2574806156" sldId="2146849611"/>
            <ac:spMk id="1353" creationId="{D70219C1-75E0-4774-9C6C-BCAD9DFE46B2}"/>
          </ac:spMkLst>
        </pc:spChg>
        <pc:spChg chg="mod">
          <ac:chgData name="Lars Boe Riber" userId="a0746655-6c86-46e8-9fa0-3fdc9fc77da6" providerId="ADAL" clId="{4E480DD1-6EB6-40E9-AA5D-F0885641F18B}" dt="2022-11-18T10:27:07.748" v="549" actId="790"/>
          <ac:spMkLst>
            <pc:docMk/>
            <pc:sldMk cId="2574806156" sldId="2146849611"/>
            <ac:spMk id="1354" creationId="{90A0CF97-15D0-4078-908A-6B89FBBCD460}"/>
          </ac:spMkLst>
        </pc:spChg>
        <pc:spChg chg="mod">
          <ac:chgData name="Lars Boe Riber" userId="a0746655-6c86-46e8-9fa0-3fdc9fc77da6" providerId="ADAL" clId="{4E480DD1-6EB6-40E9-AA5D-F0885641F18B}" dt="2022-11-18T10:27:07.749" v="550" actId="790"/>
          <ac:spMkLst>
            <pc:docMk/>
            <pc:sldMk cId="2574806156" sldId="2146849611"/>
            <ac:spMk id="1355" creationId="{60276942-E758-43B4-A310-FD72A4A6B0FF}"/>
          </ac:spMkLst>
        </pc:spChg>
        <pc:spChg chg="mod">
          <ac:chgData name="Lars Boe Riber" userId="a0746655-6c86-46e8-9fa0-3fdc9fc77da6" providerId="ADAL" clId="{4E480DD1-6EB6-40E9-AA5D-F0885641F18B}" dt="2022-11-18T10:27:07.750" v="551" actId="790"/>
          <ac:spMkLst>
            <pc:docMk/>
            <pc:sldMk cId="2574806156" sldId="2146849611"/>
            <ac:spMk id="1356" creationId="{9028CDA0-189E-4A73-BB41-371417805F6F}"/>
          </ac:spMkLst>
        </pc:spChg>
        <pc:spChg chg="mod">
          <ac:chgData name="Lars Boe Riber" userId="a0746655-6c86-46e8-9fa0-3fdc9fc77da6" providerId="ADAL" clId="{4E480DD1-6EB6-40E9-AA5D-F0885641F18B}" dt="2022-11-18T10:27:07.751" v="552" actId="790"/>
          <ac:spMkLst>
            <pc:docMk/>
            <pc:sldMk cId="2574806156" sldId="2146849611"/>
            <ac:spMk id="1357" creationId="{25DF8D07-57AF-49A6-AA32-D1758E58ED15}"/>
          </ac:spMkLst>
        </pc:spChg>
        <pc:spChg chg="mod">
          <ac:chgData name="Lars Boe Riber" userId="a0746655-6c86-46e8-9fa0-3fdc9fc77da6" providerId="ADAL" clId="{4E480DD1-6EB6-40E9-AA5D-F0885641F18B}" dt="2022-11-18T10:27:07.752" v="553" actId="790"/>
          <ac:spMkLst>
            <pc:docMk/>
            <pc:sldMk cId="2574806156" sldId="2146849611"/>
            <ac:spMk id="1358" creationId="{24639924-879E-445D-A790-D0CB1485E560}"/>
          </ac:spMkLst>
        </pc:spChg>
        <pc:spChg chg="mod">
          <ac:chgData name="Lars Boe Riber" userId="a0746655-6c86-46e8-9fa0-3fdc9fc77da6" providerId="ADAL" clId="{4E480DD1-6EB6-40E9-AA5D-F0885641F18B}" dt="2022-11-18T10:27:07.753" v="554" actId="790"/>
          <ac:spMkLst>
            <pc:docMk/>
            <pc:sldMk cId="2574806156" sldId="2146849611"/>
            <ac:spMk id="1359" creationId="{3142400A-C239-4645-B482-6D9AA1F3D1F9}"/>
          </ac:spMkLst>
        </pc:spChg>
        <pc:spChg chg="mod">
          <ac:chgData name="Lars Boe Riber" userId="a0746655-6c86-46e8-9fa0-3fdc9fc77da6" providerId="ADAL" clId="{4E480DD1-6EB6-40E9-AA5D-F0885641F18B}" dt="2022-11-18T10:27:07.753" v="555" actId="790"/>
          <ac:spMkLst>
            <pc:docMk/>
            <pc:sldMk cId="2574806156" sldId="2146849611"/>
            <ac:spMk id="1360" creationId="{3FB26992-2481-45D3-AE12-64B4DCD7CAE1}"/>
          </ac:spMkLst>
        </pc:spChg>
        <pc:spChg chg="mod">
          <ac:chgData name="Lars Boe Riber" userId="a0746655-6c86-46e8-9fa0-3fdc9fc77da6" providerId="ADAL" clId="{4E480DD1-6EB6-40E9-AA5D-F0885641F18B}" dt="2022-11-18T10:27:07.754" v="556" actId="790"/>
          <ac:spMkLst>
            <pc:docMk/>
            <pc:sldMk cId="2574806156" sldId="2146849611"/>
            <ac:spMk id="1361" creationId="{5779A627-F781-4C98-8483-DCBD59B63128}"/>
          </ac:spMkLst>
        </pc:spChg>
        <pc:spChg chg="mod">
          <ac:chgData name="Lars Boe Riber" userId="a0746655-6c86-46e8-9fa0-3fdc9fc77da6" providerId="ADAL" clId="{4E480DD1-6EB6-40E9-AA5D-F0885641F18B}" dt="2022-11-18T10:27:07.755" v="557" actId="790"/>
          <ac:spMkLst>
            <pc:docMk/>
            <pc:sldMk cId="2574806156" sldId="2146849611"/>
            <ac:spMk id="1362" creationId="{FF013FE2-96BB-4D4E-B8AD-33D09AF2D580}"/>
          </ac:spMkLst>
        </pc:spChg>
        <pc:spChg chg="mod">
          <ac:chgData name="Lars Boe Riber" userId="a0746655-6c86-46e8-9fa0-3fdc9fc77da6" providerId="ADAL" clId="{4E480DD1-6EB6-40E9-AA5D-F0885641F18B}" dt="2022-11-18T10:27:07.756" v="558" actId="790"/>
          <ac:spMkLst>
            <pc:docMk/>
            <pc:sldMk cId="2574806156" sldId="2146849611"/>
            <ac:spMk id="1363" creationId="{FE06DC42-BF51-4D2F-994A-2D37B1F484E7}"/>
          </ac:spMkLst>
        </pc:spChg>
        <pc:spChg chg="mod">
          <ac:chgData name="Lars Boe Riber" userId="a0746655-6c86-46e8-9fa0-3fdc9fc77da6" providerId="ADAL" clId="{4E480DD1-6EB6-40E9-AA5D-F0885641F18B}" dt="2022-11-18T10:27:07.756" v="559" actId="790"/>
          <ac:spMkLst>
            <pc:docMk/>
            <pc:sldMk cId="2574806156" sldId="2146849611"/>
            <ac:spMk id="1364" creationId="{78300315-43C9-4F35-94B2-2CE5A57C143C}"/>
          </ac:spMkLst>
        </pc:spChg>
        <pc:spChg chg="mod">
          <ac:chgData name="Lars Boe Riber" userId="a0746655-6c86-46e8-9fa0-3fdc9fc77da6" providerId="ADAL" clId="{4E480DD1-6EB6-40E9-AA5D-F0885641F18B}" dt="2022-11-18T10:27:07.757" v="560" actId="790"/>
          <ac:spMkLst>
            <pc:docMk/>
            <pc:sldMk cId="2574806156" sldId="2146849611"/>
            <ac:spMk id="1365" creationId="{A7EBD959-EA7E-470F-9D71-414A3191DB70}"/>
          </ac:spMkLst>
        </pc:spChg>
        <pc:spChg chg="mod">
          <ac:chgData name="Lars Boe Riber" userId="a0746655-6c86-46e8-9fa0-3fdc9fc77da6" providerId="ADAL" clId="{4E480DD1-6EB6-40E9-AA5D-F0885641F18B}" dt="2022-11-18T10:27:07.758" v="561" actId="790"/>
          <ac:spMkLst>
            <pc:docMk/>
            <pc:sldMk cId="2574806156" sldId="2146849611"/>
            <ac:spMk id="1366" creationId="{B5A032BD-4A34-43E7-BD25-CCED5DCFDBB8}"/>
          </ac:spMkLst>
        </pc:spChg>
        <pc:spChg chg="mod">
          <ac:chgData name="Lars Boe Riber" userId="a0746655-6c86-46e8-9fa0-3fdc9fc77da6" providerId="ADAL" clId="{4E480DD1-6EB6-40E9-AA5D-F0885641F18B}" dt="2022-11-18T10:27:07.759" v="562" actId="790"/>
          <ac:spMkLst>
            <pc:docMk/>
            <pc:sldMk cId="2574806156" sldId="2146849611"/>
            <ac:spMk id="1367" creationId="{A300E7B2-2279-4F26-A83C-489E61206914}"/>
          </ac:spMkLst>
        </pc:spChg>
        <pc:spChg chg="mod">
          <ac:chgData name="Lars Boe Riber" userId="a0746655-6c86-46e8-9fa0-3fdc9fc77da6" providerId="ADAL" clId="{4E480DD1-6EB6-40E9-AA5D-F0885641F18B}" dt="2022-11-18T10:27:07.759" v="563" actId="790"/>
          <ac:spMkLst>
            <pc:docMk/>
            <pc:sldMk cId="2574806156" sldId="2146849611"/>
            <ac:spMk id="1368" creationId="{5A2647AC-FAD6-429C-94B2-6F5EF48043EC}"/>
          </ac:spMkLst>
        </pc:spChg>
        <pc:spChg chg="mod">
          <ac:chgData name="Lars Boe Riber" userId="a0746655-6c86-46e8-9fa0-3fdc9fc77da6" providerId="ADAL" clId="{4E480DD1-6EB6-40E9-AA5D-F0885641F18B}" dt="2022-11-18T10:27:07.760" v="564" actId="790"/>
          <ac:spMkLst>
            <pc:docMk/>
            <pc:sldMk cId="2574806156" sldId="2146849611"/>
            <ac:spMk id="1369" creationId="{D07A0174-537B-4DD0-9C0D-F5D94D186ABA}"/>
          </ac:spMkLst>
        </pc:spChg>
        <pc:spChg chg="mod">
          <ac:chgData name="Lars Boe Riber" userId="a0746655-6c86-46e8-9fa0-3fdc9fc77da6" providerId="ADAL" clId="{4E480DD1-6EB6-40E9-AA5D-F0885641F18B}" dt="2022-11-18T10:27:07.761" v="565" actId="790"/>
          <ac:spMkLst>
            <pc:docMk/>
            <pc:sldMk cId="2574806156" sldId="2146849611"/>
            <ac:spMk id="1370" creationId="{60864608-C9F1-4B1E-AC69-43C9392D1661}"/>
          </ac:spMkLst>
        </pc:spChg>
        <pc:spChg chg="mod">
          <ac:chgData name="Lars Boe Riber" userId="a0746655-6c86-46e8-9fa0-3fdc9fc77da6" providerId="ADAL" clId="{4E480DD1-6EB6-40E9-AA5D-F0885641F18B}" dt="2022-11-18T10:27:07.761" v="566" actId="790"/>
          <ac:spMkLst>
            <pc:docMk/>
            <pc:sldMk cId="2574806156" sldId="2146849611"/>
            <ac:spMk id="1371" creationId="{6844B2A3-4E78-4E2E-BE0E-EAB81C61B3FE}"/>
          </ac:spMkLst>
        </pc:spChg>
        <pc:spChg chg="mod">
          <ac:chgData name="Lars Boe Riber" userId="a0746655-6c86-46e8-9fa0-3fdc9fc77da6" providerId="ADAL" clId="{4E480DD1-6EB6-40E9-AA5D-F0885641F18B}" dt="2022-11-18T10:27:07.762" v="567" actId="790"/>
          <ac:spMkLst>
            <pc:docMk/>
            <pc:sldMk cId="2574806156" sldId="2146849611"/>
            <ac:spMk id="1372" creationId="{F32FB08C-75FC-4DA8-8DC1-89C9B3B02373}"/>
          </ac:spMkLst>
        </pc:spChg>
        <pc:spChg chg="mod">
          <ac:chgData name="Lars Boe Riber" userId="a0746655-6c86-46e8-9fa0-3fdc9fc77da6" providerId="ADAL" clId="{4E480DD1-6EB6-40E9-AA5D-F0885641F18B}" dt="2022-11-18T10:27:07.763" v="568" actId="790"/>
          <ac:spMkLst>
            <pc:docMk/>
            <pc:sldMk cId="2574806156" sldId="2146849611"/>
            <ac:spMk id="1373" creationId="{13A65FA6-04B3-4F0B-9E63-86DA4E073E27}"/>
          </ac:spMkLst>
        </pc:spChg>
        <pc:spChg chg="mod">
          <ac:chgData name="Lars Boe Riber" userId="a0746655-6c86-46e8-9fa0-3fdc9fc77da6" providerId="ADAL" clId="{4E480DD1-6EB6-40E9-AA5D-F0885641F18B}" dt="2022-11-18T10:27:07.764" v="569" actId="790"/>
          <ac:spMkLst>
            <pc:docMk/>
            <pc:sldMk cId="2574806156" sldId="2146849611"/>
            <ac:spMk id="1374" creationId="{1DB498DA-AC38-442B-8E52-DDE50297C321}"/>
          </ac:spMkLst>
        </pc:spChg>
        <pc:spChg chg="mod">
          <ac:chgData name="Lars Boe Riber" userId="a0746655-6c86-46e8-9fa0-3fdc9fc77da6" providerId="ADAL" clId="{4E480DD1-6EB6-40E9-AA5D-F0885641F18B}" dt="2022-11-18T10:27:07.764" v="570" actId="790"/>
          <ac:spMkLst>
            <pc:docMk/>
            <pc:sldMk cId="2574806156" sldId="2146849611"/>
            <ac:spMk id="1375" creationId="{44F586CF-DAD9-4CAE-902E-8E85AD85A4FA}"/>
          </ac:spMkLst>
        </pc:spChg>
        <pc:spChg chg="mod">
          <ac:chgData name="Lars Boe Riber" userId="a0746655-6c86-46e8-9fa0-3fdc9fc77da6" providerId="ADAL" clId="{4E480DD1-6EB6-40E9-AA5D-F0885641F18B}" dt="2022-11-18T10:27:07.765" v="571" actId="790"/>
          <ac:spMkLst>
            <pc:docMk/>
            <pc:sldMk cId="2574806156" sldId="2146849611"/>
            <ac:spMk id="1376" creationId="{6A50CDBB-7F11-40AE-A641-C48BD49D6770}"/>
          </ac:spMkLst>
        </pc:spChg>
        <pc:spChg chg="mod">
          <ac:chgData name="Lars Boe Riber" userId="a0746655-6c86-46e8-9fa0-3fdc9fc77da6" providerId="ADAL" clId="{4E480DD1-6EB6-40E9-AA5D-F0885641F18B}" dt="2022-11-18T10:27:07.766" v="572" actId="790"/>
          <ac:spMkLst>
            <pc:docMk/>
            <pc:sldMk cId="2574806156" sldId="2146849611"/>
            <ac:spMk id="1377" creationId="{FA8F5695-CC34-4458-BAD8-4DE491FF59A4}"/>
          </ac:spMkLst>
        </pc:spChg>
        <pc:spChg chg="mod">
          <ac:chgData name="Lars Boe Riber" userId="a0746655-6c86-46e8-9fa0-3fdc9fc77da6" providerId="ADAL" clId="{4E480DD1-6EB6-40E9-AA5D-F0885641F18B}" dt="2022-11-18T10:27:07.767" v="573" actId="790"/>
          <ac:spMkLst>
            <pc:docMk/>
            <pc:sldMk cId="2574806156" sldId="2146849611"/>
            <ac:spMk id="1378" creationId="{97E0601C-6C23-480A-B212-A3AFE4B0250D}"/>
          </ac:spMkLst>
        </pc:spChg>
        <pc:spChg chg="mod">
          <ac:chgData name="Lars Boe Riber" userId="a0746655-6c86-46e8-9fa0-3fdc9fc77da6" providerId="ADAL" clId="{4E480DD1-6EB6-40E9-AA5D-F0885641F18B}" dt="2022-11-18T10:27:07.768" v="574" actId="790"/>
          <ac:spMkLst>
            <pc:docMk/>
            <pc:sldMk cId="2574806156" sldId="2146849611"/>
            <ac:spMk id="1379" creationId="{C1EE523D-DCAB-468E-8B71-823BFC6DCF8D}"/>
          </ac:spMkLst>
        </pc:spChg>
        <pc:spChg chg="mod">
          <ac:chgData name="Lars Boe Riber" userId="a0746655-6c86-46e8-9fa0-3fdc9fc77da6" providerId="ADAL" clId="{4E480DD1-6EB6-40E9-AA5D-F0885641F18B}" dt="2022-11-18T10:27:07.769" v="575" actId="790"/>
          <ac:spMkLst>
            <pc:docMk/>
            <pc:sldMk cId="2574806156" sldId="2146849611"/>
            <ac:spMk id="1380" creationId="{9666E329-4F7C-47A5-B1B9-D87254809D2C}"/>
          </ac:spMkLst>
        </pc:spChg>
        <pc:spChg chg="mod">
          <ac:chgData name="Lars Boe Riber" userId="a0746655-6c86-46e8-9fa0-3fdc9fc77da6" providerId="ADAL" clId="{4E480DD1-6EB6-40E9-AA5D-F0885641F18B}" dt="2022-11-18T10:27:07.769" v="576" actId="790"/>
          <ac:spMkLst>
            <pc:docMk/>
            <pc:sldMk cId="2574806156" sldId="2146849611"/>
            <ac:spMk id="1381" creationId="{77FAC830-5FCF-41ED-9025-F65DE2CE2362}"/>
          </ac:spMkLst>
        </pc:spChg>
        <pc:spChg chg="mod">
          <ac:chgData name="Lars Boe Riber" userId="a0746655-6c86-46e8-9fa0-3fdc9fc77da6" providerId="ADAL" clId="{4E480DD1-6EB6-40E9-AA5D-F0885641F18B}" dt="2022-11-18T10:27:07.770" v="577" actId="790"/>
          <ac:spMkLst>
            <pc:docMk/>
            <pc:sldMk cId="2574806156" sldId="2146849611"/>
            <ac:spMk id="1382" creationId="{A5128210-53BE-4AB6-9C4E-0824DDE4FD49}"/>
          </ac:spMkLst>
        </pc:spChg>
        <pc:spChg chg="mod">
          <ac:chgData name="Lars Boe Riber" userId="a0746655-6c86-46e8-9fa0-3fdc9fc77da6" providerId="ADAL" clId="{4E480DD1-6EB6-40E9-AA5D-F0885641F18B}" dt="2022-11-18T10:27:07.771" v="578" actId="790"/>
          <ac:spMkLst>
            <pc:docMk/>
            <pc:sldMk cId="2574806156" sldId="2146849611"/>
            <ac:spMk id="1383" creationId="{FC3D730D-1570-4EE5-A619-3337562CE8CE}"/>
          </ac:spMkLst>
        </pc:spChg>
        <pc:spChg chg="mod">
          <ac:chgData name="Lars Boe Riber" userId="a0746655-6c86-46e8-9fa0-3fdc9fc77da6" providerId="ADAL" clId="{4E480DD1-6EB6-40E9-AA5D-F0885641F18B}" dt="2022-11-18T10:27:07.771" v="579" actId="790"/>
          <ac:spMkLst>
            <pc:docMk/>
            <pc:sldMk cId="2574806156" sldId="2146849611"/>
            <ac:spMk id="1384" creationId="{1FF81E28-57D9-471D-B6B4-254B52A2F35F}"/>
          </ac:spMkLst>
        </pc:spChg>
        <pc:spChg chg="mod">
          <ac:chgData name="Lars Boe Riber" userId="a0746655-6c86-46e8-9fa0-3fdc9fc77da6" providerId="ADAL" clId="{4E480DD1-6EB6-40E9-AA5D-F0885641F18B}" dt="2022-11-18T10:27:07.772" v="580" actId="790"/>
          <ac:spMkLst>
            <pc:docMk/>
            <pc:sldMk cId="2574806156" sldId="2146849611"/>
            <ac:spMk id="1385" creationId="{F75DB42B-0862-4AED-99AE-8B559E777590}"/>
          </ac:spMkLst>
        </pc:spChg>
        <pc:spChg chg="mod">
          <ac:chgData name="Lars Boe Riber" userId="a0746655-6c86-46e8-9fa0-3fdc9fc77da6" providerId="ADAL" clId="{4E480DD1-6EB6-40E9-AA5D-F0885641F18B}" dt="2022-11-18T10:27:07.773" v="581" actId="790"/>
          <ac:spMkLst>
            <pc:docMk/>
            <pc:sldMk cId="2574806156" sldId="2146849611"/>
            <ac:spMk id="1386" creationId="{EF20FCE2-44D6-4A51-ABCB-2CB5DC932022}"/>
          </ac:spMkLst>
        </pc:spChg>
        <pc:spChg chg="mod">
          <ac:chgData name="Lars Boe Riber" userId="a0746655-6c86-46e8-9fa0-3fdc9fc77da6" providerId="ADAL" clId="{4E480DD1-6EB6-40E9-AA5D-F0885641F18B}" dt="2022-11-18T10:27:07.774" v="582" actId="790"/>
          <ac:spMkLst>
            <pc:docMk/>
            <pc:sldMk cId="2574806156" sldId="2146849611"/>
            <ac:spMk id="1387" creationId="{6DE72CFA-128B-49DE-8E7B-F703BDE49C8A}"/>
          </ac:spMkLst>
        </pc:spChg>
        <pc:spChg chg="mod">
          <ac:chgData name="Lars Boe Riber" userId="a0746655-6c86-46e8-9fa0-3fdc9fc77da6" providerId="ADAL" clId="{4E480DD1-6EB6-40E9-AA5D-F0885641F18B}" dt="2022-11-18T10:27:07.774" v="583" actId="790"/>
          <ac:spMkLst>
            <pc:docMk/>
            <pc:sldMk cId="2574806156" sldId="2146849611"/>
            <ac:spMk id="1388" creationId="{4C1E60D5-915D-4C2E-B506-B8995D2292AF}"/>
          </ac:spMkLst>
        </pc:spChg>
        <pc:spChg chg="mod">
          <ac:chgData name="Lars Boe Riber" userId="a0746655-6c86-46e8-9fa0-3fdc9fc77da6" providerId="ADAL" clId="{4E480DD1-6EB6-40E9-AA5D-F0885641F18B}" dt="2022-11-18T10:27:07.775" v="584" actId="790"/>
          <ac:spMkLst>
            <pc:docMk/>
            <pc:sldMk cId="2574806156" sldId="2146849611"/>
            <ac:spMk id="1389" creationId="{D49D1C61-CF90-42D2-8AB5-59E915E8D26C}"/>
          </ac:spMkLst>
        </pc:spChg>
        <pc:spChg chg="mod">
          <ac:chgData name="Lars Boe Riber" userId="a0746655-6c86-46e8-9fa0-3fdc9fc77da6" providerId="ADAL" clId="{4E480DD1-6EB6-40E9-AA5D-F0885641F18B}" dt="2022-11-18T10:27:07.776" v="585" actId="790"/>
          <ac:spMkLst>
            <pc:docMk/>
            <pc:sldMk cId="2574806156" sldId="2146849611"/>
            <ac:spMk id="1390" creationId="{0221B6A0-D824-480C-88D4-4932D0377039}"/>
          </ac:spMkLst>
        </pc:spChg>
        <pc:spChg chg="mod">
          <ac:chgData name="Lars Boe Riber" userId="a0746655-6c86-46e8-9fa0-3fdc9fc77da6" providerId="ADAL" clId="{4E480DD1-6EB6-40E9-AA5D-F0885641F18B}" dt="2022-11-18T10:27:07.777" v="586" actId="790"/>
          <ac:spMkLst>
            <pc:docMk/>
            <pc:sldMk cId="2574806156" sldId="2146849611"/>
            <ac:spMk id="1391" creationId="{6CE595D3-4AF9-458E-80A1-3EE1F79B09F1}"/>
          </ac:spMkLst>
        </pc:spChg>
        <pc:spChg chg="mod">
          <ac:chgData name="Lars Boe Riber" userId="a0746655-6c86-46e8-9fa0-3fdc9fc77da6" providerId="ADAL" clId="{4E480DD1-6EB6-40E9-AA5D-F0885641F18B}" dt="2022-11-18T10:27:07.778" v="587" actId="790"/>
          <ac:spMkLst>
            <pc:docMk/>
            <pc:sldMk cId="2574806156" sldId="2146849611"/>
            <ac:spMk id="1392" creationId="{943DD383-BC14-46D8-BEC1-B873EBF220E0}"/>
          </ac:spMkLst>
        </pc:spChg>
        <pc:spChg chg="mod">
          <ac:chgData name="Lars Boe Riber" userId="a0746655-6c86-46e8-9fa0-3fdc9fc77da6" providerId="ADAL" clId="{4E480DD1-6EB6-40E9-AA5D-F0885641F18B}" dt="2022-11-18T10:27:07.779" v="588" actId="790"/>
          <ac:spMkLst>
            <pc:docMk/>
            <pc:sldMk cId="2574806156" sldId="2146849611"/>
            <ac:spMk id="1393" creationId="{BC21567D-E2BD-43F9-99B0-6D9FDC9A19DA}"/>
          </ac:spMkLst>
        </pc:spChg>
        <pc:spChg chg="mod">
          <ac:chgData name="Lars Boe Riber" userId="a0746655-6c86-46e8-9fa0-3fdc9fc77da6" providerId="ADAL" clId="{4E480DD1-6EB6-40E9-AA5D-F0885641F18B}" dt="2022-11-18T10:27:07.780" v="589" actId="790"/>
          <ac:spMkLst>
            <pc:docMk/>
            <pc:sldMk cId="2574806156" sldId="2146849611"/>
            <ac:spMk id="1394" creationId="{F6EE149D-1F24-4356-89CF-F5A64D7E9AC9}"/>
          </ac:spMkLst>
        </pc:spChg>
        <pc:spChg chg="mod">
          <ac:chgData name="Lars Boe Riber" userId="a0746655-6c86-46e8-9fa0-3fdc9fc77da6" providerId="ADAL" clId="{4E480DD1-6EB6-40E9-AA5D-F0885641F18B}" dt="2022-11-18T10:27:07.781" v="590" actId="790"/>
          <ac:spMkLst>
            <pc:docMk/>
            <pc:sldMk cId="2574806156" sldId="2146849611"/>
            <ac:spMk id="1395" creationId="{8B79DFCC-021F-49B1-8149-914DA088D559}"/>
          </ac:spMkLst>
        </pc:spChg>
        <pc:spChg chg="mod">
          <ac:chgData name="Lars Boe Riber" userId="a0746655-6c86-46e8-9fa0-3fdc9fc77da6" providerId="ADAL" clId="{4E480DD1-6EB6-40E9-AA5D-F0885641F18B}" dt="2022-11-18T10:27:07.782" v="591" actId="790"/>
          <ac:spMkLst>
            <pc:docMk/>
            <pc:sldMk cId="2574806156" sldId="2146849611"/>
            <ac:spMk id="1396" creationId="{BD8C4F8F-685A-4176-9B4E-9B0CA48E6463}"/>
          </ac:spMkLst>
        </pc:spChg>
        <pc:spChg chg="mod">
          <ac:chgData name="Lars Boe Riber" userId="a0746655-6c86-46e8-9fa0-3fdc9fc77da6" providerId="ADAL" clId="{4E480DD1-6EB6-40E9-AA5D-F0885641F18B}" dt="2022-11-18T10:27:07.783" v="592" actId="790"/>
          <ac:spMkLst>
            <pc:docMk/>
            <pc:sldMk cId="2574806156" sldId="2146849611"/>
            <ac:spMk id="1397" creationId="{85AB73AA-0B72-4CB2-979F-A24E67333F9B}"/>
          </ac:spMkLst>
        </pc:spChg>
        <pc:spChg chg="mod">
          <ac:chgData name="Lars Boe Riber" userId="a0746655-6c86-46e8-9fa0-3fdc9fc77da6" providerId="ADAL" clId="{4E480DD1-6EB6-40E9-AA5D-F0885641F18B}" dt="2022-11-18T10:27:07.784" v="593" actId="790"/>
          <ac:spMkLst>
            <pc:docMk/>
            <pc:sldMk cId="2574806156" sldId="2146849611"/>
            <ac:spMk id="1398" creationId="{8638E715-83DD-4FF7-AEA6-038E1F3BEF5B}"/>
          </ac:spMkLst>
        </pc:spChg>
        <pc:spChg chg="mod">
          <ac:chgData name="Lars Boe Riber" userId="a0746655-6c86-46e8-9fa0-3fdc9fc77da6" providerId="ADAL" clId="{4E480DD1-6EB6-40E9-AA5D-F0885641F18B}" dt="2022-11-18T10:27:07.785" v="594" actId="790"/>
          <ac:spMkLst>
            <pc:docMk/>
            <pc:sldMk cId="2574806156" sldId="2146849611"/>
            <ac:spMk id="1399" creationId="{3741775E-70A7-4414-9D61-F480875952F0}"/>
          </ac:spMkLst>
        </pc:spChg>
        <pc:spChg chg="mod">
          <ac:chgData name="Lars Boe Riber" userId="a0746655-6c86-46e8-9fa0-3fdc9fc77da6" providerId="ADAL" clId="{4E480DD1-6EB6-40E9-AA5D-F0885641F18B}" dt="2022-11-18T10:27:07.786" v="595" actId="790"/>
          <ac:spMkLst>
            <pc:docMk/>
            <pc:sldMk cId="2574806156" sldId="2146849611"/>
            <ac:spMk id="1400" creationId="{BF848912-8A7D-4000-A796-3843B474CD57}"/>
          </ac:spMkLst>
        </pc:spChg>
        <pc:spChg chg="mod">
          <ac:chgData name="Lars Boe Riber" userId="a0746655-6c86-46e8-9fa0-3fdc9fc77da6" providerId="ADAL" clId="{4E480DD1-6EB6-40E9-AA5D-F0885641F18B}" dt="2022-11-18T10:27:07.787" v="596" actId="790"/>
          <ac:spMkLst>
            <pc:docMk/>
            <pc:sldMk cId="2574806156" sldId="2146849611"/>
            <ac:spMk id="1401" creationId="{9417D670-866B-44F3-8FA2-CB00E937A8AF}"/>
          </ac:spMkLst>
        </pc:spChg>
        <pc:spChg chg="mod">
          <ac:chgData name="Lars Boe Riber" userId="a0746655-6c86-46e8-9fa0-3fdc9fc77da6" providerId="ADAL" clId="{4E480DD1-6EB6-40E9-AA5D-F0885641F18B}" dt="2022-11-18T10:27:07.788" v="597" actId="790"/>
          <ac:spMkLst>
            <pc:docMk/>
            <pc:sldMk cId="2574806156" sldId="2146849611"/>
            <ac:spMk id="1402" creationId="{A75843F4-4803-4ED0-BEFA-87A58E2F2A4D}"/>
          </ac:spMkLst>
        </pc:spChg>
        <pc:spChg chg="mod">
          <ac:chgData name="Lars Boe Riber" userId="a0746655-6c86-46e8-9fa0-3fdc9fc77da6" providerId="ADAL" clId="{4E480DD1-6EB6-40E9-AA5D-F0885641F18B}" dt="2022-11-18T10:27:07.788" v="598" actId="790"/>
          <ac:spMkLst>
            <pc:docMk/>
            <pc:sldMk cId="2574806156" sldId="2146849611"/>
            <ac:spMk id="1403" creationId="{83C6DFDE-BB86-4782-B66C-01C8192C901C}"/>
          </ac:spMkLst>
        </pc:spChg>
        <pc:spChg chg="mod">
          <ac:chgData name="Lars Boe Riber" userId="a0746655-6c86-46e8-9fa0-3fdc9fc77da6" providerId="ADAL" clId="{4E480DD1-6EB6-40E9-AA5D-F0885641F18B}" dt="2022-11-18T10:27:07.789" v="599" actId="790"/>
          <ac:spMkLst>
            <pc:docMk/>
            <pc:sldMk cId="2574806156" sldId="2146849611"/>
            <ac:spMk id="1404" creationId="{2C0787C7-FA8A-433E-A13C-4ED1FE54A0E1}"/>
          </ac:spMkLst>
        </pc:spChg>
        <pc:spChg chg="mod">
          <ac:chgData name="Lars Boe Riber" userId="a0746655-6c86-46e8-9fa0-3fdc9fc77da6" providerId="ADAL" clId="{4E480DD1-6EB6-40E9-AA5D-F0885641F18B}" dt="2022-11-18T10:27:07.790" v="600" actId="790"/>
          <ac:spMkLst>
            <pc:docMk/>
            <pc:sldMk cId="2574806156" sldId="2146849611"/>
            <ac:spMk id="1405" creationId="{2DEC1F06-124E-4C44-9D5B-5783DCCC9302}"/>
          </ac:spMkLst>
        </pc:spChg>
        <pc:spChg chg="mod">
          <ac:chgData name="Lars Boe Riber" userId="a0746655-6c86-46e8-9fa0-3fdc9fc77da6" providerId="ADAL" clId="{4E480DD1-6EB6-40E9-AA5D-F0885641F18B}" dt="2022-11-18T10:27:07.791" v="601" actId="790"/>
          <ac:spMkLst>
            <pc:docMk/>
            <pc:sldMk cId="2574806156" sldId="2146849611"/>
            <ac:spMk id="1406" creationId="{56C9860E-163C-463C-87F0-D87DD8C4A26E}"/>
          </ac:spMkLst>
        </pc:spChg>
        <pc:spChg chg="mod">
          <ac:chgData name="Lars Boe Riber" userId="a0746655-6c86-46e8-9fa0-3fdc9fc77da6" providerId="ADAL" clId="{4E480DD1-6EB6-40E9-AA5D-F0885641F18B}" dt="2022-11-18T10:27:07.792" v="602" actId="790"/>
          <ac:spMkLst>
            <pc:docMk/>
            <pc:sldMk cId="2574806156" sldId="2146849611"/>
            <ac:spMk id="1407" creationId="{74E1425B-DAB7-4A01-A872-124E8F32A2AF}"/>
          </ac:spMkLst>
        </pc:spChg>
        <pc:spChg chg="mod">
          <ac:chgData name="Lars Boe Riber" userId="a0746655-6c86-46e8-9fa0-3fdc9fc77da6" providerId="ADAL" clId="{4E480DD1-6EB6-40E9-AA5D-F0885641F18B}" dt="2022-11-18T10:27:07.792" v="603" actId="790"/>
          <ac:spMkLst>
            <pc:docMk/>
            <pc:sldMk cId="2574806156" sldId="2146849611"/>
            <ac:spMk id="1408" creationId="{C3DCA36D-199F-4A52-A43B-5933FA9AFBFA}"/>
          </ac:spMkLst>
        </pc:spChg>
        <pc:spChg chg="mod">
          <ac:chgData name="Lars Boe Riber" userId="a0746655-6c86-46e8-9fa0-3fdc9fc77da6" providerId="ADAL" clId="{4E480DD1-6EB6-40E9-AA5D-F0885641F18B}" dt="2022-11-18T10:27:07.793" v="604" actId="790"/>
          <ac:spMkLst>
            <pc:docMk/>
            <pc:sldMk cId="2574806156" sldId="2146849611"/>
            <ac:spMk id="1409" creationId="{C94D1E5C-532E-498C-B54C-0FE920DAA785}"/>
          </ac:spMkLst>
        </pc:spChg>
        <pc:spChg chg="mod">
          <ac:chgData name="Lars Boe Riber" userId="a0746655-6c86-46e8-9fa0-3fdc9fc77da6" providerId="ADAL" clId="{4E480DD1-6EB6-40E9-AA5D-F0885641F18B}" dt="2022-11-18T10:27:07.794" v="605" actId="790"/>
          <ac:spMkLst>
            <pc:docMk/>
            <pc:sldMk cId="2574806156" sldId="2146849611"/>
            <ac:spMk id="1410" creationId="{861AD449-FE1F-4CB2-BE29-4576CC618F00}"/>
          </ac:spMkLst>
        </pc:spChg>
        <pc:spChg chg="mod">
          <ac:chgData name="Lars Boe Riber" userId="a0746655-6c86-46e8-9fa0-3fdc9fc77da6" providerId="ADAL" clId="{4E480DD1-6EB6-40E9-AA5D-F0885641F18B}" dt="2022-11-18T10:27:07.795" v="606" actId="790"/>
          <ac:spMkLst>
            <pc:docMk/>
            <pc:sldMk cId="2574806156" sldId="2146849611"/>
            <ac:spMk id="1411" creationId="{285A3290-5604-44A2-A2B0-3614DD1DF464}"/>
          </ac:spMkLst>
        </pc:spChg>
        <pc:spChg chg="mod">
          <ac:chgData name="Lars Boe Riber" userId="a0746655-6c86-46e8-9fa0-3fdc9fc77da6" providerId="ADAL" clId="{4E480DD1-6EB6-40E9-AA5D-F0885641F18B}" dt="2022-11-18T10:27:07.796" v="607" actId="790"/>
          <ac:spMkLst>
            <pc:docMk/>
            <pc:sldMk cId="2574806156" sldId="2146849611"/>
            <ac:spMk id="1412" creationId="{6C792A85-2736-4E29-9A2B-15C04AFA67A1}"/>
          </ac:spMkLst>
        </pc:spChg>
        <pc:spChg chg="mod">
          <ac:chgData name="Lars Boe Riber" userId="a0746655-6c86-46e8-9fa0-3fdc9fc77da6" providerId="ADAL" clId="{4E480DD1-6EB6-40E9-AA5D-F0885641F18B}" dt="2022-11-18T10:27:07.796" v="608" actId="790"/>
          <ac:spMkLst>
            <pc:docMk/>
            <pc:sldMk cId="2574806156" sldId="2146849611"/>
            <ac:spMk id="1413" creationId="{F2BCD5BB-AA1F-4F42-9A5C-7FA0BA18FB73}"/>
          </ac:spMkLst>
        </pc:spChg>
        <pc:spChg chg="mod">
          <ac:chgData name="Lars Boe Riber" userId="a0746655-6c86-46e8-9fa0-3fdc9fc77da6" providerId="ADAL" clId="{4E480DD1-6EB6-40E9-AA5D-F0885641F18B}" dt="2022-11-18T10:27:07.797" v="609" actId="790"/>
          <ac:spMkLst>
            <pc:docMk/>
            <pc:sldMk cId="2574806156" sldId="2146849611"/>
            <ac:spMk id="1414" creationId="{6DDE2B2E-CF3D-4A87-9EF4-0284471BC5EF}"/>
          </ac:spMkLst>
        </pc:spChg>
        <pc:spChg chg="mod">
          <ac:chgData name="Lars Boe Riber" userId="a0746655-6c86-46e8-9fa0-3fdc9fc77da6" providerId="ADAL" clId="{4E480DD1-6EB6-40E9-AA5D-F0885641F18B}" dt="2022-11-18T10:27:07.798" v="610" actId="790"/>
          <ac:spMkLst>
            <pc:docMk/>
            <pc:sldMk cId="2574806156" sldId="2146849611"/>
            <ac:spMk id="1415" creationId="{1AA44DCA-D9D7-417A-A654-0F0570B99632}"/>
          </ac:spMkLst>
        </pc:spChg>
        <pc:spChg chg="mod">
          <ac:chgData name="Lars Boe Riber" userId="a0746655-6c86-46e8-9fa0-3fdc9fc77da6" providerId="ADAL" clId="{4E480DD1-6EB6-40E9-AA5D-F0885641F18B}" dt="2022-11-18T10:27:07.798" v="611" actId="790"/>
          <ac:spMkLst>
            <pc:docMk/>
            <pc:sldMk cId="2574806156" sldId="2146849611"/>
            <ac:spMk id="1416" creationId="{ABC887A9-196B-46AB-8502-F3E13D84BF88}"/>
          </ac:spMkLst>
        </pc:spChg>
        <pc:spChg chg="mod">
          <ac:chgData name="Lars Boe Riber" userId="a0746655-6c86-46e8-9fa0-3fdc9fc77da6" providerId="ADAL" clId="{4E480DD1-6EB6-40E9-AA5D-F0885641F18B}" dt="2022-11-18T10:27:07.799" v="612" actId="790"/>
          <ac:spMkLst>
            <pc:docMk/>
            <pc:sldMk cId="2574806156" sldId="2146849611"/>
            <ac:spMk id="1417" creationId="{F9CB40B9-5509-4AE2-8209-4ED6A93EEFA0}"/>
          </ac:spMkLst>
        </pc:spChg>
        <pc:spChg chg="mod">
          <ac:chgData name="Lars Boe Riber" userId="a0746655-6c86-46e8-9fa0-3fdc9fc77da6" providerId="ADAL" clId="{4E480DD1-6EB6-40E9-AA5D-F0885641F18B}" dt="2022-11-18T10:27:07.800" v="613" actId="790"/>
          <ac:spMkLst>
            <pc:docMk/>
            <pc:sldMk cId="2574806156" sldId="2146849611"/>
            <ac:spMk id="1418" creationId="{8FB50E5E-3D93-40A6-9A3A-111DD32F6A1D}"/>
          </ac:spMkLst>
        </pc:spChg>
        <pc:spChg chg="mod">
          <ac:chgData name="Lars Boe Riber" userId="a0746655-6c86-46e8-9fa0-3fdc9fc77da6" providerId="ADAL" clId="{4E480DD1-6EB6-40E9-AA5D-F0885641F18B}" dt="2022-11-18T10:27:07.417" v="148" actId="790"/>
          <ac:spMkLst>
            <pc:docMk/>
            <pc:sldMk cId="2574806156" sldId="2146849611"/>
            <ac:spMk id="1475" creationId="{FEB64BE0-21CE-4C7C-9CED-50057C08C31C}"/>
          </ac:spMkLst>
        </pc:spChg>
        <pc:spChg chg="mod">
          <ac:chgData name="Lars Boe Riber" userId="a0746655-6c86-46e8-9fa0-3fdc9fc77da6" providerId="ADAL" clId="{4E480DD1-6EB6-40E9-AA5D-F0885641F18B}" dt="2022-11-18T10:27:07.418" v="150" actId="790"/>
          <ac:spMkLst>
            <pc:docMk/>
            <pc:sldMk cId="2574806156" sldId="2146849611"/>
            <ac:spMk id="1478" creationId="{34CD4AB7-EA09-4620-AE82-78B584CFB4C2}"/>
          </ac:spMkLst>
        </pc:spChg>
        <pc:spChg chg="mod">
          <ac:chgData name="Lars Boe Riber" userId="a0746655-6c86-46e8-9fa0-3fdc9fc77da6" providerId="ADAL" clId="{4E480DD1-6EB6-40E9-AA5D-F0885641F18B}" dt="2022-11-18T10:27:07.419" v="152" actId="790"/>
          <ac:spMkLst>
            <pc:docMk/>
            <pc:sldMk cId="2574806156" sldId="2146849611"/>
            <ac:spMk id="1479" creationId="{C99DABA4-5C18-4C95-A642-D48BEFA51ECC}"/>
          </ac:spMkLst>
        </pc:spChg>
        <pc:spChg chg="mod">
          <ac:chgData name="Lars Boe Riber" userId="a0746655-6c86-46e8-9fa0-3fdc9fc77da6" providerId="ADAL" clId="{4E480DD1-6EB6-40E9-AA5D-F0885641F18B}" dt="2022-11-18T10:27:07.801" v="614" actId="790"/>
          <ac:spMkLst>
            <pc:docMk/>
            <pc:sldMk cId="2574806156" sldId="2146849611"/>
            <ac:spMk id="2612" creationId="{25C1A2A8-C1D0-4DC2-B8AC-670D41A03890}"/>
          </ac:spMkLst>
        </pc:spChg>
        <pc:spChg chg="mod">
          <ac:chgData name="Lars Boe Riber" userId="a0746655-6c86-46e8-9fa0-3fdc9fc77da6" providerId="ADAL" clId="{4E480DD1-6EB6-40E9-AA5D-F0885641F18B}" dt="2022-11-18T10:27:07.802" v="615" actId="790"/>
          <ac:spMkLst>
            <pc:docMk/>
            <pc:sldMk cId="2574806156" sldId="2146849611"/>
            <ac:spMk id="2613" creationId="{598BBCB8-4882-4699-92D4-94F4C10F74BF}"/>
          </ac:spMkLst>
        </pc:spChg>
        <pc:spChg chg="mod">
          <ac:chgData name="Lars Boe Riber" userId="a0746655-6c86-46e8-9fa0-3fdc9fc77da6" providerId="ADAL" clId="{4E480DD1-6EB6-40E9-AA5D-F0885641F18B}" dt="2022-11-18T10:27:07.803" v="616" actId="790"/>
          <ac:spMkLst>
            <pc:docMk/>
            <pc:sldMk cId="2574806156" sldId="2146849611"/>
            <ac:spMk id="2614" creationId="{DAAB9BA1-6996-48CD-B0CD-B4A0776CCED1}"/>
          </ac:spMkLst>
        </pc:spChg>
        <pc:spChg chg="mod">
          <ac:chgData name="Lars Boe Riber" userId="a0746655-6c86-46e8-9fa0-3fdc9fc77da6" providerId="ADAL" clId="{4E480DD1-6EB6-40E9-AA5D-F0885641F18B}" dt="2022-11-18T10:27:07.803" v="617" actId="790"/>
          <ac:spMkLst>
            <pc:docMk/>
            <pc:sldMk cId="2574806156" sldId="2146849611"/>
            <ac:spMk id="2615" creationId="{2D6F3E57-78AB-4855-88BC-9CD0888B4D03}"/>
          </ac:spMkLst>
        </pc:spChg>
        <pc:spChg chg="mod">
          <ac:chgData name="Lars Boe Riber" userId="a0746655-6c86-46e8-9fa0-3fdc9fc77da6" providerId="ADAL" clId="{4E480DD1-6EB6-40E9-AA5D-F0885641F18B}" dt="2022-11-18T10:27:07.804" v="618" actId="790"/>
          <ac:spMkLst>
            <pc:docMk/>
            <pc:sldMk cId="2574806156" sldId="2146849611"/>
            <ac:spMk id="2616" creationId="{00ADCF3E-26B5-47B6-8313-62C917E3B292}"/>
          </ac:spMkLst>
        </pc:spChg>
        <pc:spChg chg="mod">
          <ac:chgData name="Lars Boe Riber" userId="a0746655-6c86-46e8-9fa0-3fdc9fc77da6" providerId="ADAL" clId="{4E480DD1-6EB6-40E9-AA5D-F0885641F18B}" dt="2022-11-18T10:27:07.805" v="619" actId="790"/>
          <ac:spMkLst>
            <pc:docMk/>
            <pc:sldMk cId="2574806156" sldId="2146849611"/>
            <ac:spMk id="2617" creationId="{4E81EDBD-B092-492D-AF01-C0E2EFC36DA2}"/>
          </ac:spMkLst>
        </pc:spChg>
        <pc:spChg chg="mod">
          <ac:chgData name="Lars Boe Riber" userId="a0746655-6c86-46e8-9fa0-3fdc9fc77da6" providerId="ADAL" clId="{4E480DD1-6EB6-40E9-AA5D-F0885641F18B}" dt="2022-11-18T10:27:07.806" v="620" actId="790"/>
          <ac:spMkLst>
            <pc:docMk/>
            <pc:sldMk cId="2574806156" sldId="2146849611"/>
            <ac:spMk id="2618" creationId="{85298EA5-8D51-4382-8EDA-B299F6D8A931}"/>
          </ac:spMkLst>
        </pc:spChg>
        <pc:spChg chg="mod">
          <ac:chgData name="Lars Boe Riber" userId="a0746655-6c86-46e8-9fa0-3fdc9fc77da6" providerId="ADAL" clId="{4E480DD1-6EB6-40E9-AA5D-F0885641F18B}" dt="2022-11-18T10:27:07.806" v="621" actId="790"/>
          <ac:spMkLst>
            <pc:docMk/>
            <pc:sldMk cId="2574806156" sldId="2146849611"/>
            <ac:spMk id="2619" creationId="{07869D01-1D09-4225-A598-E3D73FCD7748}"/>
          </ac:spMkLst>
        </pc:spChg>
        <pc:spChg chg="mod">
          <ac:chgData name="Lars Boe Riber" userId="a0746655-6c86-46e8-9fa0-3fdc9fc77da6" providerId="ADAL" clId="{4E480DD1-6EB6-40E9-AA5D-F0885641F18B}" dt="2022-11-18T10:27:07.807" v="622" actId="790"/>
          <ac:spMkLst>
            <pc:docMk/>
            <pc:sldMk cId="2574806156" sldId="2146849611"/>
            <ac:spMk id="2620" creationId="{EE206534-84C8-480F-8CA9-2AB3ED47F00A}"/>
          </ac:spMkLst>
        </pc:spChg>
        <pc:spChg chg="mod">
          <ac:chgData name="Lars Boe Riber" userId="a0746655-6c86-46e8-9fa0-3fdc9fc77da6" providerId="ADAL" clId="{4E480DD1-6EB6-40E9-AA5D-F0885641F18B}" dt="2022-11-18T10:27:07.807" v="623" actId="790"/>
          <ac:spMkLst>
            <pc:docMk/>
            <pc:sldMk cId="2574806156" sldId="2146849611"/>
            <ac:spMk id="2621" creationId="{37CE0C4B-E2DE-431B-85F5-7C38CFBC59F6}"/>
          </ac:spMkLst>
        </pc:spChg>
        <pc:spChg chg="mod">
          <ac:chgData name="Lars Boe Riber" userId="a0746655-6c86-46e8-9fa0-3fdc9fc77da6" providerId="ADAL" clId="{4E480DD1-6EB6-40E9-AA5D-F0885641F18B}" dt="2022-11-18T10:27:07.808" v="624" actId="790"/>
          <ac:spMkLst>
            <pc:docMk/>
            <pc:sldMk cId="2574806156" sldId="2146849611"/>
            <ac:spMk id="2622" creationId="{CE5DA3CA-EC2D-4529-ACE0-A9FD6CF560DC}"/>
          </ac:spMkLst>
        </pc:spChg>
        <pc:spChg chg="mod">
          <ac:chgData name="Lars Boe Riber" userId="a0746655-6c86-46e8-9fa0-3fdc9fc77da6" providerId="ADAL" clId="{4E480DD1-6EB6-40E9-AA5D-F0885641F18B}" dt="2022-11-18T10:27:07.809" v="625" actId="790"/>
          <ac:spMkLst>
            <pc:docMk/>
            <pc:sldMk cId="2574806156" sldId="2146849611"/>
            <ac:spMk id="2623" creationId="{6A17E6FD-2A7F-49E2-8150-0A448D307DD6}"/>
          </ac:spMkLst>
        </pc:spChg>
        <pc:spChg chg="mod">
          <ac:chgData name="Lars Boe Riber" userId="a0746655-6c86-46e8-9fa0-3fdc9fc77da6" providerId="ADAL" clId="{4E480DD1-6EB6-40E9-AA5D-F0885641F18B}" dt="2022-11-18T10:27:07.809" v="626" actId="790"/>
          <ac:spMkLst>
            <pc:docMk/>
            <pc:sldMk cId="2574806156" sldId="2146849611"/>
            <ac:spMk id="2624" creationId="{A056A39A-6ABA-4D21-853D-7F6FD39B6E28}"/>
          </ac:spMkLst>
        </pc:spChg>
        <pc:spChg chg="mod">
          <ac:chgData name="Lars Boe Riber" userId="a0746655-6c86-46e8-9fa0-3fdc9fc77da6" providerId="ADAL" clId="{4E480DD1-6EB6-40E9-AA5D-F0885641F18B}" dt="2022-11-18T10:27:07.810" v="627" actId="790"/>
          <ac:spMkLst>
            <pc:docMk/>
            <pc:sldMk cId="2574806156" sldId="2146849611"/>
            <ac:spMk id="2625" creationId="{F071E797-84C1-4245-AFC4-9F7046DDA35B}"/>
          </ac:spMkLst>
        </pc:spChg>
        <pc:spChg chg="mod">
          <ac:chgData name="Lars Boe Riber" userId="a0746655-6c86-46e8-9fa0-3fdc9fc77da6" providerId="ADAL" clId="{4E480DD1-6EB6-40E9-AA5D-F0885641F18B}" dt="2022-11-18T10:27:07.811" v="628" actId="790"/>
          <ac:spMkLst>
            <pc:docMk/>
            <pc:sldMk cId="2574806156" sldId="2146849611"/>
            <ac:spMk id="2626" creationId="{E934F6C1-AA62-469E-AE2B-D14C73507E3B}"/>
          </ac:spMkLst>
        </pc:spChg>
        <pc:spChg chg="mod">
          <ac:chgData name="Lars Boe Riber" userId="a0746655-6c86-46e8-9fa0-3fdc9fc77da6" providerId="ADAL" clId="{4E480DD1-6EB6-40E9-AA5D-F0885641F18B}" dt="2022-11-18T10:27:07.811" v="629" actId="790"/>
          <ac:spMkLst>
            <pc:docMk/>
            <pc:sldMk cId="2574806156" sldId="2146849611"/>
            <ac:spMk id="2627" creationId="{26F921EF-DBD7-4F58-B885-E6C0FA897F8C}"/>
          </ac:spMkLst>
        </pc:spChg>
        <pc:spChg chg="mod">
          <ac:chgData name="Lars Boe Riber" userId="a0746655-6c86-46e8-9fa0-3fdc9fc77da6" providerId="ADAL" clId="{4E480DD1-6EB6-40E9-AA5D-F0885641F18B}" dt="2022-11-18T10:27:07.812" v="630" actId="790"/>
          <ac:spMkLst>
            <pc:docMk/>
            <pc:sldMk cId="2574806156" sldId="2146849611"/>
            <ac:spMk id="2628" creationId="{6510035D-BFDC-4730-BE9B-3A0DDCA6CDEB}"/>
          </ac:spMkLst>
        </pc:spChg>
        <pc:spChg chg="mod">
          <ac:chgData name="Lars Boe Riber" userId="a0746655-6c86-46e8-9fa0-3fdc9fc77da6" providerId="ADAL" clId="{4E480DD1-6EB6-40E9-AA5D-F0885641F18B}" dt="2022-11-18T10:27:07.813" v="631" actId="790"/>
          <ac:spMkLst>
            <pc:docMk/>
            <pc:sldMk cId="2574806156" sldId="2146849611"/>
            <ac:spMk id="2629" creationId="{E177C4A8-206E-4A5B-BBC4-66826EC1F92A}"/>
          </ac:spMkLst>
        </pc:spChg>
        <pc:spChg chg="mod">
          <ac:chgData name="Lars Boe Riber" userId="a0746655-6c86-46e8-9fa0-3fdc9fc77da6" providerId="ADAL" clId="{4E480DD1-6EB6-40E9-AA5D-F0885641F18B}" dt="2022-11-18T10:27:07.813" v="632" actId="790"/>
          <ac:spMkLst>
            <pc:docMk/>
            <pc:sldMk cId="2574806156" sldId="2146849611"/>
            <ac:spMk id="2630" creationId="{0A3C195B-F011-4898-9622-53A4E4CEEAD3}"/>
          </ac:spMkLst>
        </pc:spChg>
        <pc:spChg chg="mod">
          <ac:chgData name="Lars Boe Riber" userId="a0746655-6c86-46e8-9fa0-3fdc9fc77da6" providerId="ADAL" clId="{4E480DD1-6EB6-40E9-AA5D-F0885641F18B}" dt="2022-11-18T10:27:07.814" v="633" actId="790"/>
          <ac:spMkLst>
            <pc:docMk/>
            <pc:sldMk cId="2574806156" sldId="2146849611"/>
            <ac:spMk id="2631" creationId="{37C8987C-E7C6-4E43-9F86-C98DB188D1C9}"/>
          </ac:spMkLst>
        </pc:spChg>
        <pc:spChg chg="mod">
          <ac:chgData name="Lars Boe Riber" userId="a0746655-6c86-46e8-9fa0-3fdc9fc77da6" providerId="ADAL" clId="{4E480DD1-6EB6-40E9-AA5D-F0885641F18B}" dt="2022-11-18T10:27:07.815" v="634" actId="790"/>
          <ac:spMkLst>
            <pc:docMk/>
            <pc:sldMk cId="2574806156" sldId="2146849611"/>
            <ac:spMk id="2632" creationId="{CAA6F6D6-EFCC-483C-A078-3E7B9C2A03A7}"/>
          </ac:spMkLst>
        </pc:spChg>
        <pc:spChg chg="mod">
          <ac:chgData name="Lars Boe Riber" userId="a0746655-6c86-46e8-9fa0-3fdc9fc77da6" providerId="ADAL" clId="{4E480DD1-6EB6-40E9-AA5D-F0885641F18B}" dt="2022-11-18T10:27:07.815" v="635" actId="790"/>
          <ac:spMkLst>
            <pc:docMk/>
            <pc:sldMk cId="2574806156" sldId="2146849611"/>
            <ac:spMk id="2633" creationId="{54C10AC3-D8DD-4F8B-B723-76A99920E9B5}"/>
          </ac:spMkLst>
        </pc:spChg>
        <pc:spChg chg="mod">
          <ac:chgData name="Lars Boe Riber" userId="a0746655-6c86-46e8-9fa0-3fdc9fc77da6" providerId="ADAL" clId="{4E480DD1-6EB6-40E9-AA5D-F0885641F18B}" dt="2022-11-18T10:27:07.816" v="636" actId="790"/>
          <ac:spMkLst>
            <pc:docMk/>
            <pc:sldMk cId="2574806156" sldId="2146849611"/>
            <ac:spMk id="2634" creationId="{ACAD66EC-4942-4A93-8623-24A2D930A47B}"/>
          </ac:spMkLst>
        </pc:spChg>
        <pc:spChg chg="mod">
          <ac:chgData name="Lars Boe Riber" userId="a0746655-6c86-46e8-9fa0-3fdc9fc77da6" providerId="ADAL" clId="{4E480DD1-6EB6-40E9-AA5D-F0885641F18B}" dt="2022-11-18T10:27:07.817" v="637" actId="790"/>
          <ac:spMkLst>
            <pc:docMk/>
            <pc:sldMk cId="2574806156" sldId="2146849611"/>
            <ac:spMk id="2635" creationId="{1B197684-BE28-4CBE-850D-B1080E2F384F}"/>
          </ac:spMkLst>
        </pc:spChg>
        <pc:spChg chg="mod">
          <ac:chgData name="Lars Boe Riber" userId="a0746655-6c86-46e8-9fa0-3fdc9fc77da6" providerId="ADAL" clId="{4E480DD1-6EB6-40E9-AA5D-F0885641F18B}" dt="2022-11-18T10:27:07.818" v="638" actId="790"/>
          <ac:spMkLst>
            <pc:docMk/>
            <pc:sldMk cId="2574806156" sldId="2146849611"/>
            <ac:spMk id="2636" creationId="{F9127308-A9F0-4616-AAC7-B2617CA6B369}"/>
          </ac:spMkLst>
        </pc:spChg>
        <pc:spChg chg="mod">
          <ac:chgData name="Lars Boe Riber" userId="a0746655-6c86-46e8-9fa0-3fdc9fc77da6" providerId="ADAL" clId="{4E480DD1-6EB6-40E9-AA5D-F0885641F18B}" dt="2022-11-18T10:27:07.818" v="639" actId="790"/>
          <ac:spMkLst>
            <pc:docMk/>
            <pc:sldMk cId="2574806156" sldId="2146849611"/>
            <ac:spMk id="2637" creationId="{C1F0B53E-1CF3-4F95-AEF8-A08B3F64819B}"/>
          </ac:spMkLst>
        </pc:spChg>
        <pc:spChg chg="mod">
          <ac:chgData name="Lars Boe Riber" userId="a0746655-6c86-46e8-9fa0-3fdc9fc77da6" providerId="ADAL" clId="{4E480DD1-6EB6-40E9-AA5D-F0885641F18B}" dt="2022-11-18T10:27:07.819" v="640" actId="790"/>
          <ac:spMkLst>
            <pc:docMk/>
            <pc:sldMk cId="2574806156" sldId="2146849611"/>
            <ac:spMk id="2638" creationId="{F944C5B6-6C2D-401C-ADCF-2A4C767FDCFC}"/>
          </ac:spMkLst>
        </pc:spChg>
        <pc:spChg chg="mod">
          <ac:chgData name="Lars Boe Riber" userId="a0746655-6c86-46e8-9fa0-3fdc9fc77da6" providerId="ADAL" clId="{4E480DD1-6EB6-40E9-AA5D-F0885641F18B}" dt="2022-11-18T10:27:07.820" v="641" actId="790"/>
          <ac:spMkLst>
            <pc:docMk/>
            <pc:sldMk cId="2574806156" sldId="2146849611"/>
            <ac:spMk id="2639" creationId="{5BDD4377-2AC0-48FF-BC92-A200F154C100}"/>
          </ac:spMkLst>
        </pc:spChg>
        <pc:spChg chg="mod">
          <ac:chgData name="Lars Boe Riber" userId="a0746655-6c86-46e8-9fa0-3fdc9fc77da6" providerId="ADAL" clId="{4E480DD1-6EB6-40E9-AA5D-F0885641F18B}" dt="2022-11-18T10:27:07.820" v="642" actId="790"/>
          <ac:spMkLst>
            <pc:docMk/>
            <pc:sldMk cId="2574806156" sldId="2146849611"/>
            <ac:spMk id="2640" creationId="{BCA63259-2B43-4095-A117-BB56F1FF4361}"/>
          </ac:spMkLst>
        </pc:spChg>
        <pc:spChg chg="mod">
          <ac:chgData name="Lars Boe Riber" userId="a0746655-6c86-46e8-9fa0-3fdc9fc77da6" providerId="ADAL" clId="{4E480DD1-6EB6-40E9-AA5D-F0885641F18B}" dt="2022-11-18T10:27:07.821" v="643" actId="790"/>
          <ac:spMkLst>
            <pc:docMk/>
            <pc:sldMk cId="2574806156" sldId="2146849611"/>
            <ac:spMk id="2641" creationId="{03C01766-5B76-4F43-BE97-95F2EB20107B}"/>
          </ac:spMkLst>
        </pc:spChg>
        <pc:spChg chg="mod">
          <ac:chgData name="Lars Boe Riber" userId="a0746655-6c86-46e8-9fa0-3fdc9fc77da6" providerId="ADAL" clId="{4E480DD1-6EB6-40E9-AA5D-F0885641F18B}" dt="2022-11-18T10:27:07.822" v="644" actId="790"/>
          <ac:spMkLst>
            <pc:docMk/>
            <pc:sldMk cId="2574806156" sldId="2146849611"/>
            <ac:spMk id="2642" creationId="{2C6DC9E1-1654-48E2-BAD0-A200C081C0C3}"/>
          </ac:spMkLst>
        </pc:spChg>
        <pc:spChg chg="mod">
          <ac:chgData name="Lars Boe Riber" userId="a0746655-6c86-46e8-9fa0-3fdc9fc77da6" providerId="ADAL" clId="{4E480DD1-6EB6-40E9-AA5D-F0885641F18B}" dt="2022-11-18T10:27:07.822" v="645" actId="790"/>
          <ac:spMkLst>
            <pc:docMk/>
            <pc:sldMk cId="2574806156" sldId="2146849611"/>
            <ac:spMk id="2643" creationId="{F1D926CD-15C3-4362-A82D-7EF44AD6FB25}"/>
          </ac:spMkLst>
        </pc:spChg>
        <pc:spChg chg="mod">
          <ac:chgData name="Lars Boe Riber" userId="a0746655-6c86-46e8-9fa0-3fdc9fc77da6" providerId="ADAL" clId="{4E480DD1-6EB6-40E9-AA5D-F0885641F18B}" dt="2022-11-18T10:27:07.823" v="646" actId="790"/>
          <ac:spMkLst>
            <pc:docMk/>
            <pc:sldMk cId="2574806156" sldId="2146849611"/>
            <ac:spMk id="2644" creationId="{7CC14A97-82DB-43BA-B864-F7287363794B}"/>
          </ac:spMkLst>
        </pc:spChg>
        <pc:spChg chg="mod">
          <ac:chgData name="Lars Boe Riber" userId="a0746655-6c86-46e8-9fa0-3fdc9fc77da6" providerId="ADAL" clId="{4E480DD1-6EB6-40E9-AA5D-F0885641F18B}" dt="2022-11-18T10:27:07.823" v="647" actId="790"/>
          <ac:spMkLst>
            <pc:docMk/>
            <pc:sldMk cId="2574806156" sldId="2146849611"/>
            <ac:spMk id="2645" creationId="{444702D3-9E23-4F34-9927-9A476E379555}"/>
          </ac:spMkLst>
        </pc:spChg>
        <pc:spChg chg="mod">
          <ac:chgData name="Lars Boe Riber" userId="a0746655-6c86-46e8-9fa0-3fdc9fc77da6" providerId="ADAL" clId="{4E480DD1-6EB6-40E9-AA5D-F0885641F18B}" dt="2022-11-18T10:27:07.824" v="648" actId="790"/>
          <ac:spMkLst>
            <pc:docMk/>
            <pc:sldMk cId="2574806156" sldId="2146849611"/>
            <ac:spMk id="2646" creationId="{E009BCB2-2BEC-4D05-AED2-28D62C9F383C}"/>
          </ac:spMkLst>
        </pc:spChg>
        <pc:spChg chg="mod">
          <ac:chgData name="Lars Boe Riber" userId="a0746655-6c86-46e8-9fa0-3fdc9fc77da6" providerId="ADAL" clId="{4E480DD1-6EB6-40E9-AA5D-F0885641F18B}" dt="2022-11-18T10:27:07.825" v="649" actId="790"/>
          <ac:spMkLst>
            <pc:docMk/>
            <pc:sldMk cId="2574806156" sldId="2146849611"/>
            <ac:spMk id="2647" creationId="{FC9303F4-A0D3-4242-9DDD-7D72D4C3ABFE}"/>
          </ac:spMkLst>
        </pc:spChg>
        <pc:spChg chg="mod">
          <ac:chgData name="Lars Boe Riber" userId="a0746655-6c86-46e8-9fa0-3fdc9fc77da6" providerId="ADAL" clId="{4E480DD1-6EB6-40E9-AA5D-F0885641F18B}" dt="2022-11-18T10:27:07.825" v="650" actId="790"/>
          <ac:spMkLst>
            <pc:docMk/>
            <pc:sldMk cId="2574806156" sldId="2146849611"/>
            <ac:spMk id="2648" creationId="{EEB33DA0-58A7-4529-B7B3-7530467E8A22}"/>
          </ac:spMkLst>
        </pc:spChg>
        <pc:spChg chg="mod">
          <ac:chgData name="Lars Boe Riber" userId="a0746655-6c86-46e8-9fa0-3fdc9fc77da6" providerId="ADAL" clId="{4E480DD1-6EB6-40E9-AA5D-F0885641F18B}" dt="2022-11-18T10:27:07.826" v="651" actId="790"/>
          <ac:spMkLst>
            <pc:docMk/>
            <pc:sldMk cId="2574806156" sldId="2146849611"/>
            <ac:spMk id="2649" creationId="{F2A8E1F9-59BD-4C93-B4ED-15892A9A2629}"/>
          </ac:spMkLst>
        </pc:spChg>
        <pc:spChg chg="mod">
          <ac:chgData name="Lars Boe Riber" userId="a0746655-6c86-46e8-9fa0-3fdc9fc77da6" providerId="ADAL" clId="{4E480DD1-6EB6-40E9-AA5D-F0885641F18B}" dt="2022-11-18T10:27:07.827" v="652" actId="790"/>
          <ac:spMkLst>
            <pc:docMk/>
            <pc:sldMk cId="2574806156" sldId="2146849611"/>
            <ac:spMk id="2650" creationId="{69542867-B2FD-4998-BD57-CCBB93689264}"/>
          </ac:spMkLst>
        </pc:spChg>
        <pc:spChg chg="mod">
          <ac:chgData name="Lars Boe Riber" userId="a0746655-6c86-46e8-9fa0-3fdc9fc77da6" providerId="ADAL" clId="{4E480DD1-6EB6-40E9-AA5D-F0885641F18B}" dt="2022-11-18T10:27:07.828" v="653" actId="790"/>
          <ac:spMkLst>
            <pc:docMk/>
            <pc:sldMk cId="2574806156" sldId="2146849611"/>
            <ac:spMk id="2651" creationId="{A701516A-3520-4B78-8D41-783E3C9746D4}"/>
          </ac:spMkLst>
        </pc:spChg>
        <pc:spChg chg="mod">
          <ac:chgData name="Lars Boe Riber" userId="a0746655-6c86-46e8-9fa0-3fdc9fc77da6" providerId="ADAL" clId="{4E480DD1-6EB6-40E9-AA5D-F0885641F18B}" dt="2022-11-18T10:27:07.828" v="654" actId="790"/>
          <ac:spMkLst>
            <pc:docMk/>
            <pc:sldMk cId="2574806156" sldId="2146849611"/>
            <ac:spMk id="2652" creationId="{CF8034F8-6C62-427B-9EFC-68036B63714E}"/>
          </ac:spMkLst>
        </pc:spChg>
        <pc:spChg chg="mod">
          <ac:chgData name="Lars Boe Riber" userId="a0746655-6c86-46e8-9fa0-3fdc9fc77da6" providerId="ADAL" clId="{4E480DD1-6EB6-40E9-AA5D-F0885641F18B}" dt="2022-11-18T10:27:07.829" v="655" actId="790"/>
          <ac:spMkLst>
            <pc:docMk/>
            <pc:sldMk cId="2574806156" sldId="2146849611"/>
            <ac:spMk id="2653" creationId="{A040F3E1-490A-401E-B9C4-90281ECB8502}"/>
          </ac:spMkLst>
        </pc:spChg>
        <pc:spChg chg="mod">
          <ac:chgData name="Lars Boe Riber" userId="a0746655-6c86-46e8-9fa0-3fdc9fc77da6" providerId="ADAL" clId="{4E480DD1-6EB6-40E9-AA5D-F0885641F18B}" dt="2022-11-18T10:27:07.830" v="656" actId="790"/>
          <ac:spMkLst>
            <pc:docMk/>
            <pc:sldMk cId="2574806156" sldId="2146849611"/>
            <ac:spMk id="2654" creationId="{13C45AFD-245F-446F-AB2F-9D4760FC7842}"/>
          </ac:spMkLst>
        </pc:spChg>
        <pc:spChg chg="mod">
          <ac:chgData name="Lars Boe Riber" userId="a0746655-6c86-46e8-9fa0-3fdc9fc77da6" providerId="ADAL" clId="{4E480DD1-6EB6-40E9-AA5D-F0885641F18B}" dt="2022-11-18T10:27:07.831" v="657" actId="790"/>
          <ac:spMkLst>
            <pc:docMk/>
            <pc:sldMk cId="2574806156" sldId="2146849611"/>
            <ac:spMk id="2655" creationId="{344B98D4-F862-4697-BF05-CA4EA046F382}"/>
          </ac:spMkLst>
        </pc:spChg>
        <pc:spChg chg="mod">
          <ac:chgData name="Lars Boe Riber" userId="a0746655-6c86-46e8-9fa0-3fdc9fc77da6" providerId="ADAL" clId="{4E480DD1-6EB6-40E9-AA5D-F0885641F18B}" dt="2022-11-18T10:27:07.831" v="658" actId="790"/>
          <ac:spMkLst>
            <pc:docMk/>
            <pc:sldMk cId="2574806156" sldId="2146849611"/>
            <ac:spMk id="2656" creationId="{B928A90D-81A3-4D86-B84F-FBA11F14680D}"/>
          </ac:spMkLst>
        </pc:spChg>
        <pc:spChg chg="mod">
          <ac:chgData name="Lars Boe Riber" userId="a0746655-6c86-46e8-9fa0-3fdc9fc77da6" providerId="ADAL" clId="{4E480DD1-6EB6-40E9-AA5D-F0885641F18B}" dt="2022-11-18T10:27:07.832" v="659" actId="790"/>
          <ac:spMkLst>
            <pc:docMk/>
            <pc:sldMk cId="2574806156" sldId="2146849611"/>
            <ac:spMk id="2657" creationId="{4AC21A1A-66B7-4D7D-B6BB-F39F0FB34A64}"/>
          </ac:spMkLst>
        </pc:spChg>
        <pc:spChg chg="mod">
          <ac:chgData name="Lars Boe Riber" userId="a0746655-6c86-46e8-9fa0-3fdc9fc77da6" providerId="ADAL" clId="{4E480DD1-6EB6-40E9-AA5D-F0885641F18B}" dt="2022-11-18T10:27:07.833" v="660" actId="790"/>
          <ac:spMkLst>
            <pc:docMk/>
            <pc:sldMk cId="2574806156" sldId="2146849611"/>
            <ac:spMk id="2658" creationId="{3E36A230-9CA9-42D7-9C62-B1A3E2814E5E}"/>
          </ac:spMkLst>
        </pc:spChg>
        <pc:spChg chg="mod">
          <ac:chgData name="Lars Boe Riber" userId="a0746655-6c86-46e8-9fa0-3fdc9fc77da6" providerId="ADAL" clId="{4E480DD1-6EB6-40E9-AA5D-F0885641F18B}" dt="2022-11-18T10:27:07.834" v="661" actId="790"/>
          <ac:spMkLst>
            <pc:docMk/>
            <pc:sldMk cId="2574806156" sldId="2146849611"/>
            <ac:spMk id="2659" creationId="{27412EF1-5717-431A-A589-34DA6A11E047}"/>
          </ac:spMkLst>
        </pc:spChg>
        <pc:spChg chg="mod">
          <ac:chgData name="Lars Boe Riber" userId="a0746655-6c86-46e8-9fa0-3fdc9fc77da6" providerId="ADAL" clId="{4E480DD1-6EB6-40E9-AA5D-F0885641F18B}" dt="2022-11-18T10:27:07.834" v="662" actId="790"/>
          <ac:spMkLst>
            <pc:docMk/>
            <pc:sldMk cId="2574806156" sldId="2146849611"/>
            <ac:spMk id="2660" creationId="{268C7336-567C-4FCB-B8A9-336CBFDA2411}"/>
          </ac:spMkLst>
        </pc:spChg>
        <pc:spChg chg="mod">
          <ac:chgData name="Lars Boe Riber" userId="a0746655-6c86-46e8-9fa0-3fdc9fc77da6" providerId="ADAL" clId="{4E480DD1-6EB6-40E9-AA5D-F0885641F18B}" dt="2022-11-18T10:27:07.835" v="663" actId="790"/>
          <ac:spMkLst>
            <pc:docMk/>
            <pc:sldMk cId="2574806156" sldId="2146849611"/>
            <ac:spMk id="2661" creationId="{EC60708E-B6D8-48EB-84A8-D484F044E3FA}"/>
          </ac:spMkLst>
        </pc:spChg>
        <pc:spChg chg="mod">
          <ac:chgData name="Lars Boe Riber" userId="a0746655-6c86-46e8-9fa0-3fdc9fc77da6" providerId="ADAL" clId="{4E480DD1-6EB6-40E9-AA5D-F0885641F18B}" dt="2022-11-18T10:27:07.835" v="664" actId="790"/>
          <ac:spMkLst>
            <pc:docMk/>
            <pc:sldMk cId="2574806156" sldId="2146849611"/>
            <ac:spMk id="2662" creationId="{5042A95B-53D1-4E57-AF73-800E4552CD08}"/>
          </ac:spMkLst>
        </pc:spChg>
        <pc:spChg chg="mod">
          <ac:chgData name="Lars Boe Riber" userId="a0746655-6c86-46e8-9fa0-3fdc9fc77da6" providerId="ADAL" clId="{4E480DD1-6EB6-40E9-AA5D-F0885641F18B}" dt="2022-11-18T10:27:07.836" v="665" actId="790"/>
          <ac:spMkLst>
            <pc:docMk/>
            <pc:sldMk cId="2574806156" sldId="2146849611"/>
            <ac:spMk id="2663" creationId="{EAFBA647-E818-453E-91F7-D5631029AA57}"/>
          </ac:spMkLst>
        </pc:spChg>
        <pc:spChg chg="mod">
          <ac:chgData name="Lars Boe Riber" userId="a0746655-6c86-46e8-9fa0-3fdc9fc77da6" providerId="ADAL" clId="{4E480DD1-6EB6-40E9-AA5D-F0885641F18B}" dt="2022-11-18T10:27:07.837" v="666" actId="790"/>
          <ac:spMkLst>
            <pc:docMk/>
            <pc:sldMk cId="2574806156" sldId="2146849611"/>
            <ac:spMk id="2664" creationId="{C2A2CDB3-ACC2-4BE9-BE08-22D78CB615E1}"/>
          </ac:spMkLst>
        </pc:spChg>
        <pc:spChg chg="mod">
          <ac:chgData name="Lars Boe Riber" userId="a0746655-6c86-46e8-9fa0-3fdc9fc77da6" providerId="ADAL" clId="{4E480DD1-6EB6-40E9-AA5D-F0885641F18B}" dt="2022-11-18T10:27:07.837" v="667" actId="790"/>
          <ac:spMkLst>
            <pc:docMk/>
            <pc:sldMk cId="2574806156" sldId="2146849611"/>
            <ac:spMk id="2665" creationId="{40099115-1C97-4DAA-8674-387B7CAD4FFB}"/>
          </ac:spMkLst>
        </pc:spChg>
        <pc:spChg chg="mod">
          <ac:chgData name="Lars Boe Riber" userId="a0746655-6c86-46e8-9fa0-3fdc9fc77da6" providerId="ADAL" clId="{4E480DD1-6EB6-40E9-AA5D-F0885641F18B}" dt="2022-11-18T10:27:07.838" v="668" actId="790"/>
          <ac:spMkLst>
            <pc:docMk/>
            <pc:sldMk cId="2574806156" sldId="2146849611"/>
            <ac:spMk id="2666" creationId="{81B19192-00DF-40C9-801D-46D8CCF43CD5}"/>
          </ac:spMkLst>
        </pc:spChg>
        <pc:spChg chg="mod">
          <ac:chgData name="Lars Boe Riber" userId="a0746655-6c86-46e8-9fa0-3fdc9fc77da6" providerId="ADAL" clId="{4E480DD1-6EB6-40E9-AA5D-F0885641F18B}" dt="2022-11-18T10:27:07.839" v="669" actId="790"/>
          <ac:spMkLst>
            <pc:docMk/>
            <pc:sldMk cId="2574806156" sldId="2146849611"/>
            <ac:spMk id="2667" creationId="{292BE56C-221D-4CA1-AFAE-6E1F259D6632}"/>
          </ac:spMkLst>
        </pc:spChg>
        <pc:spChg chg="mod">
          <ac:chgData name="Lars Boe Riber" userId="a0746655-6c86-46e8-9fa0-3fdc9fc77da6" providerId="ADAL" clId="{4E480DD1-6EB6-40E9-AA5D-F0885641F18B}" dt="2022-11-18T10:27:07.839" v="670" actId="790"/>
          <ac:spMkLst>
            <pc:docMk/>
            <pc:sldMk cId="2574806156" sldId="2146849611"/>
            <ac:spMk id="2668" creationId="{7781B188-DC68-494C-9A7A-CE977C8A0E11}"/>
          </ac:spMkLst>
        </pc:spChg>
        <pc:spChg chg="mod">
          <ac:chgData name="Lars Boe Riber" userId="a0746655-6c86-46e8-9fa0-3fdc9fc77da6" providerId="ADAL" clId="{4E480DD1-6EB6-40E9-AA5D-F0885641F18B}" dt="2022-11-18T10:27:07.840" v="671" actId="790"/>
          <ac:spMkLst>
            <pc:docMk/>
            <pc:sldMk cId="2574806156" sldId="2146849611"/>
            <ac:spMk id="2669" creationId="{80494031-7C12-451C-B8A8-2B04C0C7AAE7}"/>
          </ac:spMkLst>
        </pc:spChg>
        <pc:spChg chg="mod">
          <ac:chgData name="Lars Boe Riber" userId="a0746655-6c86-46e8-9fa0-3fdc9fc77da6" providerId="ADAL" clId="{4E480DD1-6EB6-40E9-AA5D-F0885641F18B}" dt="2022-11-18T10:27:07.841" v="672" actId="790"/>
          <ac:spMkLst>
            <pc:docMk/>
            <pc:sldMk cId="2574806156" sldId="2146849611"/>
            <ac:spMk id="2670" creationId="{6B7A4014-E13C-46C3-AE56-BE2265A82A9C}"/>
          </ac:spMkLst>
        </pc:spChg>
        <pc:spChg chg="mod">
          <ac:chgData name="Lars Boe Riber" userId="a0746655-6c86-46e8-9fa0-3fdc9fc77da6" providerId="ADAL" clId="{4E480DD1-6EB6-40E9-AA5D-F0885641F18B}" dt="2022-11-18T10:27:07.841" v="673" actId="790"/>
          <ac:spMkLst>
            <pc:docMk/>
            <pc:sldMk cId="2574806156" sldId="2146849611"/>
            <ac:spMk id="2671" creationId="{CF6DD4E0-E894-476E-84BA-43D457ACA3D8}"/>
          </ac:spMkLst>
        </pc:spChg>
        <pc:spChg chg="mod">
          <ac:chgData name="Lars Boe Riber" userId="a0746655-6c86-46e8-9fa0-3fdc9fc77da6" providerId="ADAL" clId="{4E480DD1-6EB6-40E9-AA5D-F0885641F18B}" dt="2022-11-18T10:27:07.842" v="674" actId="790"/>
          <ac:spMkLst>
            <pc:docMk/>
            <pc:sldMk cId="2574806156" sldId="2146849611"/>
            <ac:spMk id="2672" creationId="{33473AFF-FC4E-41C7-B2FF-9D6A5A1A2F73}"/>
          </ac:spMkLst>
        </pc:spChg>
        <pc:spChg chg="mod">
          <ac:chgData name="Lars Boe Riber" userId="a0746655-6c86-46e8-9fa0-3fdc9fc77da6" providerId="ADAL" clId="{4E480DD1-6EB6-40E9-AA5D-F0885641F18B}" dt="2022-11-18T10:27:07.843" v="675" actId="790"/>
          <ac:spMkLst>
            <pc:docMk/>
            <pc:sldMk cId="2574806156" sldId="2146849611"/>
            <ac:spMk id="2673" creationId="{4BB4BDC4-95CB-4EDC-8D89-0D160F519ABC}"/>
          </ac:spMkLst>
        </pc:spChg>
        <pc:spChg chg="mod">
          <ac:chgData name="Lars Boe Riber" userId="a0746655-6c86-46e8-9fa0-3fdc9fc77da6" providerId="ADAL" clId="{4E480DD1-6EB6-40E9-AA5D-F0885641F18B}" dt="2022-11-18T10:27:07.844" v="676" actId="790"/>
          <ac:spMkLst>
            <pc:docMk/>
            <pc:sldMk cId="2574806156" sldId="2146849611"/>
            <ac:spMk id="2674" creationId="{9634FC64-204B-4C07-9433-23ACC94A9F50}"/>
          </ac:spMkLst>
        </pc:spChg>
        <pc:spChg chg="mod">
          <ac:chgData name="Lars Boe Riber" userId="a0746655-6c86-46e8-9fa0-3fdc9fc77da6" providerId="ADAL" clId="{4E480DD1-6EB6-40E9-AA5D-F0885641F18B}" dt="2022-11-18T10:27:07.844" v="677" actId="790"/>
          <ac:spMkLst>
            <pc:docMk/>
            <pc:sldMk cId="2574806156" sldId="2146849611"/>
            <ac:spMk id="2675" creationId="{226C33AC-677D-409E-8D42-2DE2C01FCC21}"/>
          </ac:spMkLst>
        </pc:spChg>
        <pc:spChg chg="mod">
          <ac:chgData name="Lars Boe Riber" userId="a0746655-6c86-46e8-9fa0-3fdc9fc77da6" providerId="ADAL" clId="{4E480DD1-6EB6-40E9-AA5D-F0885641F18B}" dt="2022-11-18T10:27:07.845" v="678" actId="790"/>
          <ac:spMkLst>
            <pc:docMk/>
            <pc:sldMk cId="2574806156" sldId="2146849611"/>
            <ac:spMk id="2676" creationId="{FB92E8FE-44E5-4798-B2E3-806B253A14D9}"/>
          </ac:spMkLst>
        </pc:spChg>
        <pc:spChg chg="mod">
          <ac:chgData name="Lars Boe Riber" userId="a0746655-6c86-46e8-9fa0-3fdc9fc77da6" providerId="ADAL" clId="{4E480DD1-6EB6-40E9-AA5D-F0885641F18B}" dt="2022-11-18T10:27:07.846" v="679" actId="790"/>
          <ac:spMkLst>
            <pc:docMk/>
            <pc:sldMk cId="2574806156" sldId="2146849611"/>
            <ac:spMk id="2677" creationId="{B77605E0-81BD-438C-86D9-64D518593B46}"/>
          </ac:spMkLst>
        </pc:spChg>
        <pc:spChg chg="mod">
          <ac:chgData name="Lars Boe Riber" userId="a0746655-6c86-46e8-9fa0-3fdc9fc77da6" providerId="ADAL" clId="{4E480DD1-6EB6-40E9-AA5D-F0885641F18B}" dt="2022-11-18T10:27:07.846" v="680" actId="790"/>
          <ac:spMkLst>
            <pc:docMk/>
            <pc:sldMk cId="2574806156" sldId="2146849611"/>
            <ac:spMk id="2678" creationId="{A7B2652C-4F06-4091-90AF-5A92529AB345}"/>
          </ac:spMkLst>
        </pc:spChg>
        <pc:spChg chg="mod">
          <ac:chgData name="Lars Boe Riber" userId="a0746655-6c86-46e8-9fa0-3fdc9fc77da6" providerId="ADAL" clId="{4E480DD1-6EB6-40E9-AA5D-F0885641F18B}" dt="2022-11-18T10:27:07.847" v="681" actId="790"/>
          <ac:spMkLst>
            <pc:docMk/>
            <pc:sldMk cId="2574806156" sldId="2146849611"/>
            <ac:spMk id="2679" creationId="{3448FD3E-7845-48E5-9AB6-78B7488127F7}"/>
          </ac:spMkLst>
        </pc:spChg>
        <pc:spChg chg="mod">
          <ac:chgData name="Lars Boe Riber" userId="a0746655-6c86-46e8-9fa0-3fdc9fc77da6" providerId="ADAL" clId="{4E480DD1-6EB6-40E9-AA5D-F0885641F18B}" dt="2022-11-18T10:27:07.847" v="682" actId="790"/>
          <ac:spMkLst>
            <pc:docMk/>
            <pc:sldMk cId="2574806156" sldId="2146849611"/>
            <ac:spMk id="2680" creationId="{5DFE0B2F-CFE2-4FFC-8FB0-F0D44B15293B}"/>
          </ac:spMkLst>
        </pc:spChg>
        <pc:spChg chg="mod">
          <ac:chgData name="Lars Boe Riber" userId="a0746655-6c86-46e8-9fa0-3fdc9fc77da6" providerId="ADAL" clId="{4E480DD1-6EB6-40E9-AA5D-F0885641F18B}" dt="2022-11-18T10:27:07.848" v="683" actId="790"/>
          <ac:spMkLst>
            <pc:docMk/>
            <pc:sldMk cId="2574806156" sldId="2146849611"/>
            <ac:spMk id="2681" creationId="{1639C015-1F1C-4DAE-82F2-8E1BBA0077C3}"/>
          </ac:spMkLst>
        </pc:spChg>
        <pc:spChg chg="mod">
          <ac:chgData name="Lars Boe Riber" userId="a0746655-6c86-46e8-9fa0-3fdc9fc77da6" providerId="ADAL" clId="{4E480DD1-6EB6-40E9-AA5D-F0885641F18B}" dt="2022-11-18T10:27:07.849" v="684" actId="790"/>
          <ac:spMkLst>
            <pc:docMk/>
            <pc:sldMk cId="2574806156" sldId="2146849611"/>
            <ac:spMk id="2682" creationId="{03B472A9-30A1-4D70-A003-0E9A54520591}"/>
          </ac:spMkLst>
        </pc:spChg>
        <pc:spChg chg="mod">
          <ac:chgData name="Lars Boe Riber" userId="a0746655-6c86-46e8-9fa0-3fdc9fc77da6" providerId="ADAL" clId="{4E480DD1-6EB6-40E9-AA5D-F0885641F18B}" dt="2022-11-18T10:27:07.850" v="685" actId="790"/>
          <ac:spMkLst>
            <pc:docMk/>
            <pc:sldMk cId="2574806156" sldId="2146849611"/>
            <ac:spMk id="2683" creationId="{B0BC92A0-89D3-4AC5-9CDA-29103927B814}"/>
          </ac:spMkLst>
        </pc:spChg>
        <pc:spChg chg="mod">
          <ac:chgData name="Lars Boe Riber" userId="a0746655-6c86-46e8-9fa0-3fdc9fc77da6" providerId="ADAL" clId="{4E480DD1-6EB6-40E9-AA5D-F0885641F18B}" dt="2022-11-18T10:27:07.850" v="686" actId="790"/>
          <ac:spMkLst>
            <pc:docMk/>
            <pc:sldMk cId="2574806156" sldId="2146849611"/>
            <ac:spMk id="2684" creationId="{285D91C4-1F68-4147-A753-D7241D1A7A83}"/>
          </ac:spMkLst>
        </pc:spChg>
        <pc:spChg chg="mod">
          <ac:chgData name="Lars Boe Riber" userId="a0746655-6c86-46e8-9fa0-3fdc9fc77da6" providerId="ADAL" clId="{4E480DD1-6EB6-40E9-AA5D-F0885641F18B}" dt="2022-11-18T10:27:07.851" v="687" actId="790"/>
          <ac:spMkLst>
            <pc:docMk/>
            <pc:sldMk cId="2574806156" sldId="2146849611"/>
            <ac:spMk id="2685" creationId="{77FFA117-55EF-4163-8DCD-BDD587A3E75D}"/>
          </ac:spMkLst>
        </pc:spChg>
        <pc:spChg chg="mod">
          <ac:chgData name="Lars Boe Riber" userId="a0746655-6c86-46e8-9fa0-3fdc9fc77da6" providerId="ADAL" clId="{4E480DD1-6EB6-40E9-AA5D-F0885641F18B}" dt="2022-11-18T10:27:07.852" v="688" actId="790"/>
          <ac:spMkLst>
            <pc:docMk/>
            <pc:sldMk cId="2574806156" sldId="2146849611"/>
            <ac:spMk id="2686" creationId="{1A34F74B-8E2A-4FE1-A242-A0FF2901148E}"/>
          </ac:spMkLst>
        </pc:spChg>
        <pc:spChg chg="mod">
          <ac:chgData name="Lars Boe Riber" userId="a0746655-6c86-46e8-9fa0-3fdc9fc77da6" providerId="ADAL" clId="{4E480DD1-6EB6-40E9-AA5D-F0885641F18B}" dt="2022-11-18T10:27:07.852" v="689" actId="790"/>
          <ac:spMkLst>
            <pc:docMk/>
            <pc:sldMk cId="2574806156" sldId="2146849611"/>
            <ac:spMk id="2687" creationId="{64051DF5-DEB1-484C-9DFD-D76B73BECE7E}"/>
          </ac:spMkLst>
        </pc:spChg>
        <pc:spChg chg="mod">
          <ac:chgData name="Lars Boe Riber" userId="a0746655-6c86-46e8-9fa0-3fdc9fc77da6" providerId="ADAL" clId="{4E480DD1-6EB6-40E9-AA5D-F0885641F18B}" dt="2022-11-18T10:27:07.853" v="690" actId="790"/>
          <ac:spMkLst>
            <pc:docMk/>
            <pc:sldMk cId="2574806156" sldId="2146849611"/>
            <ac:spMk id="2688" creationId="{233B0AAD-7108-49A3-8A15-4DCACE6FAD49}"/>
          </ac:spMkLst>
        </pc:spChg>
        <pc:spChg chg="mod">
          <ac:chgData name="Lars Boe Riber" userId="a0746655-6c86-46e8-9fa0-3fdc9fc77da6" providerId="ADAL" clId="{4E480DD1-6EB6-40E9-AA5D-F0885641F18B}" dt="2022-11-18T10:27:07.853" v="691" actId="790"/>
          <ac:spMkLst>
            <pc:docMk/>
            <pc:sldMk cId="2574806156" sldId="2146849611"/>
            <ac:spMk id="2689" creationId="{5F227C80-11A0-4B26-92EA-E6C794AE3E28}"/>
          </ac:spMkLst>
        </pc:spChg>
        <pc:spChg chg="mod">
          <ac:chgData name="Lars Boe Riber" userId="a0746655-6c86-46e8-9fa0-3fdc9fc77da6" providerId="ADAL" clId="{4E480DD1-6EB6-40E9-AA5D-F0885641F18B}" dt="2022-11-18T10:27:07.854" v="692" actId="790"/>
          <ac:spMkLst>
            <pc:docMk/>
            <pc:sldMk cId="2574806156" sldId="2146849611"/>
            <ac:spMk id="2690" creationId="{494F1905-8091-4203-A662-A8FA593520CE}"/>
          </ac:spMkLst>
        </pc:spChg>
        <pc:spChg chg="mod">
          <ac:chgData name="Lars Boe Riber" userId="a0746655-6c86-46e8-9fa0-3fdc9fc77da6" providerId="ADAL" clId="{4E480DD1-6EB6-40E9-AA5D-F0885641F18B}" dt="2022-11-18T10:27:07.855" v="693" actId="790"/>
          <ac:spMkLst>
            <pc:docMk/>
            <pc:sldMk cId="2574806156" sldId="2146849611"/>
            <ac:spMk id="2691" creationId="{D590498B-D52B-43E0-AEBA-6E2A188DC059}"/>
          </ac:spMkLst>
        </pc:spChg>
        <pc:spChg chg="mod">
          <ac:chgData name="Lars Boe Riber" userId="a0746655-6c86-46e8-9fa0-3fdc9fc77da6" providerId="ADAL" clId="{4E480DD1-6EB6-40E9-AA5D-F0885641F18B}" dt="2022-11-18T10:27:07.856" v="694" actId="790"/>
          <ac:spMkLst>
            <pc:docMk/>
            <pc:sldMk cId="2574806156" sldId="2146849611"/>
            <ac:spMk id="2692" creationId="{BEBC4F13-1A5F-439E-B47F-EA628260633D}"/>
          </ac:spMkLst>
        </pc:spChg>
        <pc:spChg chg="mod">
          <ac:chgData name="Lars Boe Riber" userId="a0746655-6c86-46e8-9fa0-3fdc9fc77da6" providerId="ADAL" clId="{4E480DD1-6EB6-40E9-AA5D-F0885641F18B}" dt="2022-11-18T10:27:07.856" v="695" actId="790"/>
          <ac:spMkLst>
            <pc:docMk/>
            <pc:sldMk cId="2574806156" sldId="2146849611"/>
            <ac:spMk id="2693" creationId="{0480534E-0CDA-449E-A9A5-73C0E81FDB6D}"/>
          </ac:spMkLst>
        </pc:spChg>
        <pc:spChg chg="mod">
          <ac:chgData name="Lars Boe Riber" userId="a0746655-6c86-46e8-9fa0-3fdc9fc77da6" providerId="ADAL" clId="{4E480DD1-6EB6-40E9-AA5D-F0885641F18B}" dt="2022-11-18T10:27:07.857" v="696" actId="790"/>
          <ac:spMkLst>
            <pc:docMk/>
            <pc:sldMk cId="2574806156" sldId="2146849611"/>
            <ac:spMk id="2694" creationId="{73F8A774-7036-4CD6-941B-0FAEF7B4651D}"/>
          </ac:spMkLst>
        </pc:spChg>
        <pc:spChg chg="mod">
          <ac:chgData name="Lars Boe Riber" userId="a0746655-6c86-46e8-9fa0-3fdc9fc77da6" providerId="ADAL" clId="{4E480DD1-6EB6-40E9-AA5D-F0885641F18B}" dt="2022-11-18T10:27:07.858" v="697" actId="790"/>
          <ac:spMkLst>
            <pc:docMk/>
            <pc:sldMk cId="2574806156" sldId="2146849611"/>
            <ac:spMk id="2695" creationId="{ADCCF35A-0E23-49CE-8F22-08A29979CF4C}"/>
          </ac:spMkLst>
        </pc:spChg>
        <pc:spChg chg="mod">
          <ac:chgData name="Lars Boe Riber" userId="a0746655-6c86-46e8-9fa0-3fdc9fc77da6" providerId="ADAL" clId="{4E480DD1-6EB6-40E9-AA5D-F0885641F18B}" dt="2022-11-18T10:27:07.858" v="698" actId="790"/>
          <ac:spMkLst>
            <pc:docMk/>
            <pc:sldMk cId="2574806156" sldId="2146849611"/>
            <ac:spMk id="2696" creationId="{0FEEABAE-6F66-4F62-8126-0C76A2FDAB01}"/>
          </ac:spMkLst>
        </pc:spChg>
        <pc:spChg chg="mod">
          <ac:chgData name="Lars Boe Riber" userId="a0746655-6c86-46e8-9fa0-3fdc9fc77da6" providerId="ADAL" clId="{4E480DD1-6EB6-40E9-AA5D-F0885641F18B}" dt="2022-11-18T10:27:07.859" v="699" actId="790"/>
          <ac:spMkLst>
            <pc:docMk/>
            <pc:sldMk cId="2574806156" sldId="2146849611"/>
            <ac:spMk id="2697" creationId="{4D2B3939-F126-4351-958E-27D12A86CCFF}"/>
          </ac:spMkLst>
        </pc:spChg>
        <pc:spChg chg="mod">
          <ac:chgData name="Lars Boe Riber" userId="a0746655-6c86-46e8-9fa0-3fdc9fc77da6" providerId="ADAL" clId="{4E480DD1-6EB6-40E9-AA5D-F0885641F18B}" dt="2022-11-18T10:27:07.860" v="700" actId="790"/>
          <ac:spMkLst>
            <pc:docMk/>
            <pc:sldMk cId="2574806156" sldId="2146849611"/>
            <ac:spMk id="2698" creationId="{CD1B1D37-E06D-44D2-9806-5BAE6C42908C}"/>
          </ac:spMkLst>
        </pc:spChg>
        <pc:spChg chg="mod">
          <ac:chgData name="Lars Boe Riber" userId="a0746655-6c86-46e8-9fa0-3fdc9fc77da6" providerId="ADAL" clId="{4E480DD1-6EB6-40E9-AA5D-F0885641F18B}" dt="2022-11-18T10:27:07.860" v="701" actId="790"/>
          <ac:spMkLst>
            <pc:docMk/>
            <pc:sldMk cId="2574806156" sldId="2146849611"/>
            <ac:spMk id="2699" creationId="{7A82D7C1-6511-4B96-9F8A-48719D6ED084}"/>
          </ac:spMkLst>
        </pc:spChg>
        <pc:spChg chg="mod">
          <ac:chgData name="Lars Boe Riber" userId="a0746655-6c86-46e8-9fa0-3fdc9fc77da6" providerId="ADAL" clId="{4E480DD1-6EB6-40E9-AA5D-F0885641F18B}" dt="2022-11-18T10:27:07.861" v="702" actId="790"/>
          <ac:spMkLst>
            <pc:docMk/>
            <pc:sldMk cId="2574806156" sldId="2146849611"/>
            <ac:spMk id="2700" creationId="{A39A4BE1-7B3F-4A65-9AC7-95423881FB32}"/>
          </ac:spMkLst>
        </pc:spChg>
        <pc:spChg chg="mod">
          <ac:chgData name="Lars Boe Riber" userId="a0746655-6c86-46e8-9fa0-3fdc9fc77da6" providerId="ADAL" clId="{4E480DD1-6EB6-40E9-AA5D-F0885641F18B}" dt="2022-11-18T10:27:07.862" v="703" actId="790"/>
          <ac:spMkLst>
            <pc:docMk/>
            <pc:sldMk cId="2574806156" sldId="2146849611"/>
            <ac:spMk id="2701" creationId="{FA4B5AA7-D8BF-4EC5-9BC4-4BF3E562D06C}"/>
          </ac:spMkLst>
        </pc:spChg>
        <pc:spChg chg="mod">
          <ac:chgData name="Lars Boe Riber" userId="a0746655-6c86-46e8-9fa0-3fdc9fc77da6" providerId="ADAL" clId="{4E480DD1-6EB6-40E9-AA5D-F0885641F18B}" dt="2022-11-18T10:27:07.863" v="704" actId="790"/>
          <ac:spMkLst>
            <pc:docMk/>
            <pc:sldMk cId="2574806156" sldId="2146849611"/>
            <ac:spMk id="2702" creationId="{3CFDFC61-148D-45E8-8FD4-D8BCB9197191}"/>
          </ac:spMkLst>
        </pc:spChg>
        <pc:spChg chg="mod">
          <ac:chgData name="Lars Boe Riber" userId="a0746655-6c86-46e8-9fa0-3fdc9fc77da6" providerId="ADAL" clId="{4E480DD1-6EB6-40E9-AA5D-F0885641F18B}" dt="2022-11-18T10:27:07.863" v="705" actId="790"/>
          <ac:spMkLst>
            <pc:docMk/>
            <pc:sldMk cId="2574806156" sldId="2146849611"/>
            <ac:spMk id="2703" creationId="{0BA2AF05-A601-4128-9C13-5D02C1B4D47E}"/>
          </ac:spMkLst>
        </pc:spChg>
        <pc:spChg chg="mod">
          <ac:chgData name="Lars Boe Riber" userId="a0746655-6c86-46e8-9fa0-3fdc9fc77da6" providerId="ADAL" clId="{4E480DD1-6EB6-40E9-AA5D-F0885641F18B}" dt="2022-11-18T10:27:07.864" v="706" actId="790"/>
          <ac:spMkLst>
            <pc:docMk/>
            <pc:sldMk cId="2574806156" sldId="2146849611"/>
            <ac:spMk id="2704" creationId="{76AFD053-A16B-4053-B7DA-8BDE08A3F619}"/>
          </ac:spMkLst>
        </pc:spChg>
        <pc:spChg chg="mod">
          <ac:chgData name="Lars Boe Riber" userId="a0746655-6c86-46e8-9fa0-3fdc9fc77da6" providerId="ADAL" clId="{4E480DD1-6EB6-40E9-AA5D-F0885641F18B}" dt="2022-11-18T10:27:07.865" v="707" actId="790"/>
          <ac:spMkLst>
            <pc:docMk/>
            <pc:sldMk cId="2574806156" sldId="2146849611"/>
            <ac:spMk id="2705" creationId="{13118570-D9FE-415B-A24E-774F1639825E}"/>
          </ac:spMkLst>
        </pc:spChg>
        <pc:spChg chg="mod">
          <ac:chgData name="Lars Boe Riber" userId="a0746655-6c86-46e8-9fa0-3fdc9fc77da6" providerId="ADAL" clId="{4E480DD1-6EB6-40E9-AA5D-F0885641F18B}" dt="2022-11-18T10:27:07.865" v="708" actId="790"/>
          <ac:spMkLst>
            <pc:docMk/>
            <pc:sldMk cId="2574806156" sldId="2146849611"/>
            <ac:spMk id="2706" creationId="{83F7C40B-8B66-4C71-8321-B483A40519D6}"/>
          </ac:spMkLst>
        </pc:spChg>
        <pc:spChg chg="mod">
          <ac:chgData name="Lars Boe Riber" userId="a0746655-6c86-46e8-9fa0-3fdc9fc77da6" providerId="ADAL" clId="{4E480DD1-6EB6-40E9-AA5D-F0885641F18B}" dt="2022-11-18T10:27:07.866" v="709" actId="790"/>
          <ac:spMkLst>
            <pc:docMk/>
            <pc:sldMk cId="2574806156" sldId="2146849611"/>
            <ac:spMk id="2707" creationId="{BE2153C6-7E16-4CAA-BB60-98672033FB04}"/>
          </ac:spMkLst>
        </pc:spChg>
        <pc:spChg chg="mod">
          <ac:chgData name="Lars Boe Riber" userId="a0746655-6c86-46e8-9fa0-3fdc9fc77da6" providerId="ADAL" clId="{4E480DD1-6EB6-40E9-AA5D-F0885641F18B}" dt="2022-11-18T10:27:07.867" v="710" actId="790"/>
          <ac:spMkLst>
            <pc:docMk/>
            <pc:sldMk cId="2574806156" sldId="2146849611"/>
            <ac:spMk id="2708" creationId="{6822D474-C7F0-499A-A1AB-7B7D72446AC3}"/>
          </ac:spMkLst>
        </pc:spChg>
        <pc:spChg chg="mod">
          <ac:chgData name="Lars Boe Riber" userId="a0746655-6c86-46e8-9fa0-3fdc9fc77da6" providerId="ADAL" clId="{4E480DD1-6EB6-40E9-AA5D-F0885641F18B}" dt="2022-11-18T10:27:07.868" v="711" actId="790"/>
          <ac:spMkLst>
            <pc:docMk/>
            <pc:sldMk cId="2574806156" sldId="2146849611"/>
            <ac:spMk id="2709" creationId="{202C1165-FB32-49D9-83C5-D417BD4CC89C}"/>
          </ac:spMkLst>
        </pc:spChg>
        <pc:spChg chg="mod">
          <ac:chgData name="Lars Boe Riber" userId="a0746655-6c86-46e8-9fa0-3fdc9fc77da6" providerId="ADAL" clId="{4E480DD1-6EB6-40E9-AA5D-F0885641F18B}" dt="2022-11-18T10:27:07.868" v="712" actId="790"/>
          <ac:spMkLst>
            <pc:docMk/>
            <pc:sldMk cId="2574806156" sldId="2146849611"/>
            <ac:spMk id="2710" creationId="{CB5E7E33-00FB-448A-A18B-F1008558A46E}"/>
          </ac:spMkLst>
        </pc:spChg>
        <pc:spChg chg="mod">
          <ac:chgData name="Lars Boe Riber" userId="a0746655-6c86-46e8-9fa0-3fdc9fc77da6" providerId="ADAL" clId="{4E480DD1-6EB6-40E9-AA5D-F0885641F18B}" dt="2022-11-18T10:27:07.869" v="713" actId="790"/>
          <ac:spMkLst>
            <pc:docMk/>
            <pc:sldMk cId="2574806156" sldId="2146849611"/>
            <ac:spMk id="2711" creationId="{2DC6E47C-88CA-4F09-B2BA-4B9FC452F11D}"/>
          </ac:spMkLst>
        </pc:spChg>
        <pc:spChg chg="mod">
          <ac:chgData name="Lars Boe Riber" userId="a0746655-6c86-46e8-9fa0-3fdc9fc77da6" providerId="ADAL" clId="{4E480DD1-6EB6-40E9-AA5D-F0885641F18B}" dt="2022-11-18T10:27:07.870" v="714" actId="790"/>
          <ac:spMkLst>
            <pc:docMk/>
            <pc:sldMk cId="2574806156" sldId="2146849611"/>
            <ac:spMk id="2712" creationId="{704D09A3-A08C-499C-A213-4FA36B7E7863}"/>
          </ac:spMkLst>
        </pc:spChg>
        <pc:spChg chg="mod">
          <ac:chgData name="Lars Boe Riber" userId="a0746655-6c86-46e8-9fa0-3fdc9fc77da6" providerId="ADAL" clId="{4E480DD1-6EB6-40E9-AA5D-F0885641F18B}" dt="2022-11-18T10:27:07.870" v="715" actId="790"/>
          <ac:spMkLst>
            <pc:docMk/>
            <pc:sldMk cId="2574806156" sldId="2146849611"/>
            <ac:spMk id="2713" creationId="{824C9159-8DA3-43F9-A4C8-323ACC57CBE1}"/>
          </ac:spMkLst>
        </pc:spChg>
        <pc:spChg chg="mod">
          <ac:chgData name="Lars Boe Riber" userId="a0746655-6c86-46e8-9fa0-3fdc9fc77da6" providerId="ADAL" clId="{4E480DD1-6EB6-40E9-AA5D-F0885641F18B}" dt="2022-11-18T10:27:07.871" v="716" actId="790"/>
          <ac:spMkLst>
            <pc:docMk/>
            <pc:sldMk cId="2574806156" sldId="2146849611"/>
            <ac:spMk id="2714" creationId="{FA0D9530-9198-47B6-84CC-6C4679BF330A}"/>
          </ac:spMkLst>
        </pc:spChg>
        <pc:spChg chg="mod">
          <ac:chgData name="Lars Boe Riber" userId="a0746655-6c86-46e8-9fa0-3fdc9fc77da6" providerId="ADAL" clId="{4E480DD1-6EB6-40E9-AA5D-F0885641F18B}" dt="2022-11-18T10:27:07.872" v="717" actId="790"/>
          <ac:spMkLst>
            <pc:docMk/>
            <pc:sldMk cId="2574806156" sldId="2146849611"/>
            <ac:spMk id="2715" creationId="{05EE840C-97BE-464F-AC4B-A96AC837B333}"/>
          </ac:spMkLst>
        </pc:spChg>
        <pc:spChg chg="mod">
          <ac:chgData name="Lars Boe Riber" userId="a0746655-6c86-46e8-9fa0-3fdc9fc77da6" providerId="ADAL" clId="{4E480DD1-6EB6-40E9-AA5D-F0885641F18B}" dt="2022-11-18T10:27:07.872" v="718" actId="790"/>
          <ac:spMkLst>
            <pc:docMk/>
            <pc:sldMk cId="2574806156" sldId="2146849611"/>
            <ac:spMk id="2716" creationId="{3A9DF745-2CAE-4AD8-9FF2-9EECDC67ADB3}"/>
          </ac:spMkLst>
        </pc:spChg>
        <pc:spChg chg="mod">
          <ac:chgData name="Lars Boe Riber" userId="a0746655-6c86-46e8-9fa0-3fdc9fc77da6" providerId="ADAL" clId="{4E480DD1-6EB6-40E9-AA5D-F0885641F18B}" dt="2022-11-18T10:27:07.873" v="719" actId="790"/>
          <ac:spMkLst>
            <pc:docMk/>
            <pc:sldMk cId="2574806156" sldId="2146849611"/>
            <ac:spMk id="2717" creationId="{3F7A77A0-35D5-4992-8B64-DB3C3C5CE04C}"/>
          </ac:spMkLst>
        </pc:spChg>
        <pc:spChg chg="mod">
          <ac:chgData name="Lars Boe Riber" userId="a0746655-6c86-46e8-9fa0-3fdc9fc77da6" providerId="ADAL" clId="{4E480DD1-6EB6-40E9-AA5D-F0885641F18B}" dt="2022-11-18T10:27:07.874" v="720" actId="790"/>
          <ac:spMkLst>
            <pc:docMk/>
            <pc:sldMk cId="2574806156" sldId="2146849611"/>
            <ac:spMk id="2718" creationId="{2F05B0E2-A395-4120-8472-F2ADEE12B06E}"/>
          </ac:spMkLst>
        </pc:spChg>
        <pc:spChg chg="mod">
          <ac:chgData name="Lars Boe Riber" userId="a0746655-6c86-46e8-9fa0-3fdc9fc77da6" providerId="ADAL" clId="{4E480DD1-6EB6-40E9-AA5D-F0885641F18B}" dt="2022-11-18T10:27:07.874" v="721" actId="790"/>
          <ac:spMkLst>
            <pc:docMk/>
            <pc:sldMk cId="2574806156" sldId="2146849611"/>
            <ac:spMk id="2719" creationId="{883E712B-335D-4452-8518-C8FB485F8363}"/>
          </ac:spMkLst>
        </pc:spChg>
        <pc:spChg chg="mod">
          <ac:chgData name="Lars Boe Riber" userId="a0746655-6c86-46e8-9fa0-3fdc9fc77da6" providerId="ADAL" clId="{4E480DD1-6EB6-40E9-AA5D-F0885641F18B}" dt="2022-11-18T10:27:07.875" v="722" actId="790"/>
          <ac:spMkLst>
            <pc:docMk/>
            <pc:sldMk cId="2574806156" sldId="2146849611"/>
            <ac:spMk id="2720" creationId="{D265ABC7-AF31-42F8-9159-1B2892CD481B}"/>
          </ac:spMkLst>
        </pc:spChg>
        <pc:spChg chg="mod">
          <ac:chgData name="Lars Boe Riber" userId="a0746655-6c86-46e8-9fa0-3fdc9fc77da6" providerId="ADAL" clId="{4E480DD1-6EB6-40E9-AA5D-F0885641F18B}" dt="2022-11-18T10:27:07.876" v="723" actId="790"/>
          <ac:spMkLst>
            <pc:docMk/>
            <pc:sldMk cId="2574806156" sldId="2146849611"/>
            <ac:spMk id="2721" creationId="{64572E67-9373-415D-AA27-2024A5D53AE6}"/>
          </ac:spMkLst>
        </pc:spChg>
        <pc:spChg chg="mod">
          <ac:chgData name="Lars Boe Riber" userId="a0746655-6c86-46e8-9fa0-3fdc9fc77da6" providerId="ADAL" clId="{4E480DD1-6EB6-40E9-AA5D-F0885641F18B}" dt="2022-11-18T10:27:07.877" v="724" actId="790"/>
          <ac:spMkLst>
            <pc:docMk/>
            <pc:sldMk cId="2574806156" sldId="2146849611"/>
            <ac:spMk id="2722" creationId="{25B40A82-3D7C-4248-833E-F34000F650A2}"/>
          </ac:spMkLst>
        </pc:spChg>
        <pc:spChg chg="mod">
          <ac:chgData name="Lars Boe Riber" userId="a0746655-6c86-46e8-9fa0-3fdc9fc77da6" providerId="ADAL" clId="{4E480DD1-6EB6-40E9-AA5D-F0885641F18B}" dt="2022-11-18T10:27:07.877" v="725" actId="790"/>
          <ac:spMkLst>
            <pc:docMk/>
            <pc:sldMk cId="2574806156" sldId="2146849611"/>
            <ac:spMk id="2723" creationId="{ABAA5CCD-6E58-44E3-91C6-6A2BC6CCAE6A}"/>
          </ac:spMkLst>
        </pc:spChg>
        <pc:spChg chg="mod">
          <ac:chgData name="Lars Boe Riber" userId="a0746655-6c86-46e8-9fa0-3fdc9fc77da6" providerId="ADAL" clId="{4E480DD1-6EB6-40E9-AA5D-F0885641F18B}" dt="2022-11-18T10:27:07.878" v="726" actId="790"/>
          <ac:spMkLst>
            <pc:docMk/>
            <pc:sldMk cId="2574806156" sldId="2146849611"/>
            <ac:spMk id="2724" creationId="{C15C663F-F14E-402E-9377-7CD30193493E}"/>
          </ac:spMkLst>
        </pc:spChg>
        <pc:spChg chg="mod">
          <ac:chgData name="Lars Boe Riber" userId="a0746655-6c86-46e8-9fa0-3fdc9fc77da6" providerId="ADAL" clId="{4E480DD1-6EB6-40E9-AA5D-F0885641F18B}" dt="2022-11-18T10:27:07.879" v="727" actId="790"/>
          <ac:spMkLst>
            <pc:docMk/>
            <pc:sldMk cId="2574806156" sldId="2146849611"/>
            <ac:spMk id="2725" creationId="{4CB9BA5E-9269-41C0-BC63-DC66FC697CFB}"/>
          </ac:spMkLst>
        </pc:spChg>
        <pc:spChg chg="mod">
          <ac:chgData name="Lars Boe Riber" userId="a0746655-6c86-46e8-9fa0-3fdc9fc77da6" providerId="ADAL" clId="{4E480DD1-6EB6-40E9-AA5D-F0885641F18B}" dt="2022-11-18T10:27:07.879" v="728" actId="790"/>
          <ac:spMkLst>
            <pc:docMk/>
            <pc:sldMk cId="2574806156" sldId="2146849611"/>
            <ac:spMk id="2726" creationId="{734C2AEC-FF49-47CF-8513-65C768371281}"/>
          </ac:spMkLst>
        </pc:spChg>
        <pc:spChg chg="mod">
          <ac:chgData name="Lars Boe Riber" userId="a0746655-6c86-46e8-9fa0-3fdc9fc77da6" providerId="ADAL" clId="{4E480DD1-6EB6-40E9-AA5D-F0885641F18B}" dt="2022-11-18T10:27:07.880" v="729" actId="790"/>
          <ac:spMkLst>
            <pc:docMk/>
            <pc:sldMk cId="2574806156" sldId="2146849611"/>
            <ac:spMk id="2727" creationId="{65C5AC83-2D92-46C4-8CFF-5A0AA272448A}"/>
          </ac:spMkLst>
        </pc:spChg>
        <pc:spChg chg="mod">
          <ac:chgData name="Lars Boe Riber" userId="a0746655-6c86-46e8-9fa0-3fdc9fc77da6" providerId="ADAL" clId="{4E480DD1-6EB6-40E9-AA5D-F0885641F18B}" dt="2022-11-18T10:27:07.880" v="730" actId="790"/>
          <ac:spMkLst>
            <pc:docMk/>
            <pc:sldMk cId="2574806156" sldId="2146849611"/>
            <ac:spMk id="2728" creationId="{BF25556C-BF76-410B-A9CE-F90A24400F91}"/>
          </ac:spMkLst>
        </pc:spChg>
        <pc:spChg chg="mod">
          <ac:chgData name="Lars Boe Riber" userId="a0746655-6c86-46e8-9fa0-3fdc9fc77da6" providerId="ADAL" clId="{4E480DD1-6EB6-40E9-AA5D-F0885641F18B}" dt="2022-11-18T10:27:07.882" v="731" actId="790"/>
          <ac:spMkLst>
            <pc:docMk/>
            <pc:sldMk cId="2574806156" sldId="2146849611"/>
            <ac:spMk id="2729" creationId="{CF868D2F-AAEC-411C-93BB-DE479295681E}"/>
          </ac:spMkLst>
        </pc:spChg>
        <pc:spChg chg="mod">
          <ac:chgData name="Lars Boe Riber" userId="a0746655-6c86-46e8-9fa0-3fdc9fc77da6" providerId="ADAL" clId="{4E480DD1-6EB6-40E9-AA5D-F0885641F18B}" dt="2022-11-18T10:27:07.882" v="732" actId="790"/>
          <ac:spMkLst>
            <pc:docMk/>
            <pc:sldMk cId="2574806156" sldId="2146849611"/>
            <ac:spMk id="2731" creationId="{3CE87343-F9FB-4EDC-B74F-715C20B62824}"/>
          </ac:spMkLst>
        </pc:spChg>
        <pc:spChg chg="mod">
          <ac:chgData name="Lars Boe Riber" userId="a0746655-6c86-46e8-9fa0-3fdc9fc77da6" providerId="ADAL" clId="{4E480DD1-6EB6-40E9-AA5D-F0885641F18B}" dt="2022-11-18T10:27:07.883" v="733" actId="790"/>
          <ac:spMkLst>
            <pc:docMk/>
            <pc:sldMk cId="2574806156" sldId="2146849611"/>
            <ac:spMk id="2732" creationId="{05C300D9-FA76-40D0-8456-3FF7D2C1BF89}"/>
          </ac:spMkLst>
        </pc:spChg>
        <pc:spChg chg="mod">
          <ac:chgData name="Lars Boe Riber" userId="a0746655-6c86-46e8-9fa0-3fdc9fc77da6" providerId="ADAL" clId="{4E480DD1-6EB6-40E9-AA5D-F0885641F18B}" dt="2022-11-18T10:27:07.884" v="734" actId="790"/>
          <ac:spMkLst>
            <pc:docMk/>
            <pc:sldMk cId="2574806156" sldId="2146849611"/>
            <ac:spMk id="2733" creationId="{370743A2-A6D4-4D14-A9EF-7A4F704DA155}"/>
          </ac:spMkLst>
        </pc:spChg>
        <pc:spChg chg="mod">
          <ac:chgData name="Lars Boe Riber" userId="a0746655-6c86-46e8-9fa0-3fdc9fc77da6" providerId="ADAL" clId="{4E480DD1-6EB6-40E9-AA5D-F0885641F18B}" dt="2022-11-18T10:27:07.885" v="735" actId="790"/>
          <ac:spMkLst>
            <pc:docMk/>
            <pc:sldMk cId="2574806156" sldId="2146849611"/>
            <ac:spMk id="2734" creationId="{491CEBB1-9674-41BF-B240-521AA4DDC7A7}"/>
          </ac:spMkLst>
        </pc:spChg>
        <pc:spChg chg="mod">
          <ac:chgData name="Lars Boe Riber" userId="a0746655-6c86-46e8-9fa0-3fdc9fc77da6" providerId="ADAL" clId="{4E480DD1-6EB6-40E9-AA5D-F0885641F18B}" dt="2022-11-18T10:27:07.885" v="736" actId="790"/>
          <ac:spMkLst>
            <pc:docMk/>
            <pc:sldMk cId="2574806156" sldId="2146849611"/>
            <ac:spMk id="2735" creationId="{396FA2CA-4536-44CB-B0B4-99D8D80B9DF4}"/>
          </ac:spMkLst>
        </pc:spChg>
        <pc:spChg chg="mod">
          <ac:chgData name="Lars Boe Riber" userId="a0746655-6c86-46e8-9fa0-3fdc9fc77da6" providerId="ADAL" clId="{4E480DD1-6EB6-40E9-AA5D-F0885641F18B}" dt="2022-11-18T10:27:07.886" v="737" actId="790"/>
          <ac:spMkLst>
            <pc:docMk/>
            <pc:sldMk cId="2574806156" sldId="2146849611"/>
            <ac:spMk id="2736" creationId="{8791E072-E383-4BCA-ACE2-203026660A85}"/>
          </ac:spMkLst>
        </pc:spChg>
        <pc:spChg chg="mod">
          <ac:chgData name="Lars Boe Riber" userId="a0746655-6c86-46e8-9fa0-3fdc9fc77da6" providerId="ADAL" clId="{4E480DD1-6EB6-40E9-AA5D-F0885641F18B}" dt="2022-11-18T10:27:07.887" v="738" actId="790"/>
          <ac:spMkLst>
            <pc:docMk/>
            <pc:sldMk cId="2574806156" sldId="2146849611"/>
            <ac:spMk id="2737" creationId="{4734E6A8-2404-4B79-8AEC-F3FF5CEC3E66}"/>
          </ac:spMkLst>
        </pc:spChg>
        <pc:spChg chg="mod">
          <ac:chgData name="Lars Boe Riber" userId="a0746655-6c86-46e8-9fa0-3fdc9fc77da6" providerId="ADAL" clId="{4E480DD1-6EB6-40E9-AA5D-F0885641F18B}" dt="2022-11-18T10:27:07.887" v="739" actId="790"/>
          <ac:spMkLst>
            <pc:docMk/>
            <pc:sldMk cId="2574806156" sldId="2146849611"/>
            <ac:spMk id="2738" creationId="{36861ECB-EB30-4636-BFA7-3949DCDB2FE9}"/>
          </ac:spMkLst>
        </pc:spChg>
        <pc:spChg chg="mod">
          <ac:chgData name="Lars Boe Riber" userId="a0746655-6c86-46e8-9fa0-3fdc9fc77da6" providerId="ADAL" clId="{4E480DD1-6EB6-40E9-AA5D-F0885641F18B}" dt="2022-11-18T10:27:07.888" v="740" actId="790"/>
          <ac:spMkLst>
            <pc:docMk/>
            <pc:sldMk cId="2574806156" sldId="2146849611"/>
            <ac:spMk id="2739" creationId="{CF06AEF5-AB79-40F2-9B1B-6B548277EC77}"/>
          </ac:spMkLst>
        </pc:spChg>
        <pc:spChg chg="mod">
          <ac:chgData name="Lars Boe Riber" userId="a0746655-6c86-46e8-9fa0-3fdc9fc77da6" providerId="ADAL" clId="{4E480DD1-6EB6-40E9-AA5D-F0885641F18B}" dt="2022-11-18T10:27:07.888" v="741" actId="790"/>
          <ac:spMkLst>
            <pc:docMk/>
            <pc:sldMk cId="2574806156" sldId="2146849611"/>
            <ac:spMk id="2740" creationId="{3D1F3A79-3066-4A8D-9004-1F7BB0E27F27}"/>
          </ac:spMkLst>
        </pc:spChg>
        <pc:spChg chg="mod">
          <ac:chgData name="Lars Boe Riber" userId="a0746655-6c86-46e8-9fa0-3fdc9fc77da6" providerId="ADAL" clId="{4E480DD1-6EB6-40E9-AA5D-F0885641F18B}" dt="2022-11-18T10:27:07.889" v="742" actId="790"/>
          <ac:spMkLst>
            <pc:docMk/>
            <pc:sldMk cId="2574806156" sldId="2146849611"/>
            <ac:spMk id="2741" creationId="{4BDF77CC-34C3-4ADD-A5E8-6D4F1CC3443E}"/>
          </ac:spMkLst>
        </pc:spChg>
        <pc:spChg chg="mod">
          <ac:chgData name="Lars Boe Riber" userId="a0746655-6c86-46e8-9fa0-3fdc9fc77da6" providerId="ADAL" clId="{4E480DD1-6EB6-40E9-AA5D-F0885641F18B}" dt="2022-11-18T10:27:07.890" v="743" actId="790"/>
          <ac:spMkLst>
            <pc:docMk/>
            <pc:sldMk cId="2574806156" sldId="2146849611"/>
            <ac:spMk id="2742" creationId="{0D645F52-8057-4281-B339-B0A947BC9996}"/>
          </ac:spMkLst>
        </pc:spChg>
        <pc:spChg chg="mod">
          <ac:chgData name="Lars Boe Riber" userId="a0746655-6c86-46e8-9fa0-3fdc9fc77da6" providerId="ADAL" clId="{4E480DD1-6EB6-40E9-AA5D-F0885641F18B}" dt="2022-11-18T10:27:07.890" v="744" actId="790"/>
          <ac:spMkLst>
            <pc:docMk/>
            <pc:sldMk cId="2574806156" sldId="2146849611"/>
            <ac:spMk id="2743" creationId="{5B5D6D3E-B006-4CA5-A0E8-2BCA33686B3A}"/>
          </ac:spMkLst>
        </pc:spChg>
        <pc:spChg chg="mod">
          <ac:chgData name="Lars Boe Riber" userId="a0746655-6c86-46e8-9fa0-3fdc9fc77da6" providerId="ADAL" clId="{4E480DD1-6EB6-40E9-AA5D-F0885641F18B}" dt="2022-11-18T10:27:07.891" v="745" actId="790"/>
          <ac:spMkLst>
            <pc:docMk/>
            <pc:sldMk cId="2574806156" sldId="2146849611"/>
            <ac:spMk id="2744" creationId="{D98433B5-75C3-4A62-9FA6-B7878381C4E4}"/>
          </ac:spMkLst>
        </pc:spChg>
        <pc:spChg chg="mod">
          <ac:chgData name="Lars Boe Riber" userId="a0746655-6c86-46e8-9fa0-3fdc9fc77da6" providerId="ADAL" clId="{4E480DD1-6EB6-40E9-AA5D-F0885641F18B}" dt="2022-11-18T10:27:07.891" v="746" actId="790"/>
          <ac:spMkLst>
            <pc:docMk/>
            <pc:sldMk cId="2574806156" sldId="2146849611"/>
            <ac:spMk id="2745" creationId="{3531DB8E-73DD-49DA-BE60-72DFF39ED6E7}"/>
          </ac:spMkLst>
        </pc:spChg>
        <pc:spChg chg="mod">
          <ac:chgData name="Lars Boe Riber" userId="a0746655-6c86-46e8-9fa0-3fdc9fc77da6" providerId="ADAL" clId="{4E480DD1-6EB6-40E9-AA5D-F0885641F18B}" dt="2022-11-18T10:27:07.891" v="747" actId="790"/>
          <ac:spMkLst>
            <pc:docMk/>
            <pc:sldMk cId="2574806156" sldId="2146849611"/>
            <ac:spMk id="2746" creationId="{AC86E650-242D-43E1-851F-4F1FF7350047}"/>
          </ac:spMkLst>
        </pc:spChg>
        <pc:spChg chg="mod">
          <ac:chgData name="Lars Boe Riber" userId="a0746655-6c86-46e8-9fa0-3fdc9fc77da6" providerId="ADAL" clId="{4E480DD1-6EB6-40E9-AA5D-F0885641F18B}" dt="2022-11-18T10:27:07.892" v="748" actId="790"/>
          <ac:spMkLst>
            <pc:docMk/>
            <pc:sldMk cId="2574806156" sldId="2146849611"/>
            <ac:spMk id="2747" creationId="{7DE88BD7-53EC-4FDE-BACC-76DD97E2A9A8}"/>
          </ac:spMkLst>
        </pc:spChg>
        <pc:spChg chg="mod">
          <ac:chgData name="Lars Boe Riber" userId="a0746655-6c86-46e8-9fa0-3fdc9fc77da6" providerId="ADAL" clId="{4E480DD1-6EB6-40E9-AA5D-F0885641F18B}" dt="2022-11-18T10:27:07.893" v="749" actId="790"/>
          <ac:spMkLst>
            <pc:docMk/>
            <pc:sldMk cId="2574806156" sldId="2146849611"/>
            <ac:spMk id="2748" creationId="{FE3CAE8B-9744-4851-8CA0-D14E0B0AAD9E}"/>
          </ac:spMkLst>
        </pc:spChg>
        <pc:spChg chg="mod">
          <ac:chgData name="Lars Boe Riber" userId="a0746655-6c86-46e8-9fa0-3fdc9fc77da6" providerId="ADAL" clId="{4E480DD1-6EB6-40E9-AA5D-F0885641F18B}" dt="2022-11-18T10:27:07.894" v="750" actId="790"/>
          <ac:spMkLst>
            <pc:docMk/>
            <pc:sldMk cId="2574806156" sldId="2146849611"/>
            <ac:spMk id="2749" creationId="{C5298628-A245-4DBD-8A08-FA4B3F695CA4}"/>
          </ac:spMkLst>
        </pc:spChg>
        <pc:spChg chg="mod">
          <ac:chgData name="Lars Boe Riber" userId="a0746655-6c86-46e8-9fa0-3fdc9fc77da6" providerId="ADAL" clId="{4E480DD1-6EB6-40E9-AA5D-F0885641F18B}" dt="2022-11-18T10:27:07.894" v="751" actId="790"/>
          <ac:spMkLst>
            <pc:docMk/>
            <pc:sldMk cId="2574806156" sldId="2146849611"/>
            <ac:spMk id="2750" creationId="{16B7BAA1-DB00-498F-80C7-4A1A5C7E993D}"/>
          </ac:spMkLst>
        </pc:spChg>
        <pc:spChg chg="mod">
          <ac:chgData name="Lars Boe Riber" userId="a0746655-6c86-46e8-9fa0-3fdc9fc77da6" providerId="ADAL" clId="{4E480DD1-6EB6-40E9-AA5D-F0885641F18B}" dt="2022-11-18T10:27:07.895" v="752" actId="790"/>
          <ac:spMkLst>
            <pc:docMk/>
            <pc:sldMk cId="2574806156" sldId="2146849611"/>
            <ac:spMk id="2751" creationId="{F57D4F71-D78F-42A7-9985-A43B57D10593}"/>
          </ac:spMkLst>
        </pc:spChg>
        <pc:spChg chg="mod">
          <ac:chgData name="Lars Boe Riber" userId="a0746655-6c86-46e8-9fa0-3fdc9fc77da6" providerId="ADAL" clId="{4E480DD1-6EB6-40E9-AA5D-F0885641F18B}" dt="2022-11-18T10:27:07.895" v="753" actId="790"/>
          <ac:spMkLst>
            <pc:docMk/>
            <pc:sldMk cId="2574806156" sldId="2146849611"/>
            <ac:spMk id="2752" creationId="{A779230F-04CB-4C96-A852-5C1D766AC670}"/>
          </ac:spMkLst>
        </pc:spChg>
        <pc:spChg chg="mod">
          <ac:chgData name="Lars Boe Riber" userId="a0746655-6c86-46e8-9fa0-3fdc9fc77da6" providerId="ADAL" clId="{4E480DD1-6EB6-40E9-AA5D-F0885641F18B}" dt="2022-11-18T10:27:07.896" v="754" actId="790"/>
          <ac:spMkLst>
            <pc:docMk/>
            <pc:sldMk cId="2574806156" sldId="2146849611"/>
            <ac:spMk id="2753" creationId="{CDC3AC5F-4986-46E1-80F6-76F4220C1B31}"/>
          </ac:spMkLst>
        </pc:spChg>
        <pc:spChg chg="mod">
          <ac:chgData name="Lars Boe Riber" userId="a0746655-6c86-46e8-9fa0-3fdc9fc77da6" providerId="ADAL" clId="{4E480DD1-6EB6-40E9-AA5D-F0885641F18B}" dt="2022-11-18T10:27:07.897" v="755" actId="790"/>
          <ac:spMkLst>
            <pc:docMk/>
            <pc:sldMk cId="2574806156" sldId="2146849611"/>
            <ac:spMk id="2754" creationId="{A8C3DF03-28C2-47DA-88EB-6CEB77DFB5FD}"/>
          </ac:spMkLst>
        </pc:spChg>
        <pc:spChg chg="mod">
          <ac:chgData name="Lars Boe Riber" userId="a0746655-6c86-46e8-9fa0-3fdc9fc77da6" providerId="ADAL" clId="{4E480DD1-6EB6-40E9-AA5D-F0885641F18B}" dt="2022-11-18T10:27:07.897" v="756" actId="790"/>
          <ac:spMkLst>
            <pc:docMk/>
            <pc:sldMk cId="2574806156" sldId="2146849611"/>
            <ac:spMk id="2755" creationId="{80601356-5B95-456A-AC3B-594A31885A68}"/>
          </ac:spMkLst>
        </pc:spChg>
        <pc:spChg chg="mod">
          <ac:chgData name="Lars Boe Riber" userId="a0746655-6c86-46e8-9fa0-3fdc9fc77da6" providerId="ADAL" clId="{4E480DD1-6EB6-40E9-AA5D-F0885641F18B}" dt="2022-11-18T10:27:07.898" v="757" actId="790"/>
          <ac:spMkLst>
            <pc:docMk/>
            <pc:sldMk cId="2574806156" sldId="2146849611"/>
            <ac:spMk id="2756" creationId="{15BEDD75-386F-4F1D-9137-54AFD6950246}"/>
          </ac:spMkLst>
        </pc:spChg>
        <pc:spChg chg="mod">
          <ac:chgData name="Lars Boe Riber" userId="a0746655-6c86-46e8-9fa0-3fdc9fc77da6" providerId="ADAL" clId="{4E480DD1-6EB6-40E9-AA5D-F0885641F18B}" dt="2022-11-18T10:27:07.899" v="758" actId="790"/>
          <ac:spMkLst>
            <pc:docMk/>
            <pc:sldMk cId="2574806156" sldId="2146849611"/>
            <ac:spMk id="2757" creationId="{CD2351F0-961E-48BD-A28B-DECF6A2EE90E}"/>
          </ac:spMkLst>
        </pc:spChg>
        <pc:spChg chg="mod">
          <ac:chgData name="Lars Boe Riber" userId="a0746655-6c86-46e8-9fa0-3fdc9fc77da6" providerId="ADAL" clId="{4E480DD1-6EB6-40E9-AA5D-F0885641F18B}" dt="2022-11-18T10:27:07.899" v="759" actId="790"/>
          <ac:spMkLst>
            <pc:docMk/>
            <pc:sldMk cId="2574806156" sldId="2146849611"/>
            <ac:spMk id="2758" creationId="{FCECA2BD-A92A-4665-BE54-34E0CDEB29AA}"/>
          </ac:spMkLst>
        </pc:spChg>
        <pc:spChg chg="mod">
          <ac:chgData name="Lars Boe Riber" userId="a0746655-6c86-46e8-9fa0-3fdc9fc77da6" providerId="ADAL" clId="{4E480DD1-6EB6-40E9-AA5D-F0885641F18B}" dt="2022-11-18T10:27:07.900" v="760" actId="790"/>
          <ac:spMkLst>
            <pc:docMk/>
            <pc:sldMk cId="2574806156" sldId="2146849611"/>
            <ac:spMk id="2759" creationId="{32C4C8E4-2324-4C2E-BF32-8624C38ED546}"/>
          </ac:spMkLst>
        </pc:spChg>
        <pc:spChg chg="mod">
          <ac:chgData name="Lars Boe Riber" userId="a0746655-6c86-46e8-9fa0-3fdc9fc77da6" providerId="ADAL" clId="{4E480DD1-6EB6-40E9-AA5D-F0885641F18B}" dt="2022-11-18T10:27:07.901" v="761" actId="790"/>
          <ac:spMkLst>
            <pc:docMk/>
            <pc:sldMk cId="2574806156" sldId="2146849611"/>
            <ac:spMk id="2760" creationId="{CEAD0A34-05DC-456F-81DD-D72237D4D781}"/>
          </ac:spMkLst>
        </pc:spChg>
        <pc:spChg chg="mod">
          <ac:chgData name="Lars Boe Riber" userId="a0746655-6c86-46e8-9fa0-3fdc9fc77da6" providerId="ADAL" clId="{4E480DD1-6EB6-40E9-AA5D-F0885641F18B}" dt="2022-11-18T10:27:07.901" v="762" actId="790"/>
          <ac:spMkLst>
            <pc:docMk/>
            <pc:sldMk cId="2574806156" sldId="2146849611"/>
            <ac:spMk id="2761" creationId="{6416D4BD-A4D7-436F-8C63-EB61D222C92A}"/>
          </ac:spMkLst>
        </pc:spChg>
        <pc:spChg chg="mod">
          <ac:chgData name="Lars Boe Riber" userId="a0746655-6c86-46e8-9fa0-3fdc9fc77da6" providerId="ADAL" clId="{4E480DD1-6EB6-40E9-AA5D-F0885641F18B}" dt="2022-11-18T10:27:07.902" v="763" actId="790"/>
          <ac:spMkLst>
            <pc:docMk/>
            <pc:sldMk cId="2574806156" sldId="2146849611"/>
            <ac:spMk id="2762" creationId="{771298C7-B598-45B8-8706-70D92B13837C}"/>
          </ac:spMkLst>
        </pc:spChg>
        <pc:spChg chg="mod">
          <ac:chgData name="Lars Boe Riber" userId="a0746655-6c86-46e8-9fa0-3fdc9fc77da6" providerId="ADAL" clId="{4E480DD1-6EB6-40E9-AA5D-F0885641F18B}" dt="2022-11-18T10:27:07.903" v="764" actId="790"/>
          <ac:spMkLst>
            <pc:docMk/>
            <pc:sldMk cId="2574806156" sldId="2146849611"/>
            <ac:spMk id="2763" creationId="{5B7520B7-0714-4526-A18E-E874B9A8774C}"/>
          </ac:spMkLst>
        </pc:spChg>
        <pc:spChg chg="mod">
          <ac:chgData name="Lars Boe Riber" userId="a0746655-6c86-46e8-9fa0-3fdc9fc77da6" providerId="ADAL" clId="{4E480DD1-6EB6-40E9-AA5D-F0885641F18B}" dt="2022-11-18T10:27:07.903" v="765" actId="790"/>
          <ac:spMkLst>
            <pc:docMk/>
            <pc:sldMk cId="2574806156" sldId="2146849611"/>
            <ac:spMk id="2764" creationId="{A7D2A6C0-452C-428D-861C-937B03E23170}"/>
          </ac:spMkLst>
        </pc:spChg>
        <pc:spChg chg="mod">
          <ac:chgData name="Lars Boe Riber" userId="a0746655-6c86-46e8-9fa0-3fdc9fc77da6" providerId="ADAL" clId="{4E480DD1-6EB6-40E9-AA5D-F0885641F18B}" dt="2022-11-18T10:27:07.904" v="766" actId="790"/>
          <ac:spMkLst>
            <pc:docMk/>
            <pc:sldMk cId="2574806156" sldId="2146849611"/>
            <ac:spMk id="2765" creationId="{0E77BAEC-5C60-48A5-A1A8-2EAC4BB93A14}"/>
          </ac:spMkLst>
        </pc:spChg>
        <pc:spChg chg="mod">
          <ac:chgData name="Lars Boe Riber" userId="a0746655-6c86-46e8-9fa0-3fdc9fc77da6" providerId="ADAL" clId="{4E480DD1-6EB6-40E9-AA5D-F0885641F18B}" dt="2022-11-18T10:27:07.905" v="767" actId="790"/>
          <ac:spMkLst>
            <pc:docMk/>
            <pc:sldMk cId="2574806156" sldId="2146849611"/>
            <ac:spMk id="2766" creationId="{A64B4E30-6C88-46C3-B25A-69524079928B}"/>
          </ac:spMkLst>
        </pc:spChg>
        <pc:spChg chg="mod">
          <ac:chgData name="Lars Boe Riber" userId="a0746655-6c86-46e8-9fa0-3fdc9fc77da6" providerId="ADAL" clId="{4E480DD1-6EB6-40E9-AA5D-F0885641F18B}" dt="2022-11-18T10:27:07.905" v="768" actId="790"/>
          <ac:spMkLst>
            <pc:docMk/>
            <pc:sldMk cId="2574806156" sldId="2146849611"/>
            <ac:spMk id="2767" creationId="{944D7ACE-93FC-4437-B196-084A1B71E2AA}"/>
          </ac:spMkLst>
        </pc:spChg>
        <pc:spChg chg="mod">
          <ac:chgData name="Lars Boe Riber" userId="a0746655-6c86-46e8-9fa0-3fdc9fc77da6" providerId="ADAL" clId="{4E480DD1-6EB6-40E9-AA5D-F0885641F18B}" dt="2022-11-18T10:27:07.906" v="769" actId="790"/>
          <ac:spMkLst>
            <pc:docMk/>
            <pc:sldMk cId="2574806156" sldId="2146849611"/>
            <ac:spMk id="2768" creationId="{02B8C9B5-9CB1-41C2-92CC-29F33B303067}"/>
          </ac:spMkLst>
        </pc:spChg>
        <pc:spChg chg="mod">
          <ac:chgData name="Lars Boe Riber" userId="a0746655-6c86-46e8-9fa0-3fdc9fc77da6" providerId="ADAL" clId="{4E480DD1-6EB6-40E9-AA5D-F0885641F18B}" dt="2022-11-18T10:27:07.907" v="770" actId="790"/>
          <ac:spMkLst>
            <pc:docMk/>
            <pc:sldMk cId="2574806156" sldId="2146849611"/>
            <ac:spMk id="2769" creationId="{D0EC37C9-4312-4222-B6D6-9A351C55DDA0}"/>
          </ac:spMkLst>
        </pc:spChg>
        <pc:spChg chg="mod">
          <ac:chgData name="Lars Boe Riber" userId="a0746655-6c86-46e8-9fa0-3fdc9fc77da6" providerId="ADAL" clId="{4E480DD1-6EB6-40E9-AA5D-F0885641F18B}" dt="2022-11-18T10:27:07.908" v="771" actId="790"/>
          <ac:spMkLst>
            <pc:docMk/>
            <pc:sldMk cId="2574806156" sldId="2146849611"/>
            <ac:spMk id="2770" creationId="{88F586EA-9F98-45A8-ADAF-10E0E898C9A7}"/>
          </ac:spMkLst>
        </pc:spChg>
        <pc:spChg chg="mod">
          <ac:chgData name="Lars Boe Riber" userId="a0746655-6c86-46e8-9fa0-3fdc9fc77da6" providerId="ADAL" clId="{4E480DD1-6EB6-40E9-AA5D-F0885641F18B}" dt="2022-11-18T10:27:07.908" v="772" actId="790"/>
          <ac:spMkLst>
            <pc:docMk/>
            <pc:sldMk cId="2574806156" sldId="2146849611"/>
            <ac:spMk id="2771" creationId="{72DCAB9E-2776-45F8-96AB-339135834F86}"/>
          </ac:spMkLst>
        </pc:spChg>
        <pc:spChg chg="mod">
          <ac:chgData name="Lars Boe Riber" userId="a0746655-6c86-46e8-9fa0-3fdc9fc77da6" providerId="ADAL" clId="{4E480DD1-6EB6-40E9-AA5D-F0885641F18B}" dt="2022-11-18T10:27:07.909" v="773" actId="790"/>
          <ac:spMkLst>
            <pc:docMk/>
            <pc:sldMk cId="2574806156" sldId="2146849611"/>
            <ac:spMk id="2772" creationId="{AC9552F5-5043-4538-89E4-7C728F760804}"/>
          </ac:spMkLst>
        </pc:spChg>
        <pc:spChg chg="mod">
          <ac:chgData name="Lars Boe Riber" userId="a0746655-6c86-46e8-9fa0-3fdc9fc77da6" providerId="ADAL" clId="{4E480DD1-6EB6-40E9-AA5D-F0885641F18B}" dt="2022-11-18T10:27:07.909" v="774" actId="790"/>
          <ac:spMkLst>
            <pc:docMk/>
            <pc:sldMk cId="2574806156" sldId="2146849611"/>
            <ac:spMk id="2773" creationId="{39D0E238-2D10-4BCA-98E7-4221DF6D4D53}"/>
          </ac:spMkLst>
        </pc:spChg>
        <pc:spChg chg="mod">
          <ac:chgData name="Lars Boe Riber" userId="a0746655-6c86-46e8-9fa0-3fdc9fc77da6" providerId="ADAL" clId="{4E480DD1-6EB6-40E9-AA5D-F0885641F18B}" dt="2022-11-18T10:27:07.910" v="775" actId="790"/>
          <ac:spMkLst>
            <pc:docMk/>
            <pc:sldMk cId="2574806156" sldId="2146849611"/>
            <ac:spMk id="2774" creationId="{EA8EECCA-2CFE-4A87-B393-2CC9D6EA771D}"/>
          </ac:spMkLst>
        </pc:spChg>
        <pc:spChg chg="mod">
          <ac:chgData name="Lars Boe Riber" userId="a0746655-6c86-46e8-9fa0-3fdc9fc77da6" providerId="ADAL" clId="{4E480DD1-6EB6-40E9-AA5D-F0885641F18B}" dt="2022-11-18T10:27:07.911" v="776" actId="790"/>
          <ac:spMkLst>
            <pc:docMk/>
            <pc:sldMk cId="2574806156" sldId="2146849611"/>
            <ac:spMk id="2775" creationId="{A30A8361-C428-4CCC-9608-EAFE96A3C66E}"/>
          </ac:spMkLst>
        </pc:spChg>
        <pc:spChg chg="mod">
          <ac:chgData name="Lars Boe Riber" userId="a0746655-6c86-46e8-9fa0-3fdc9fc77da6" providerId="ADAL" clId="{4E480DD1-6EB6-40E9-AA5D-F0885641F18B}" dt="2022-11-18T10:27:07.912" v="777" actId="790"/>
          <ac:spMkLst>
            <pc:docMk/>
            <pc:sldMk cId="2574806156" sldId="2146849611"/>
            <ac:spMk id="2776" creationId="{6A060FAC-7831-4B5C-B172-58D74FAE872A}"/>
          </ac:spMkLst>
        </pc:spChg>
        <pc:spChg chg="mod">
          <ac:chgData name="Lars Boe Riber" userId="a0746655-6c86-46e8-9fa0-3fdc9fc77da6" providerId="ADAL" clId="{4E480DD1-6EB6-40E9-AA5D-F0885641F18B}" dt="2022-11-18T10:27:07.912" v="778" actId="790"/>
          <ac:spMkLst>
            <pc:docMk/>
            <pc:sldMk cId="2574806156" sldId="2146849611"/>
            <ac:spMk id="2777" creationId="{F10FBADE-6C2B-4EA3-8A6A-95AF7048E7CC}"/>
          </ac:spMkLst>
        </pc:spChg>
        <pc:spChg chg="mod">
          <ac:chgData name="Lars Boe Riber" userId="a0746655-6c86-46e8-9fa0-3fdc9fc77da6" providerId="ADAL" clId="{4E480DD1-6EB6-40E9-AA5D-F0885641F18B}" dt="2022-11-18T10:27:07.913" v="779" actId="790"/>
          <ac:spMkLst>
            <pc:docMk/>
            <pc:sldMk cId="2574806156" sldId="2146849611"/>
            <ac:spMk id="2778" creationId="{EFFDBDB7-2903-4457-B198-F4473F88D05C}"/>
          </ac:spMkLst>
        </pc:spChg>
        <pc:spChg chg="mod">
          <ac:chgData name="Lars Boe Riber" userId="a0746655-6c86-46e8-9fa0-3fdc9fc77da6" providerId="ADAL" clId="{4E480DD1-6EB6-40E9-AA5D-F0885641F18B}" dt="2022-11-18T10:27:07.914" v="780" actId="790"/>
          <ac:spMkLst>
            <pc:docMk/>
            <pc:sldMk cId="2574806156" sldId="2146849611"/>
            <ac:spMk id="2779" creationId="{ADFB5712-899C-4472-AEFD-31AE63A393AD}"/>
          </ac:spMkLst>
        </pc:spChg>
        <pc:spChg chg="mod">
          <ac:chgData name="Lars Boe Riber" userId="a0746655-6c86-46e8-9fa0-3fdc9fc77da6" providerId="ADAL" clId="{4E480DD1-6EB6-40E9-AA5D-F0885641F18B}" dt="2022-11-18T10:27:07.914" v="781" actId="790"/>
          <ac:spMkLst>
            <pc:docMk/>
            <pc:sldMk cId="2574806156" sldId="2146849611"/>
            <ac:spMk id="2780" creationId="{B6670240-8D3B-4910-9F61-8135D722F52E}"/>
          </ac:spMkLst>
        </pc:spChg>
        <pc:spChg chg="mod">
          <ac:chgData name="Lars Boe Riber" userId="a0746655-6c86-46e8-9fa0-3fdc9fc77da6" providerId="ADAL" clId="{4E480DD1-6EB6-40E9-AA5D-F0885641F18B}" dt="2022-11-18T10:27:07.915" v="782" actId="790"/>
          <ac:spMkLst>
            <pc:docMk/>
            <pc:sldMk cId="2574806156" sldId="2146849611"/>
            <ac:spMk id="2781" creationId="{29BF72ED-DBCE-4060-90EA-3281E3DA3092}"/>
          </ac:spMkLst>
        </pc:spChg>
        <pc:spChg chg="mod">
          <ac:chgData name="Lars Boe Riber" userId="a0746655-6c86-46e8-9fa0-3fdc9fc77da6" providerId="ADAL" clId="{4E480DD1-6EB6-40E9-AA5D-F0885641F18B}" dt="2022-11-18T10:27:07.916" v="783" actId="790"/>
          <ac:spMkLst>
            <pc:docMk/>
            <pc:sldMk cId="2574806156" sldId="2146849611"/>
            <ac:spMk id="2782" creationId="{4B538354-BA03-47E6-A412-C78802F98D27}"/>
          </ac:spMkLst>
        </pc:spChg>
        <pc:spChg chg="mod">
          <ac:chgData name="Lars Boe Riber" userId="a0746655-6c86-46e8-9fa0-3fdc9fc77da6" providerId="ADAL" clId="{4E480DD1-6EB6-40E9-AA5D-F0885641F18B}" dt="2022-11-18T10:27:07.916" v="784" actId="790"/>
          <ac:spMkLst>
            <pc:docMk/>
            <pc:sldMk cId="2574806156" sldId="2146849611"/>
            <ac:spMk id="2783" creationId="{9A2387E1-D64F-4BB0-8072-C8CF813EE2D1}"/>
          </ac:spMkLst>
        </pc:spChg>
        <pc:spChg chg="mod">
          <ac:chgData name="Lars Boe Riber" userId="a0746655-6c86-46e8-9fa0-3fdc9fc77da6" providerId="ADAL" clId="{4E480DD1-6EB6-40E9-AA5D-F0885641F18B}" dt="2022-11-18T10:27:07.917" v="785" actId="790"/>
          <ac:spMkLst>
            <pc:docMk/>
            <pc:sldMk cId="2574806156" sldId="2146849611"/>
            <ac:spMk id="2784" creationId="{2B3ECBC1-B109-440B-8455-34DBCDAB578D}"/>
          </ac:spMkLst>
        </pc:spChg>
        <pc:spChg chg="mod">
          <ac:chgData name="Lars Boe Riber" userId="a0746655-6c86-46e8-9fa0-3fdc9fc77da6" providerId="ADAL" clId="{4E480DD1-6EB6-40E9-AA5D-F0885641F18B}" dt="2022-11-18T10:27:07.918" v="786" actId="790"/>
          <ac:spMkLst>
            <pc:docMk/>
            <pc:sldMk cId="2574806156" sldId="2146849611"/>
            <ac:spMk id="2785" creationId="{53774DEA-74E4-4456-9B29-8F2674E7BEE7}"/>
          </ac:spMkLst>
        </pc:spChg>
        <pc:spChg chg="mod">
          <ac:chgData name="Lars Boe Riber" userId="a0746655-6c86-46e8-9fa0-3fdc9fc77da6" providerId="ADAL" clId="{4E480DD1-6EB6-40E9-AA5D-F0885641F18B}" dt="2022-11-18T10:27:07.919" v="787" actId="790"/>
          <ac:spMkLst>
            <pc:docMk/>
            <pc:sldMk cId="2574806156" sldId="2146849611"/>
            <ac:spMk id="2786" creationId="{7EB06432-D178-43C8-A524-AFB5F5C13A2E}"/>
          </ac:spMkLst>
        </pc:spChg>
        <pc:spChg chg="mod">
          <ac:chgData name="Lars Boe Riber" userId="a0746655-6c86-46e8-9fa0-3fdc9fc77da6" providerId="ADAL" clId="{4E480DD1-6EB6-40E9-AA5D-F0885641F18B}" dt="2022-11-18T10:27:07.919" v="788" actId="790"/>
          <ac:spMkLst>
            <pc:docMk/>
            <pc:sldMk cId="2574806156" sldId="2146849611"/>
            <ac:spMk id="2787" creationId="{CA28DDC4-D3CC-474E-9B35-A057DF0C4DF0}"/>
          </ac:spMkLst>
        </pc:spChg>
        <pc:spChg chg="mod">
          <ac:chgData name="Lars Boe Riber" userId="a0746655-6c86-46e8-9fa0-3fdc9fc77da6" providerId="ADAL" clId="{4E480DD1-6EB6-40E9-AA5D-F0885641F18B}" dt="2022-11-18T10:27:07.920" v="789" actId="790"/>
          <ac:spMkLst>
            <pc:docMk/>
            <pc:sldMk cId="2574806156" sldId="2146849611"/>
            <ac:spMk id="2788" creationId="{9E87D738-40BA-43FE-BBFB-9505AA2A1DEB}"/>
          </ac:spMkLst>
        </pc:spChg>
        <pc:spChg chg="mod">
          <ac:chgData name="Lars Boe Riber" userId="a0746655-6c86-46e8-9fa0-3fdc9fc77da6" providerId="ADAL" clId="{4E480DD1-6EB6-40E9-AA5D-F0885641F18B}" dt="2022-11-18T10:27:07.921" v="790" actId="790"/>
          <ac:spMkLst>
            <pc:docMk/>
            <pc:sldMk cId="2574806156" sldId="2146849611"/>
            <ac:spMk id="2789" creationId="{605CED1A-7EA9-40DD-A063-808E106A6EF3}"/>
          </ac:spMkLst>
        </pc:spChg>
        <pc:spChg chg="mod">
          <ac:chgData name="Lars Boe Riber" userId="a0746655-6c86-46e8-9fa0-3fdc9fc77da6" providerId="ADAL" clId="{4E480DD1-6EB6-40E9-AA5D-F0885641F18B}" dt="2022-11-18T10:27:07.921" v="791" actId="790"/>
          <ac:spMkLst>
            <pc:docMk/>
            <pc:sldMk cId="2574806156" sldId="2146849611"/>
            <ac:spMk id="2790" creationId="{33AAC871-B802-4909-9306-B848D4805B3C}"/>
          </ac:spMkLst>
        </pc:spChg>
        <pc:spChg chg="mod">
          <ac:chgData name="Lars Boe Riber" userId="a0746655-6c86-46e8-9fa0-3fdc9fc77da6" providerId="ADAL" clId="{4E480DD1-6EB6-40E9-AA5D-F0885641F18B}" dt="2022-11-18T10:27:07.922" v="792" actId="790"/>
          <ac:spMkLst>
            <pc:docMk/>
            <pc:sldMk cId="2574806156" sldId="2146849611"/>
            <ac:spMk id="2791" creationId="{CA378BB5-4BE8-438D-AAFB-8F8089D730CD}"/>
          </ac:spMkLst>
        </pc:spChg>
        <pc:spChg chg="mod">
          <ac:chgData name="Lars Boe Riber" userId="a0746655-6c86-46e8-9fa0-3fdc9fc77da6" providerId="ADAL" clId="{4E480DD1-6EB6-40E9-AA5D-F0885641F18B}" dt="2022-11-18T10:27:07.922" v="793" actId="790"/>
          <ac:spMkLst>
            <pc:docMk/>
            <pc:sldMk cId="2574806156" sldId="2146849611"/>
            <ac:spMk id="2792" creationId="{C7B8910F-0A80-48ED-AB95-665810EDB85B}"/>
          </ac:spMkLst>
        </pc:spChg>
        <pc:spChg chg="mod">
          <ac:chgData name="Lars Boe Riber" userId="a0746655-6c86-46e8-9fa0-3fdc9fc77da6" providerId="ADAL" clId="{4E480DD1-6EB6-40E9-AA5D-F0885641F18B}" dt="2022-11-18T10:27:07.923" v="794" actId="790"/>
          <ac:spMkLst>
            <pc:docMk/>
            <pc:sldMk cId="2574806156" sldId="2146849611"/>
            <ac:spMk id="2793" creationId="{F09388C4-7C07-4620-9D45-3028F1C21A16}"/>
          </ac:spMkLst>
        </pc:spChg>
        <pc:spChg chg="mod">
          <ac:chgData name="Lars Boe Riber" userId="a0746655-6c86-46e8-9fa0-3fdc9fc77da6" providerId="ADAL" clId="{4E480DD1-6EB6-40E9-AA5D-F0885641F18B}" dt="2022-11-18T10:27:07.924" v="795" actId="790"/>
          <ac:spMkLst>
            <pc:docMk/>
            <pc:sldMk cId="2574806156" sldId="2146849611"/>
            <ac:spMk id="2794" creationId="{2D480C55-4CD8-4BC7-8540-981FEFF9232F}"/>
          </ac:spMkLst>
        </pc:spChg>
        <pc:spChg chg="mod">
          <ac:chgData name="Lars Boe Riber" userId="a0746655-6c86-46e8-9fa0-3fdc9fc77da6" providerId="ADAL" clId="{4E480DD1-6EB6-40E9-AA5D-F0885641F18B}" dt="2022-11-18T10:27:07.924" v="796" actId="790"/>
          <ac:spMkLst>
            <pc:docMk/>
            <pc:sldMk cId="2574806156" sldId="2146849611"/>
            <ac:spMk id="2795" creationId="{9088F25A-86FB-48B4-B2C8-32F0A1776F39}"/>
          </ac:spMkLst>
        </pc:spChg>
        <pc:spChg chg="mod">
          <ac:chgData name="Lars Boe Riber" userId="a0746655-6c86-46e8-9fa0-3fdc9fc77da6" providerId="ADAL" clId="{4E480DD1-6EB6-40E9-AA5D-F0885641F18B}" dt="2022-11-18T10:27:07.925" v="797" actId="790"/>
          <ac:spMkLst>
            <pc:docMk/>
            <pc:sldMk cId="2574806156" sldId="2146849611"/>
            <ac:spMk id="2796" creationId="{09D81A01-FE06-4C98-9EB7-96A66F0BD490}"/>
          </ac:spMkLst>
        </pc:spChg>
        <pc:spChg chg="mod">
          <ac:chgData name="Lars Boe Riber" userId="a0746655-6c86-46e8-9fa0-3fdc9fc77da6" providerId="ADAL" clId="{4E480DD1-6EB6-40E9-AA5D-F0885641F18B}" dt="2022-11-18T10:27:07.926" v="798" actId="790"/>
          <ac:spMkLst>
            <pc:docMk/>
            <pc:sldMk cId="2574806156" sldId="2146849611"/>
            <ac:spMk id="2797" creationId="{D3D81859-D291-4332-B52E-F25842C00C7A}"/>
          </ac:spMkLst>
        </pc:spChg>
        <pc:spChg chg="mod">
          <ac:chgData name="Lars Boe Riber" userId="a0746655-6c86-46e8-9fa0-3fdc9fc77da6" providerId="ADAL" clId="{4E480DD1-6EB6-40E9-AA5D-F0885641F18B}" dt="2022-11-18T10:27:07.926" v="799" actId="790"/>
          <ac:spMkLst>
            <pc:docMk/>
            <pc:sldMk cId="2574806156" sldId="2146849611"/>
            <ac:spMk id="2798" creationId="{90A65ACF-512B-4A5B-87CD-DF7E32FE400E}"/>
          </ac:spMkLst>
        </pc:spChg>
        <pc:spChg chg="mod">
          <ac:chgData name="Lars Boe Riber" userId="a0746655-6c86-46e8-9fa0-3fdc9fc77da6" providerId="ADAL" clId="{4E480DD1-6EB6-40E9-AA5D-F0885641F18B}" dt="2022-11-18T10:27:07.927" v="800" actId="790"/>
          <ac:spMkLst>
            <pc:docMk/>
            <pc:sldMk cId="2574806156" sldId="2146849611"/>
            <ac:spMk id="2799" creationId="{9D55309D-A9C3-4D4B-BC84-408B2DB96B8B}"/>
          </ac:spMkLst>
        </pc:spChg>
        <pc:spChg chg="mod">
          <ac:chgData name="Lars Boe Riber" userId="a0746655-6c86-46e8-9fa0-3fdc9fc77da6" providerId="ADAL" clId="{4E480DD1-6EB6-40E9-AA5D-F0885641F18B}" dt="2022-11-18T10:27:07.928" v="801" actId="790"/>
          <ac:spMkLst>
            <pc:docMk/>
            <pc:sldMk cId="2574806156" sldId="2146849611"/>
            <ac:spMk id="2800" creationId="{A30077F8-8358-43AA-8516-E27336C0FBDE}"/>
          </ac:spMkLst>
        </pc:spChg>
        <pc:spChg chg="mod">
          <ac:chgData name="Lars Boe Riber" userId="a0746655-6c86-46e8-9fa0-3fdc9fc77da6" providerId="ADAL" clId="{4E480DD1-6EB6-40E9-AA5D-F0885641F18B}" dt="2022-11-18T10:27:07.928" v="802" actId="790"/>
          <ac:spMkLst>
            <pc:docMk/>
            <pc:sldMk cId="2574806156" sldId="2146849611"/>
            <ac:spMk id="2801" creationId="{D3477454-7FD6-419F-A8D8-AA2F901A8DBD}"/>
          </ac:spMkLst>
        </pc:spChg>
        <pc:spChg chg="mod">
          <ac:chgData name="Lars Boe Riber" userId="a0746655-6c86-46e8-9fa0-3fdc9fc77da6" providerId="ADAL" clId="{4E480DD1-6EB6-40E9-AA5D-F0885641F18B}" dt="2022-11-18T10:27:07.929" v="803" actId="790"/>
          <ac:spMkLst>
            <pc:docMk/>
            <pc:sldMk cId="2574806156" sldId="2146849611"/>
            <ac:spMk id="2802" creationId="{7A7A30BC-E00F-48EA-9254-B8D06EBA5FEE}"/>
          </ac:spMkLst>
        </pc:spChg>
        <pc:spChg chg="mod">
          <ac:chgData name="Lars Boe Riber" userId="a0746655-6c86-46e8-9fa0-3fdc9fc77da6" providerId="ADAL" clId="{4E480DD1-6EB6-40E9-AA5D-F0885641F18B}" dt="2022-11-18T10:27:07.930" v="804" actId="790"/>
          <ac:spMkLst>
            <pc:docMk/>
            <pc:sldMk cId="2574806156" sldId="2146849611"/>
            <ac:spMk id="2803" creationId="{631A0601-4935-41A9-8AAF-AFF8A8BE7617}"/>
          </ac:spMkLst>
        </pc:spChg>
        <pc:spChg chg="mod">
          <ac:chgData name="Lars Boe Riber" userId="a0746655-6c86-46e8-9fa0-3fdc9fc77da6" providerId="ADAL" clId="{4E480DD1-6EB6-40E9-AA5D-F0885641F18B}" dt="2022-11-18T10:27:07.930" v="805" actId="790"/>
          <ac:spMkLst>
            <pc:docMk/>
            <pc:sldMk cId="2574806156" sldId="2146849611"/>
            <ac:spMk id="2804" creationId="{75297CD1-31FA-4DD5-A5E4-A33A89C85F64}"/>
          </ac:spMkLst>
        </pc:spChg>
        <pc:spChg chg="mod">
          <ac:chgData name="Lars Boe Riber" userId="a0746655-6c86-46e8-9fa0-3fdc9fc77da6" providerId="ADAL" clId="{4E480DD1-6EB6-40E9-AA5D-F0885641F18B}" dt="2022-11-18T10:27:07.931" v="806" actId="790"/>
          <ac:spMkLst>
            <pc:docMk/>
            <pc:sldMk cId="2574806156" sldId="2146849611"/>
            <ac:spMk id="2805" creationId="{044089D9-5096-419F-8994-9954B0EE8C29}"/>
          </ac:spMkLst>
        </pc:spChg>
        <pc:spChg chg="mod">
          <ac:chgData name="Lars Boe Riber" userId="a0746655-6c86-46e8-9fa0-3fdc9fc77da6" providerId="ADAL" clId="{4E480DD1-6EB6-40E9-AA5D-F0885641F18B}" dt="2022-11-18T10:27:07.932" v="807" actId="790"/>
          <ac:spMkLst>
            <pc:docMk/>
            <pc:sldMk cId="2574806156" sldId="2146849611"/>
            <ac:spMk id="2806" creationId="{09AD0FDE-3687-4C32-AB63-81B9E64ADACE}"/>
          </ac:spMkLst>
        </pc:spChg>
        <pc:spChg chg="mod">
          <ac:chgData name="Lars Boe Riber" userId="a0746655-6c86-46e8-9fa0-3fdc9fc77da6" providerId="ADAL" clId="{4E480DD1-6EB6-40E9-AA5D-F0885641F18B}" dt="2022-11-18T10:27:07.933" v="808" actId="790"/>
          <ac:spMkLst>
            <pc:docMk/>
            <pc:sldMk cId="2574806156" sldId="2146849611"/>
            <ac:spMk id="2807" creationId="{5626071D-4F74-45A7-B68E-D6D6E4288840}"/>
          </ac:spMkLst>
        </pc:spChg>
        <pc:spChg chg="mod">
          <ac:chgData name="Lars Boe Riber" userId="a0746655-6c86-46e8-9fa0-3fdc9fc77da6" providerId="ADAL" clId="{4E480DD1-6EB6-40E9-AA5D-F0885641F18B}" dt="2022-11-18T10:27:07.934" v="809" actId="790"/>
          <ac:spMkLst>
            <pc:docMk/>
            <pc:sldMk cId="2574806156" sldId="2146849611"/>
            <ac:spMk id="2808" creationId="{8AFD3680-D48C-46B8-8500-9A023EBE618D}"/>
          </ac:spMkLst>
        </pc:spChg>
        <pc:spChg chg="mod">
          <ac:chgData name="Lars Boe Riber" userId="a0746655-6c86-46e8-9fa0-3fdc9fc77da6" providerId="ADAL" clId="{4E480DD1-6EB6-40E9-AA5D-F0885641F18B}" dt="2022-11-18T10:27:07.934" v="810" actId="790"/>
          <ac:spMkLst>
            <pc:docMk/>
            <pc:sldMk cId="2574806156" sldId="2146849611"/>
            <ac:spMk id="2809" creationId="{E5629D6B-5E28-42E0-BC3B-45657B99236C}"/>
          </ac:spMkLst>
        </pc:spChg>
        <pc:spChg chg="mod">
          <ac:chgData name="Lars Boe Riber" userId="a0746655-6c86-46e8-9fa0-3fdc9fc77da6" providerId="ADAL" clId="{4E480DD1-6EB6-40E9-AA5D-F0885641F18B}" dt="2022-11-18T10:27:07.935" v="811" actId="790"/>
          <ac:spMkLst>
            <pc:docMk/>
            <pc:sldMk cId="2574806156" sldId="2146849611"/>
            <ac:spMk id="2810" creationId="{C44676D5-78F0-40E6-8622-EB687E08C10C}"/>
          </ac:spMkLst>
        </pc:spChg>
        <pc:spChg chg="mod">
          <ac:chgData name="Lars Boe Riber" userId="a0746655-6c86-46e8-9fa0-3fdc9fc77da6" providerId="ADAL" clId="{4E480DD1-6EB6-40E9-AA5D-F0885641F18B}" dt="2022-11-18T10:27:07.935" v="812" actId="790"/>
          <ac:spMkLst>
            <pc:docMk/>
            <pc:sldMk cId="2574806156" sldId="2146849611"/>
            <ac:spMk id="2811" creationId="{3A23D34C-A749-41F2-A43C-F3AF9455B257}"/>
          </ac:spMkLst>
        </pc:spChg>
        <pc:spChg chg="mod">
          <ac:chgData name="Lars Boe Riber" userId="a0746655-6c86-46e8-9fa0-3fdc9fc77da6" providerId="ADAL" clId="{4E480DD1-6EB6-40E9-AA5D-F0885641F18B}" dt="2022-11-18T10:27:07.936" v="813" actId="790"/>
          <ac:spMkLst>
            <pc:docMk/>
            <pc:sldMk cId="2574806156" sldId="2146849611"/>
            <ac:spMk id="2812" creationId="{F487469B-D1C4-4544-BC15-B78448E39967}"/>
          </ac:spMkLst>
        </pc:spChg>
        <pc:spChg chg="mod">
          <ac:chgData name="Lars Boe Riber" userId="a0746655-6c86-46e8-9fa0-3fdc9fc77da6" providerId="ADAL" clId="{4E480DD1-6EB6-40E9-AA5D-F0885641F18B}" dt="2022-11-18T10:27:07.937" v="814" actId="790"/>
          <ac:spMkLst>
            <pc:docMk/>
            <pc:sldMk cId="2574806156" sldId="2146849611"/>
            <ac:spMk id="2813" creationId="{58ECA74B-C5A1-42C7-BEC8-5DF81A30A902}"/>
          </ac:spMkLst>
        </pc:spChg>
        <pc:spChg chg="mod">
          <ac:chgData name="Lars Boe Riber" userId="a0746655-6c86-46e8-9fa0-3fdc9fc77da6" providerId="ADAL" clId="{4E480DD1-6EB6-40E9-AA5D-F0885641F18B}" dt="2022-11-18T10:27:07.938" v="815" actId="790"/>
          <ac:spMkLst>
            <pc:docMk/>
            <pc:sldMk cId="2574806156" sldId="2146849611"/>
            <ac:spMk id="2814" creationId="{462244E0-FAB5-4FC1-A3B0-8A1E45E4FA00}"/>
          </ac:spMkLst>
        </pc:spChg>
        <pc:spChg chg="mod">
          <ac:chgData name="Lars Boe Riber" userId="a0746655-6c86-46e8-9fa0-3fdc9fc77da6" providerId="ADAL" clId="{4E480DD1-6EB6-40E9-AA5D-F0885641F18B}" dt="2022-11-18T10:27:07.939" v="816" actId="790"/>
          <ac:spMkLst>
            <pc:docMk/>
            <pc:sldMk cId="2574806156" sldId="2146849611"/>
            <ac:spMk id="2815" creationId="{06E8A2AF-C8EE-41AF-90DB-A9DD5B705EFB}"/>
          </ac:spMkLst>
        </pc:spChg>
        <pc:spChg chg="mod">
          <ac:chgData name="Lars Boe Riber" userId="a0746655-6c86-46e8-9fa0-3fdc9fc77da6" providerId="ADAL" clId="{4E480DD1-6EB6-40E9-AA5D-F0885641F18B}" dt="2022-11-18T10:27:07.940" v="817" actId="790"/>
          <ac:spMkLst>
            <pc:docMk/>
            <pc:sldMk cId="2574806156" sldId="2146849611"/>
            <ac:spMk id="2816" creationId="{24B936E4-B2C4-4855-AB37-32FFB478B90C}"/>
          </ac:spMkLst>
        </pc:spChg>
        <pc:spChg chg="mod">
          <ac:chgData name="Lars Boe Riber" userId="a0746655-6c86-46e8-9fa0-3fdc9fc77da6" providerId="ADAL" clId="{4E480DD1-6EB6-40E9-AA5D-F0885641F18B}" dt="2022-11-18T10:27:07.941" v="818" actId="790"/>
          <ac:spMkLst>
            <pc:docMk/>
            <pc:sldMk cId="2574806156" sldId="2146849611"/>
            <ac:spMk id="2817" creationId="{DDC51D8D-F435-43E2-99A7-361ED1C7F5DC}"/>
          </ac:spMkLst>
        </pc:spChg>
        <pc:spChg chg="mod">
          <ac:chgData name="Lars Boe Riber" userId="a0746655-6c86-46e8-9fa0-3fdc9fc77da6" providerId="ADAL" clId="{4E480DD1-6EB6-40E9-AA5D-F0885641F18B}" dt="2022-11-18T10:27:07.941" v="819" actId="790"/>
          <ac:spMkLst>
            <pc:docMk/>
            <pc:sldMk cId="2574806156" sldId="2146849611"/>
            <ac:spMk id="2818" creationId="{CCDADAD4-DD09-4C63-9DB3-2B82EAEF7D45}"/>
          </ac:spMkLst>
        </pc:spChg>
        <pc:spChg chg="mod">
          <ac:chgData name="Lars Boe Riber" userId="a0746655-6c86-46e8-9fa0-3fdc9fc77da6" providerId="ADAL" clId="{4E480DD1-6EB6-40E9-AA5D-F0885641F18B}" dt="2022-11-18T10:27:07.942" v="820" actId="790"/>
          <ac:spMkLst>
            <pc:docMk/>
            <pc:sldMk cId="2574806156" sldId="2146849611"/>
            <ac:spMk id="2819" creationId="{753C52F2-FAA8-43E6-A6B5-ECA70EC1CDCC}"/>
          </ac:spMkLst>
        </pc:spChg>
        <pc:spChg chg="mod">
          <ac:chgData name="Lars Boe Riber" userId="a0746655-6c86-46e8-9fa0-3fdc9fc77da6" providerId="ADAL" clId="{4E480DD1-6EB6-40E9-AA5D-F0885641F18B}" dt="2022-11-18T10:27:07.943" v="821" actId="790"/>
          <ac:spMkLst>
            <pc:docMk/>
            <pc:sldMk cId="2574806156" sldId="2146849611"/>
            <ac:spMk id="2820" creationId="{CE49B50E-0860-4084-858C-F4A0F163F678}"/>
          </ac:spMkLst>
        </pc:spChg>
        <pc:spChg chg="mod">
          <ac:chgData name="Lars Boe Riber" userId="a0746655-6c86-46e8-9fa0-3fdc9fc77da6" providerId="ADAL" clId="{4E480DD1-6EB6-40E9-AA5D-F0885641F18B}" dt="2022-11-18T10:27:07.943" v="822" actId="790"/>
          <ac:spMkLst>
            <pc:docMk/>
            <pc:sldMk cId="2574806156" sldId="2146849611"/>
            <ac:spMk id="2821" creationId="{DA1A00B2-9FDD-48C6-8797-DFCD38B20C42}"/>
          </ac:spMkLst>
        </pc:spChg>
        <pc:spChg chg="mod">
          <ac:chgData name="Lars Boe Riber" userId="a0746655-6c86-46e8-9fa0-3fdc9fc77da6" providerId="ADAL" clId="{4E480DD1-6EB6-40E9-AA5D-F0885641F18B}" dt="2022-11-18T10:27:07.944" v="823" actId="790"/>
          <ac:spMkLst>
            <pc:docMk/>
            <pc:sldMk cId="2574806156" sldId="2146849611"/>
            <ac:spMk id="2822" creationId="{302924DB-3015-4C74-A744-7C1B9C11DD8D}"/>
          </ac:spMkLst>
        </pc:spChg>
        <pc:spChg chg="mod">
          <ac:chgData name="Lars Boe Riber" userId="a0746655-6c86-46e8-9fa0-3fdc9fc77da6" providerId="ADAL" clId="{4E480DD1-6EB6-40E9-AA5D-F0885641F18B}" dt="2022-11-18T10:27:07.945" v="824" actId="790"/>
          <ac:spMkLst>
            <pc:docMk/>
            <pc:sldMk cId="2574806156" sldId="2146849611"/>
            <ac:spMk id="2823" creationId="{8364B1FD-15F8-4865-ACCE-E994C954EE05}"/>
          </ac:spMkLst>
        </pc:spChg>
        <pc:spChg chg="mod">
          <ac:chgData name="Lars Boe Riber" userId="a0746655-6c86-46e8-9fa0-3fdc9fc77da6" providerId="ADAL" clId="{4E480DD1-6EB6-40E9-AA5D-F0885641F18B}" dt="2022-11-18T10:27:07.946" v="825" actId="790"/>
          <ac:spMkLst>
            <pc:docMk/>
            <pc:sldMk cId="2574806156" sldId="2146849611"/>
            <ac:spMk id="2824" creationId="{B292756B-474D-423F-888F-3F76B94EA469}"/>
          </ac:spMkLst>
        </pc:spChg>
        <pc:spChg chg="mod">
          <ac:chgData name="Lars Boe Riber" userId="a0746655-6c86-46e8-9fa0-3fdc9fc77da6" providerId="ADAL" clId="{4E480DD1-6EB6-40E9-AA5D-F0885641F18B}" dt="2022-11-18T10:27:07.946" v="826" actId="790"/>
          <ac:spMkLst>
            <pc:docMk/>
            <pc:sldMk cId="2574806156" sldId="2146849611"/>
            <ac:spMk id="2825" creationId="{3E4A53D6-DB41-4E18-A2CB-1A2107D7BAE5}"/>
          </ac:spMkLst>
        </pc:spChg>
        <pc:spChg chg="mod">
          <ac:chgData name="Lars Boe Riber" userId="a0746655-6c86-46e8-9fa0-3fdc9fc77da6" providerId="ADAL" clId="{4E480DD1-6EB6-40E9-AA5D-F0885641F18B}" dt="2022-11-18T10:27:07.947" v="827" actId="790"/>
          <ac:spMkLst>
            <pc:docMk/>
            <pc:sldMk cId="2574806156" sldId="2146849611"/>
            <ac:spMk id="2826" creationId="{583DB202-5231-4FC5-A087-32C575673DE1}"/>
          </ac:spMkLst>
        </pc:spChg>
        <pc:spChg chg="mod">
          <ac:chgData name="Lars Boe Riber" userId="a0746655-6c86-46e8-9fa0-3fdc9fc77da6" providerId="ADAL" clId="{4E480DD1-6EB6-40E9-AA5D-F0885641F18B}" dt="2022-11-18T10:27:07.947" v="828" actId="790"/>
          <ac:spMkLst>
            <pc:docMk/>
            <pc:sldMk cId="2574806156" sldId="2146849611"/>
            <ac:spMk id="2827" creationId="{8CCA8C29-9F16-48F4-93C2-3180D0BCC531}"/>
          </ac:spMkLst>
        </pc:spChg>
        <pc:spChg chg="mod">
          <ac:chgData name="Lars Boe Riber" userId="a0746655-6c86-46e8-9fa0-3fdc9fc77da6" providerId="ADAL" clId="{4E480DD1-6EB6-40E9-AA5D-F0885641F18B}" dt="2022-11-18T10:27:07.948" v="829" actId="790"/>
          <ac:spMkLst>
            <pc:docMk/>
            <pc:sldMk cId="2574806156" sldId="2146849611"/>
            <ac:spMk id="2828" creationId="{2C641A89-3BDE-42F9-9260-FD4263385677}"/>
          </ac:spMkLst>
        </pc:spChg>
        <pc:spChg chg="mod">
          <ac:chgData name="Lars Boe Riber" userId="a0746655-6c86-46e8-9fa0-3fdc9fc77da6" providerId="ADAL" clId="{4E480DD1-6EB6-40E9-AA5D-F0885641F18B}" dt="2022-11-18T10:27:07.949" v="830" actId="790"/>
          <ac:spMkLst>
            <pc:docMk/>
            <pc:sldMk cId="2574806156" sldId="2146849611"/>
            <ac:spMk id="2829" creationId="{34342C47-E87E-4740-BB32-E0ECA15FAF6C}"/>
          </ac:spMkLst>
        </pc:spChg>
        <pc:spChg chg="mod">
          <ac:chgData name="Lars Boe Riber" userId="a0746655-6c86-46e8-9fa0-3fdc9fc77da6" providerId="ADAL" clId="{4E480DD1-6EB6-40E9-AA5D-F0885641F18B}" dt="2022-11-18T10:27:07.950" v="831" actId="790"/>
          <ac:spMkLst>
            <pc:docMk/>
            <pc:sldMk cId="2574806156" sldId="2146849611"/>
            <ac:spMk id="2830" creationId="{D3A0BB91-DC33-416D-B05D-9507DA738425}"/>
          </ac:spMkLst>
        </pc:spChg>
        <pc:spChg chg="mod">
          <ac:chgData name="Lars Boe Riber" userId="a0746655-6c86-46e8-9fa0-3fdc9fc77da6" providerId="ADAL" clId="{4E480DD1-6EB6-40E9-AA5D-F0885641F18B}" dt="2022-11-18T10:27:07.950" v="832" actId="790"/>
          <ac:spMkLst>
            <pc:docMk/>
            <pc:sldMk cId="2574806156" sldId="2146849611"/>
            <ac:spMk id="2831" creationId="{BD193A9D-39FD-4A6D-9614-4DD1924423D2}"/>
          </ac:spMkLst>
        </pc:spChg>
        <pc:spChg chg="mod">
          <ac:chgData name="Lars Boe Riber" userId="a0746655-6c86-46e8-9fa0-3fdc9fc77da6" providerId="ADAL" clId="{4E480DD1-6EB6-40E9-AA5D-F0885641F18B}" dt="2022-11-18T10:27:07.951" v="833" actId="790"/>
          <ac:spMkLst>
            <pc:docMk/>
            <pc:sldMk cId="2574806156" sldId="2146849611"/>
            <ac:spMk id="2832" creationId="{1FE1A74F-EE3E-40EE-B5DA-43BDC117B881}"/>
          </ac:spMkLst>
        </pc:spChg>
        <pc:spChg chg="mod">
          <ac:chgData name="Lars Boe Riber" userId="a0746655-6c86-46e8-9fa0-3fdc9fc77da6" providerId="ADAL" clId="{4E480DD1-6EB6-40E9-AA5D-F0885641F18B}" dt="2022-11-18T10:27:07.952" v="834" actId="790"/>
          <ac:spMkLst>
            <pc:docMk/>
            <pc:sldMk cId="2574806156" sldId="2146849611"/>
            <ac:spMk id="2833" creationId="{84BBC993-90AB-4F2D-AE82-DE03842E3B99}"/>
          </ac:spMkLst>
        </pc:spChg>
        <pc:spChg chg="mod">
          <ac:chgData name="Lars Boe Riber" userId="a0746655-6c86-46e8-9fa0-3fdc9fc77da6" providerId="ADAL" clId="{4E480DD1-6EB6-40E9-AA5D-F0885641F18B}" dt="2022-11-18T10:27:07.952" v="835" actId="790"/>
          <ac:spMkLst>
            <pc:docMk/>
            <pc:sldMk cId="2574806156" sldId="2146849611"/>
            <ac:spMk id="2834" creationId="{39C99C16-CFC9-44B7-96E0-83E10D3B3BA7}"/>
          </ac:spMkLst>
        </pc:spChg>
        <pc:spChg chg="mod">
          <ac:chgData name="Lars Boe Riber" userId="a0746655-6c86-46e8-9fa0-3fdc9fc77da6" providerId="ADAL" clId="{4E480DD1-6EB6-40E9-AA5D-F0885641F18B}" dt="2022-11-18T10:27:07.953" v="836" actId="790"/>
          <ac:spMkLst>
            <pc:docMk/>
            <pc:sldMk cId="2574806156" sldId="2146849611"/>
            <ac:spMk id="2835" creationId="{B7B61F0B-2DE1-424F-A0EF-EECEC3D36276}"/>
          </ac:spMkLst>
        </pc:spChg>
        <pc:spChg chg="mod">
          <ac:chgData name="Lars Boe Riber" userId="a0746655-6c86-46e8-9fa0-3fdc9fc77da6" providerId="ADAL" clId="{4E480DD1-6EB6-40E9-AA5D-F0885641F18B}" dt="2022-11-18T10:27:07.954" v="837" actId="790"/>
          <ac:spMkLst>
            <pc:docMk/>
            <pc:sldMk cId="2574806156" sldId="2146849611"/>
            <ac:spMk id="2836" creationId="{E1C6C02E-28AF-4747-B99F-B1DD3319D20B}"/>
          </ac:spMkLst>
        </pc:spChg>
        <pc:spChg chg="mod">
          <ac:chgData name="Lars Boe Riber" userId="a0746655-6c86-46e8-9fa0-3fdc9fc77da6" providerId="ADAL" clId="{4E480DD1-6EB6-40E9-AA5D-F0885641F18B}" dt="2022-11-18T10:27:07.954" v="838" actId="790"/>
          <ac:spMkLst>
            <pc:docMk/>
            <pc:sldMk cId="2574806156" sldId="2146849611"/>
            <ac:spMk id="2837" creationId="{C2545D8A-BBAB-4C69-BA3F-12D111861AB3}"/>
          </ac:spMkLst>
        </pc:spChg>
        <pc:spChg chg="mod">
          <ac:chgData name="Lars Boe Riber" userId="a0746655-6c86-46e8-9fa0-3fdc9fc77da6" providerId="ADAL" clId="{4E480DD1-6EB6-40E9-AA5D-F0885641F18B}" dt="2022-11-18T10:27:07.955" v="839" actId="790"/>
          <ac:spMkLst>
            <pc:docMk/>
            <pc:sldMk cId="2574806156" sldId="2146849611"/>
            <ac:spMk id="2838" creationId="{855F0EC6-C52D-4769-A35F-6E2EBE1D246D}"/>
          </ac:spMkLst>
        </pc:spChg>
        <pc:spChg chg="mod">
          <ac:chgData name="Lars Boe Riber" userId="a0746655-6c86-46e8-9fa0-3fdc9fc77da6" providerId="ADAL" clId="{4E480DD1-6EB6-40E9-AA5D-F0885641F18B}" dt="2022-11-18T10:27:07.956" v="840" actId="790"/>
          <ac:spMkLst>
            <pc:docMk/>
            <pc:sldMk cId="2574806156" sldId="2146849611"/>
            <ac:spMk id="2839" creationId="{1054E98D-77CA-49AC-8577-D3C6162594D7}"/>
          </ac:spMkLst>
        </pc:spChg>
        <pc:spChg chg="mod">
          <ac:chgData name="Lars Boe Riber" userId="a0746655-6c86-46e8-9fa0-3fdc9fc77da6" providerId="ADAL" clId="{4E480DD1-6EB6-40E9-AA5D-F0885641F18B}" dt="2022-11-18T10:27:07.957" v="841" actId="790"/>
          <ac:spMkLst>
            <pc:docMk/>
            <pc:sldMk cId="2574806156" sldId="2146849611"/>
            <ac:spMk id="2840" creationId="{AFA7F068-908D-4E3D-8F36-EE3A7F34090B}"/>
          </ac:spMkLst>
        </pc:spChg>
        <pc:spChg chg="mod">
          <ac:chgData name="Lars Boe Riber" userId="a0746655-6c86-46e8-9fa0-3fdc9fc77da6" providerId="ADAL" clId="{4E480DD1-6EB6-40E9-AA5D-F0885641F18B}" dt="2022-11-18T10:27:07.957" v="842" actId="790"/>
          <ac:spMkLst>
            <pc:docMk/>
            <pc:sldMk cId="2574806156" sldId="2146849611"/>
            <ac:spMk id="2841" creationId="{F8C15D30-9F28-4684-B321-85401102888C}"/>
          </ac:spMkLst>
        </pc:spChg>
        <pc:spChg chg="mod">
          <ac:chgData name="Lars Boe Riber" userId="a0746655-6c86-46e8-9fa0-3fdc9fc77da6" providerId="ADAL" clId="{4E480DD1-6EB6-40E9-AA5D-F0885641F18B}" dt="2022-11-18T10:27:07.958" v="843" actId="790"/>
          <ac:spMkLst>
            <pc:docMk/>
            <pc:sldMk cId="2574806156" sldId="2146849611"/>
            <ac:spMk id="2842" creationId="{4C8423F6-D51A-4834-A66B-D5118C77276B}"/>
          </ac:spMkLst>
        </pc:spChg>
        <pc:spChg chg="mod">
          <ac:chgData name="Lars Boe Riber" userId="a0746655-6c86-46e8-9fa0-3fdc9fc77da6" providerId="ADAL" clId="{4E480DD1-6EB6-40E9-AA5D-F0885641F18B}" dt="2022-11-18T10:27:07.958" v="844" actId="790"/>
          <ac:spMkLst>
            <pc:docMk/>
            <pc:sldMk cId="2574806156" sldId="2146849611"/>
            <ac:spMk id="2843" creationId="{E7422DC6-E872-4873-B7E2-DC527331921C}"/>
          </ac:spMkLst>
        </pc:spChg>
        <pc:spChg chg="mod">
          <ac:chgData name="Lars Boe Riber" userId="a0746655-6c86-46e8-9fa0-3fdc9fc77da6" providerId="ADAL" clId="{4E480DD1-6EB6-40E9-AA5D-F0885641F18B}" dt="2022-11-18T10:27:07.959" v="845" actId="790"/>
          <ac:spMkLst>
            <pc:docMk/>
            <pc:sldMk cId="2574806156" sldId="2146849611"/>
            <ac:spMk id="2844" creationId="{03C60387-6E55-40CB-9236-4D853F8B97C3}"/>
          </ac:spMkLst>
        </pc:spChg>
        <pc:spChg chg="mod">
          <ac:chgData name="Lars Boe Riber" userId="a0746655-6c86-46e8-9fa0-3fdc9fc77da6" providerId="ADAL" clId="{4E480DD1-6EB6-40E9-AA5D-F0885641F18B}" dt="2022-11-18T10:27:07.960" v="846" actId="790"/>
          <ac:spMkLst>
            <pc:docMk/>
            <pc:sldMk cId="2574806156" sldId="2146849611"/>
            <ac:spMk id="2845" creationId="{298C9133-798F-4540-8115-E877020DEC2F}"/>
          </ac:spMkLst>
        </pc:spChg>
        <pc:spChg chg="mod">
          <ac:chgData name="Lars Boe Riber" userId="a0746655-6c86-46e8-9fa0-3fdc9fc77da6" providerId="ADAL" clId="{4E480DD1-6EB6-40E9-AA5D-F0885641F18B}" dt="2022-11-18T10:27:07.960" v="847" actId="790"/>
          <ac:spMkLst>
            <pc:docMk/>
            <pc:sldMk cId="2574806156" sldId="2146849611"/>
            <ac:spMk id="2846" creationId="{03BC31B1-1E3C-42F6-A6D4-9F0113EF18F6}"/>
          </ac:spMkLst>
        </pc:spChg>
        <pc:spChg chg="mod">
          <ac:chgData name="Lars Boe Riber" userId="a0746655-6c86-46e8-9fa0-3fdc9fc77da6" providerId="ADAL" clId="{4E480DD1-6EB6-40E9-AA5D-F0885641F18B}" dt="2022-11-18T10:27:07.961" v="848" actId="790"/>
          <ac:spMkLst>
            <pc:docMk/>
            <pc:sldMk cId="2574806156" sldId="2146849611"/>
            <ac:spMk id="2847" creationId="{888A636E-6C46-4278-8B4C-E109C6EB31CF}"/>
          </ac:spMkLst>
        </pc:spChg>
        <pc:spChg chg="mod">
          <ac:chgData name="Lars Boe Riber" userId="a0746655-6c86-46e8-9fa0-3fdc9fc77da6" providerId="ADAL" clId="{4E480DD1-6EB6-40E9-AA5D-F0885641F18B}" dt="2022-11-18T10:27:07.962" v="849" actId="790"/>
          <ac:spMkLst>
            <pc:docMk/>
            <pc:sldMk cId="2574806156" sldId="2146849611"/>
            <ac:spMk id="2848" creationId="{5E7E5C1A-B075-4C48-8A51-58B02D27B4D8}"/>
          </ac:spMkLst>
        </pc:spChg>
        <pc:spChg chg="mod">
          <ac:chgData name="Lars Boe Riber" userId="a0746655-6c86-46e8-9fa0-3fdc9fc77da6" providerId="ADAL" clId="{4E480DD1-6EB6-40E9-AA5D-F0885641F18B}" dt="2022-11-18T10:27:07.962" v="850" actId="790"/>
          <ac:spMkLst>
            <pc:docMk/>
            <pc:sldMk cId="2574806156" sldId="2146849611"/>
            <ac:spMk id="2849" creationId="{A678D4DB-FAB4-460C-8CAC-41FC1F7128CC}"/>
          </ac:spMkLst>
        </pc:spChg>
        <pc:spChg chg="mod">
          <ac:chgData name="Lars Boe Riber" userId="a0746655-6c86-46e8-9fa0-3fdc9fc77da6" providerId="ADAL" clId="{4E480DD1-6EB6-40E9-AA5D-F0885641F18B}" dt="2022-11-18T10:27:07.963" v="851" actId="790"/>
          <ac:spMkLst>
            <pc:docMk/>
            <pc:sldMk cId="2574806156" sldId="2146849611"/>
            <ac:spMk id="2850" creationId="{4986ADB6-54E1-4DF8-8EC4-70568B90915F}"/>
          </ac:spMkLst>
        </pc:spChg>
        <pc:spChg chg="mod">
          <ac:chgData name="Lars Boe Riber" userId="a0746655-6c86-46e8-9fa0-3fdc9fc77da6" providerId="ADAL" clId="{4E480DD1-6EB6-40E9-AA5D-F0885641F18B}" dt="2022-11-18T10:27:07.964" v="852" actId="790"/>
          <ac:spMkLst>
            <pc:docMk/>
            <pc:sldMk cId="2574806156" sldId="2146849611"/>
            <ac:spMk id="2851" creationId="{DDBD6F3C-D626-4544-A79E-B2602AFC33A3}"/>
          </ac:spMkLst>
        </pc:spChg>
        <pc:spChg chg="mod">
          <ac:chgData name="Lars Boe Riber" userId="a0746655-6c86-46e8-9fa0-3fdc9fc77da6" providerId="ADAL" clId="{4E480DD1-6EB6-40E9-AA5D-F0885641F18B}" dt="2022-11-18T10:27:07.964" v="853" actId="790"/>
          <ac:spMkLst>
            <pc:docMk/>
            <pc:sldMk cId="2574806156" sldId="2146849611"/>
            <ac:spMk id="2852" creationId="{8371D477-482C-4CBD-9BC1-D22A21B7B1BB}"/>
          </ac:spMkLst>
        </pc:spChg>
        <pc:spChg chg="mod">
          <ac:chgData name="Lars Boe Riber" userId="a0746655-6c86-46e8-9fa0-3fdc9fc77da6" providerId="ADAL" clId="{4E480DD1-6EB6-40E9-AA5D-F0885641F18B}" dt="2022-11-18T10:27:07.965" v="854" actId="790"/>
          <ac:spMkLst>
            <pc:docMk/>
            <pc:sldMk cId="2574806156" sldId="2146849611"/>
            <ac:spMk id="2853" creationId="{620A2C1E-D4AC-4A5D-A649-5B920603E8ED}"/>
          </ac:spMkLst>
        </pc:spChg>
        <pc:spChg chg="mod">
          <ac:chgData name="Lars Boe Riber" userId="a0746655-6c86-46e8-9fa0-3fdc9fc77da6" providerId="ADAL" clId="{4E480DD1-6EB6-40E9-AA5D-F0885641F18B}" dt="2022-11-18T10:27:07.966" v="855" actId="790"/>
          <ac:spMkLst>
            <pc:docMk/>
            <pc:sldMk cId="2574806156" sldId="2146849611"/>
            <ac:spMk id="2854" creationId="{B8F34EB9-FA16-40BB-8945-DCFF849E460A}"/>
          </ac:spMkLst>
        </pc:spChg>
      </pc:sldChg>
      <pc:sldChg chg="modSp mod">
        <pc:chgData name="Lars Boe Riber" userId="a0746655-6c86-46e8-9fa0-3fdc9fc77da6" providerId="ADAL" clId="{4E480DD1-6EB6-40E9-AA5D-F0885641F18B}" dt="2022-11-18T10:27:07.986" v="872" actId="790"/>
        <pc:sldMkLst>
          <pc:docMk/>
          <pc:sldMk cId="3692277136" sldId="2146849612"/>
        </pc:sldMkLst>
        <pc:spChg chg="mod">
          <ac:chgData name="Lars Boe Riber" userId="a0746655-6c86-46e8-9fa0-3fdc9fc77da6" providerId="ADAL" clId="{4E480DD1-6EB6-40E9-AA5D-F0885641F18B}" dt="2022-11-18T10:27:07.984" v="870" actId="790"/>
          <ac:spMkLst>
            <pc:docMk/>
            <pc:sldMk cId="3692277136" sldId="2146849612"/>
            <ac:spMk id="2" creationId="{ECA04173-CF48-4FEB-A624-FCA9BC2A8662}"/>
          </ac:spMkLst>
        </pc:spChg>
        <pc:spChg chg="mod">
          <ac:chgData name="Lars Boe Riber" userId="a0746655-6c86-46e8-9fa0-3fdc9fc77da6" providerId="ADAL" clId="{4E480DD1-6EB6-40E9-AA5D-F0885641F18B}" dt="2022-11-18T10:27:07.986" v="872" actId="790"/>
          <ac:spMkLst>
            <pc:docMk/>
            <pc:sldMk cId="3692277136" sldId="2146849612"/>
            <ac:spMk id="7" creationId="{36C4B18A-0758-4DAD-B57B-E5A6BE206099}"/>
          </ac:spMkLst>
        </pc:spChg>
      </pc:sldChg>
      <pc:sldChg chg="modSp mod">
        <pc:chgData name="Lars Boe Riber" userId="a0746655-6c86-46e8-9fa0-3fdc9fc77da6" providerId="ADAL" clId="{4E480DD1-6EB6-40E9-AA5D-F0885641F18B}" dt="2022-11-21T15:35:02.431" v="3483" actId="113"/>
        <pc:sldMkLst>
          <pc:docMk/>
          <pc:sldMk cId="635138456" sldId="2146849613"/>
        </pc:sldMkLst>
        <pc:spChg chg="mod">
          <ac:chgData name="Lars Boe Riber" userId="a0746655-6c86-46e8-9fa0-3fdc9fc77da6" providerId="ADAL" clId="{4E480DD1-6EB6-40E9-AA5D-F0885641F18B}" dt="2022-11-18T10:27:08.002" v="888" actId="790"/>
          <ac:spMkLst>
            <pc:docMk/>
            <pc:sldMk cId="635138456" sldId="2146849613"/>
            <ac:spMk id="2" creationId="{B6F763EE-0553-49D7-AD06-2F72BA2E0850}"/>
          </ac:spMkLst>
        </pc:spChg>
        <pc:spChg chg="mod">
          <ac:chgData name="Lars Boe Riber" userId="a0746655-6c86-46e8-9fa0-3fdc9fc77da6" providerId="ADAL" clId="{4E480DD1-6EB6-40E9-AA5D-F0885641F18B}" dt="2022-11-18T10:27:08.010" v="895" actId="790"/>
          <ac:spMkLst>
            <pc:docMk/>
            <pc:sldMk cId="635138456" sldId="2146849613"/>
            <ac:spMk id="4" creationId="{6A9A7116-CF6A-4877-9B16-6268A79AFDCD}"/>
          </ac:spMkLst>
        </pc:spChg>
        <pc:spChg chg="mod">
          <ac:chgData name="Lars Boe Riber" userId="a0746655-6c86-46e8-9fa0-3fdc9fc77da6" providerId="ADAL" clId="{4E480DD1-6EB6-40E9-AA5D-F0885641F18B}" dt="2022-11-18T10:27:08.009" v="893" actId="790"/>
          <ac:spMkLst>
            <pc:docMk/>
            <pc:sldMk cId="635138456" sldId="2146849613"/>
            <ac:spMk id="5" creationId="{E674344D-1568-4800-9521-8D7B693922CB}"/>
          </ac:spMkLst>
        </pc:spChg>
        <pc:spChg chg="mod">
          <ac:chgData name="Lars Boe Riber" userId="a0746655-6c86-46e8-9fa0-3fdc9fc77da6" providerId="ADAL" clId="{4E480DD1-6EB6-40E9-AA5D-F0885641F18B}" dt="2022-11-18T10:27:08.012" v="897" actId="790"/>
          <ac:spMkLst>
            <pc:docMk/>
            <pc:sldMk cId="635138456" sldId="2146849613"/>
            <ac:spMk id="8" creationId="{E56A51B6-C1A7-4838-B44D-05FE2DBA696B}"/>
          </ac:spMkLst>
        </pc:spChg>
        <pc:spChg chg="mod">
          <ac:chgData name="Lars Boe Riber" userId="a0746655-6c86-46e8-9fa0-3fdc9fc77da6" providerId="ADAL" clId="{4E480DD1-6EB6-40E9-AA5D-F0885641F18B}" dt="2022-11-18T10:27:08.014" v="899" actId="790"/>
          <ac:spMkLst>
            <pc:docMk/>
            <pc:sldMk cId="635138456" sldId="2146849613"/>
            <ac:spMk id="9" creationId="{E234F57E-C6C9-4B2D-ADDE-6420D526D4D4}"/>
          </ac:spMkLst>
        </pc:spChg>
        <pc:spChg chg="mod">
          <ac:chgData name="Lars Boe Riber" userId="a0746655-6c86-46e8-9fa0-3fdc9fc77da6" providerId="ADAL" clId="{4E480DD1-6EB6-40E9-AA5D-F0885641F18B}" dt="2022-11-21T15:35:02.431" v="3483" actId="113"/>
          <ac:spMkLst>
            <pc:docMk/>
            <pc:sldMk cId="635138456" sldId="2146849613"/>
            <ac:spMk id="38" creationId="{31A0B557-2F7C-4B94-A5A2-F7A21780B114}"/>
          </ac:spMkLst>
        </pc:spChg>
      </pc:sldChg>
      <pc:sldChg chg="modSp mod">
        <pc:chgData name="Lars Boe Riber" userId="a0746655-6c86-46e8-9fa0-3fdc9fc77da6" providerId="ADAL" clId="{4E480DD1-6EB6-40E9-AA5D-F0885641F18B}" dt="2022-11-24T18:32:20.710" v="3854" actId="207"/>
        <pc:sldMkLst>
          <pc:docMk/>
          <pc:sldMk cId="2670005573" sldId="2146849614"/>
        </pc:sldMkLst>
        <pc:spChg chg="mod">
          <ac:chgData name="Lars Boe Riber" userId="a0746655-6c86-46e8-9fa0-3fdc9fc77da6" providerId="ADAL" clId="{4E480DD1-6EB6-40E9-AA5D-F0885641F18B}" dt="2022-11-18T10:27:08.016" v="902" actId="790"/>
          <ac:spMkLst>
            <pc:docMk/>
            <pc:sldMk cId="2670005573" sldId="2146849614"/>
            <ac:spMk id="2" creationId="{B6F763EE-0553-49D7-AD06-2F72BA2E0850}"/>
          </ac:spMkLst>
        </pc:spChg>
        <pc:spChg chg="mod">
          <ac:chgData name="Lars Boe Riber" userId="a0746655-6c86-46e8-9fa0-3fdc9fc77da6" providerId="ADAL" clId="{4E480DD1-6EB6-40E9-AA5D-F0885641F18B}" dt="2022-11-18T10:27:08.025" v="915" actId="790"/>
          <ac:spMkLst>
            <pc:docMk/>
            <pc:sldMk cId="2670005573" sldId="2146849614"/>
            <ac:spMk id="3" creationId="{E935D2B9-8A7A-4F23-8ADC-DC57B7099635}"/>
          </ac:spMkLst>
        </pc:spChg>
        <pc:spChg chg="mod">
          <ac:chgData name="Lars Boe Riber" userId="a0746655-6c86-46e8-9fa0-3fdc9fc77da6" providerId="ADAL" clId="{4E480DD1-6EB6-40E9-AA5D-F0885641F18B}" dt="2022-11-18T10:27:08.021" v="907" actId="790"/>
          <ac:spMkLst>
            <pc:docMk/>
            <pc:sldMk cId="2670005573" sldId="2146849614"/>
            <ac:spMk id="4" creationId="{6A9A7116-CF6A-4877-9B16-6268A79AFDCD}"/>
          </ac:spMkLst>
        </pc:spChg>
        <pc:spChg chg="mod">
          <ac:chgData name="Lars Boe Riber" userId="a0746655-6c86-46e8-9fa0-3fdc9fc77da6" providerId="ADAL" clId="{4E480DD1-6EB6-40E9-AA5D-F0885641F18B}" dt="2022-11-24T18:32:20.710" v="3854" actId="207"/>
          <ac:spMkLst>
            <pc:docMk/>
            <pc:sldMk cId="2670005573" sldId="2146849614"/>
            <ac:spMk id="5" creationId="{E674344D-1568-4800-9521-8D7B693922CB}"/>
          </ac:spMkLst>
        </pc:spChg>
        <pc:spChg chg="mod">
          <ac:chgData name="Lars Boe Riber" userId="a0746655-6c86-46e8-9fa0-3fdc9fc77da6" providerId="ADAL" clId="{4E480DD1-6EB6-40E9-AA5D-F0885641F18B}" dt="2022-11-18T10:27:08.023" v="911" actId="790"/>
          <ac:spMkLst>
            <pc:docMk/>
            <pc:sldMk cId="2670005573" sldId="2146849614"/>
            <ac:spMk id="14" creationId="{F39EC336-F82A-4D94-9D42-B72F4E9D8AAF}"/>
          </ac:spMkLst>
        </pc:spChg>
        <pc:spChg chg="mod">
          <ac:chgData name="Lars Boe Riber" userId="a0746655-6c86-46e8-9fa0-3fdc9fc77da6" providerId="ADAL" clId="{4E480DD1-6EB6-40E9-AA5D-F0885641F18B}" dt="2022-11-24T11:57:50.831" v="3834"/>
          <ac:spMkLst>
            <pc:docMk/>
            <pc:sldMk cId="2670005573" sldId="2146849614"/>
            <ac:spMk id="16" creationId="{57585194-B4E6-4901-B3D9-77101023F2D9}"/>
          </ac:spMkLst>
        </pc:spChg>
        <pc:spChg chg="mod">
          <ac:chgData name="Lars Boe Riber" userId="a0746655-6c86-46e8-9fa0-3fdc9fc77da6" providerId="ADAL" clId="{4E480DD1-6EB6-40E9-AA5D-F0885641F18B}" dt="2022-11-18T10:27:08.025" v="914" actId="790"/>
          <ac:spMkLst>
            <pc:docMk/>
            <pc:sldMk cId="2670005573" sldId="2146849614"/>
            <ac:spMk id="21" creationId="{B6203EA0-B72A-449B-8F63-A8DBB1BE7466}"/>
          </ac:spMkLst>
        </pc:spChg>
        <pc:spChg chg="mod">
          <ac:chgData name="Lars Boe Riber" userId="a0746655-6c86-46e8-9fa0-3fdc9fc77da6" providerId="ADAL" clId="{4E480DD1-6EB6-40E9-AA5D-F0885641F18B}" dt="2022-11-18T10:27:08.014" v="900" actId="790"/>
          <ac:spMkLst>
            <pc:docMk/>
            <pc:sldMk cId="2670005573" sldId="2146849614"/>
            <ac:spMk id="22" creationId="{53C390BB-4451-43CC-A5EE-4C09658BA186}"/>
          </ac:spMkLst>
        </pc:spChg>
        <pc:spChg chg="mod">
          <ac:chgData name="Lars Boe Riber" userId="a0746655-6c86-46e8-9fa0-3fdc9fc77da6" providerId="ADAL" clId="{4E480DD1-6EB6-40E9-AA5D-F0885641F18B}" dt="2022-11-21T15:35:37.952" v="3491" actId="313"/>
          <ac:spMkLst>
            <pc:docMk/>
            <pc:sldMk cId="2670005573" sldId="2146849614"/>
            <ac:spMk id="38" creationId="{31A0B557-2F7C-4B94-A5A2-F7A21780B114}"/>
          </ac:spMkLst>
        </pc:spChg>
      </pc:sldChg>
      <pc:sldChg chg="modSp mod">
        <pc:chgData name="Lars Boe Riber" userId="a0746655-6c86-46e8-9fa0-3fdc9fc77da6" providerId="ADAL" clId="{4E480DD1-6EB6-40E9-AA5D-F0885641F18B}" dt="2022-11-24T11:48:07.610" v="3797" actId="207"/>
        <pc:sldMkLst>
          <pc:docMk/>
          <pc:sldMk cId="1252934280" sldId="2146849615"/>
        </pc:sldMkLst>
        <pc:spChg chg="mod">
          <ac:chgData name="Lars Boe Riber" userId="a0746655-6c86-46e8-9fa0-3fdc9fc77da6" providerId="ADAL" clId="{4E480DD1-6EB6-40E9-AA5D-F0885641F18B}" dt="2022-11-18T10:27:08.026" v="917" actId="790"/>
          <ac:spMkLst>
            <pc:docMk/>
            <pc:sldMk cId="1252934280" sldId="2146849615"/>
            <ac:spMk id="2" creationId="{B6F763EE-0553-49D7-AD06-2F72BA2E0850}"/>
          </ac:spMkLst>
        </pc:spChg>
        <pc:spChg chg="mod">
          <ac:chgData name="Lars Boe Riber" userId="a0746655-6c86-46e8-9fa0-3fdc9fc77da6" providerId="ADAL" clId="{4E480DD1-6EB6-40E9-AA5D-F0885641F18B}" dt="2022-11-18T10:27:08.031" v="922" actId="790"/>
          <ac:spMkLst>
            <pc:docMk/>
            <pc:sldMk cId="1252934280" sldId="2146849615"/>
            <ac:spMk id="4" creationId="{6A9A7116-CF6A-4877-9B16-6268A79AFDCD}"/>
          </ac:spMkLst>
        </pc:spChg>
        <pc:spChg chg="mod">
          <ac:chgData name="Lars Boe Riber" userId="a0746655-6c86-46e8-9fa0-3fdc9fc77da6" providerId="ADAL" clId="{4E480DD1-6EB6-40E9-AA5D-F0885641F18B}" dt="2022-11-18T10:27:08.032" v="924" actId="790"/>
          <ac:spMkLst>
            <pc:docMk/>
            <pc:sldMk cId="1252934280" sldId="2146849615"/>
            <ac:spMk id="5" creationId="{E674344D-1568-4800-9521-8D7B693922CB}"/>
          </ac:spMkLst>
        </pc:spChg>
        <pc:spChg chg="mod">
          <ac:chgData name="Lars Boe Riber" userId="a0746655-6c86-46e8-9fa0-3fdc9fc77da6" providerId="ADAL" clId="{4E480DD1-6EB6-40E9-AA5D-F0885641F18B}" dt="2022-11-18T10:27:08.034" v="926" actId="790"/>
          <ac:spMkLst>
            <pc:docMk/>
            <pc:sldMk cId="1252934280" sldId="2146849615"/>
            <ac:spMk id="14" creationId="{F39EC336-F82A-4D94-9D42-B72F4E9D8AAF}"/>
          </ac:spMkLst>
        </pc:spChg>
        <pc:spChg chg="mod">
          <ac:chgData name="Lars Boe Riber" userId="a0746655-6c86-46e8-9fa0-3fdc9fc77da6" providerId="ADAL" clId="{4E480DD1-6EB6-40E9-AA5D-F0885641F18B}" dt="2022-11-18T10:27:08.036" v="928" actId="790"/>
          <ac:spMkLst>
            <pc:docMk/>
            <pc:sldMk cId="1252934280" sldId="2146849615"/>
            <ac:spMk id="16" creationId="{57585194-B4E6-4901-B3D9-77101023F2D9}"/>
          </ac:spMkLst>
        </pc:spChg>
        <pc:spChg chg="mod">
          <ac:chgData name="Lars Boe Riber" userId="a0746655-6c86-46e8-9fa0-3fdc9fc77da6" providerId="ADAL" clId="{4E480DD1-6EB6-40E9-AA5D-F0885641F18B}" dt="2022-11-24T11:48:07.610" v="3797" actId="207"/>
          <ac:spMkLst>
            <pc:docMk/>
            <pc:sldMk cId="1252934280" sldId="2146849615"/>
            <ac:spMk id="38" creationId="{31A0B557-2F7C-4B94-A5A2-F7A21780B114}"/>
          </ac:spMkLst>
        </pc:spChg>
      </pc:sldChg>
      <pc:sldChg chg="modSp mod">
        <pc:chgData name="Lars Boe Riber" userId="a0746655-6c86-46e8-9fa0-3fdc9fc77da6" providerId="ADAL" clId="{4E480DD1-6EB6-40E9-AA5D-F0885641F18B}" dt="2022-11-18T10:27:08.040" v="936" actId="790"/>
        <pc:sldMkLst>
          <pc:docMk/>
          <pc:sldMk cId="3588561201" sldId="2146849616"/>
        </pc:sldMkLst>
        <pc:spChg chg="mod">
          <ac:chgData name="Lars Boe Riber" userId="a0746655-6c86-46e8-9fa0-3fdc9fc77da6" providerId="ADAL" clId="{4E480DD1-6EB6-40E9-AA5D-F0885641F18B}" dt="2022-11-18T10:27:08.037" v="930" actId="790"/>
          <ac:spMkLst>
            <pc:docMk/>
            <pc:sldMk cId="3588561201" sldId="2146849616"/>
            <ac:spMk id="2" creationId="{ECA04173-CF48-4FEB-A624-FCA9BC2A8662}"/>
          </ac:spMkLst>
        </pc:spChg>
        <pc:spChg chg="mod">
          <ac:chgData name="Lars Boe Riber" userId="a0746655-6c86-46e8-9fa0-3fdc9fc77da6" providerId="ADAL" clId="{4E480DD1-6EB6-40E9-AA5D-F0885641F18B}" dt="2022-11-18T10:27:08.038" v="932" actId="790"/>
          <ac:spMkLst>
            <pc:docMk/>
            <pc:sldMk cId="3588561201" sldId="2146849616"/>
            <ac:spMk id="7" creationId="{36C4B18A-0758-4DAD-B57B-E5A6BE206099}"/>
          </ac:spMkLst>
        </pc:spChg>
        <pc:spChg chg="mod">
          <ac:chgData name="Lars Boe Riber" userId="a0746655-6c86-46e8-9fa0-3fdc9fc77da6" providerId="ADAL" clId="{4E480DD1-6EB6-40E9-AA5D-F0885641F18B}" dt="2022-11-18T10:27:08.039" v="934" actId="790"/>
          <ac:spMkLst>
            <pc:docMk/>
            <pc:sldMk cId="3588561201" sldId="2146849616"/>
            <ac:spMk id="51" creationId="{88BCB7A5-896C-400E-8CF4-DBF373CE1587}"/>
          </ac:spMkLst>
        </pc:spChg>
        <pc:spChg chg="mod">
          <ac:chgData name="Lars Boe Riber" userId="a0746655-6c86-46e8-9fa0-3fdc9fc77da6" providerId="ADAL" clId="{4E480DD1-6EB6-40E9-AA5D-F0885641F18B}" dt="2022-11-18T10:27:08.040" v="936" actId="790"/>
          <ac:spMkLst>
            <pc:docMk/>
            <pc:sldMk cId="3588561201" sldId="2146849616"/>
            <ac:spMk id="58" creationId="{70A81755-D1F8-46B3-A799-71E1B51CE805}"/>
          </ac:spMkLst>
        </pc:spChg>
      </pc:sldChg>
      <pc:sldChg chg="addSp delSp modSp mod">
        <pc:chgData name="Lars Boe Riber" userId="a0746655-6c86-46e8-9fa0-3fdc9fc77da6" providerId="ADAL" clId="{4E480DD1-6EB6-40E9-AA5D-F0885641F18B}" dt="2022-11-26T08:56:21.576" v="3873"/>
        <pc:sldMkLst>
          <pc:docMk/>
          <pc:sldMk cId="3184406320" sldId="2146849617"/>
        </pc:sldMkLst>
        <pc:spChg chg="mod">
          <ac:chgData name="Lars Boe Riber" userId="a0746655-6c86-46e8-9fa0-3fdc9fc77da6" providerId="ADAL" clId="{4E480DD1-6EB6-40E9-AA5D-F0885641F18B}" dt="2022-11-18T10:27:08.041" v="938" actId="790"/>
          <ac:spMkLst>
            <pc:docMk/>
            <pc:sldMk cId="3184406320" sldId="2146849617"/>
            <ac:spMk id="2" creationId="{20FCA52E-44CE-4D95-91A5-A01311FA6884}"/>
          </ac:spMkLst>
        </pc:spChg>
        <pc:spChg chg="mod">
          <ac:chgData name="Lars Boe Riber" userId="a0746655-6c86-46e8-9fa0-3fdc9fc77da6" providerId="ADAL" clId="{4E480DD1-6EB6-40E9-AA5D-F0885641F18B}" dt="2022-11-18T10:27:08.042" v="940" actId="790"/>
          <ac:spMkLst>
            <pc:docMk/>
            <pc:sldMk cId="3184406320" sldId="2146849617"/>
            <ac:spMk id="4" creationId="{375FDB22-A8FB-4947-AA74-55C3AFCC9837}"/>
          </ac:spMkLst>
        </pc:spChg>
        <pc:spChg chg="del mod">
          <ac:chgData name="Lars Boe Riber" userId="a0746655-6c86-46e8-9fa0-3fdc9fc77da6" providerId="ADAL" clId="{4E480DD1-6EB6-40E9-AA5D-F0885641F18B}" dt="2022-11-26T08:56:21.165" v="3872" actId="478"/>
          <ac:spMkLst>
            <pc:docMk/>
            <pc:sldMk cId="3184406320" sldId="2146849617"/>
            <ac:spMk id="5" creationId="{BC8AADF3-5901-4F75-B590-33FD0B88DBD2}"/>
          </ac:spMkLst>
        </pc:spChg>
        <pc:spChg chg="del mod">
          <ac:chgData name="Lars Boe Riber" userId="a0746655-6c86-46e8-9fa0-3fdc9fc77da6" providerId="ADAL" clId="{4E480DD1-6EB6-40E9-AA5D-F0885641F18B}" dt="2022-11-26T08:56:21.165" v="3872" actId="478"/>
          <ac:spMkLst>
            <pc:docMk/>
            <pc:sldMk cId="3184406320" sldId="2146849617"/>
            <ac:spMk id="6" creationId="{D1086560-CDAD-46FC-A042-EB085E8F1776}"/>
          </ac:spMkLst>
        </pc:spChg>
        <pc:spChg chg="del mod">
          <ac:chgData name="Lars Boe Riber" userId="a0746655-6c86-46e8-9fa0-3fdc9fc77da6" providerId="ADAL" clId="{4E480DD1-6EB6-40E9-AA5D-F0885641F18B}" dt="2022-11-26T08:56:21.165" v="3872" actId="478"/>
          <ac:spMkLst>
            <pc:docMk/>
            <pc:sldMk cId="3184406320" sldId="2146849617"/>
            <ac:spMk id="7" creationId="{5A081ABB-14DC-485C-947C-3F10DDF5B418}"/>
          </ac:spMkLst>
        </pc:spChg>
        <pc:spChg chg="del mod">
          <ac:chgData name="Lars Boe Riber" userId="a0746655-6c86-46e8-9fa0-3fdc9fc77da6" providerId="ADAL" clId="{4E480DD1-6EB6-40E9-AA5D-F0885641F18B}" dt="2022-11-26T08:56:21.165" v="3872" actId="478"/>
          <ac:spMkLst>
            <pc:docMk/>
            <pc:sldMk cId="3184406320" sldId="2146849617"/>
            <ac:spMk id="8" creationId="{1D856422-EB18-458E-9E69-7201398DB0B0}"/>
          </ac:spMkLst>
        </pc:spChg>
        <pc:spChg chg="del mod">
          <ac:chgData name="Lars Boe Riber" userId="a0746655-6c86-46e8-9fa0-3fdc9fc77da6" providerId="ADAL" clId="{4E480DD1-6EB6-40E9-AA5D-F0885641F18B}" dt="2022-11-26T08:56:21.165" v="3872" actId="478"/>
          <ac:spMkLst>
            <pc:docMk/>
            <pc:sldMk cId="3184406320" sldId="2146849617"/>
            <ac:spMk id="9" creationId="{B2661B24-07AB-45A4-A873-0832A2E606EC}"/>
          </ac:spMkLst>
        </pc:spChg>
        <pc:spChg chg="del mod">
          <ac:chgData name="Lars Boe Riber" userId="a0746655-6c86-46e8-9fa0-3fdc9fc77da6" providerId="ADAL" clId="{4E480DD1-6EB6-40E9-AA5D-F0885641F18B}" dt="2022-11-26T08:56:21.165" v="3872" actId="478"/>
          <ac:spMkLst>
            <pc:docMk/>
            <pc:sldMk cId="3184406320" sldId="2146849617"/>
            <ac:spMk id="10" creationId="{D6C7EAA2-3951-4400-B6E5-58F08DD03333}"/>
          </ac:spMkLst>
        </pc:spChg>
        <pc:spChg chg="del mod">
          <ac:chgData name="Lars Boe Riber" userId="a0746655-6c86-46e8-9fa0-3fdc9fc77da6" providerId="ADAL" clId="{4E480DD1-6EB6-40E9-AA5D-F0885641F18B}" dt="2022-11-26T08:56:21.165" v="3872" actId="478"/>
          <ac:spMkLst>
            <pc:docMk/>
            <pc:sldMk cId="3184406320" sldId="2146849617"/>
            <ac:spMk id="11" creationId="{25E03093-58FB-4E05-B705-1DAB31B000F4}"/>
          </ac:spMkLst>
        </pc:spChg>
        <pc:spChg chg="del mod">
          <ac:chgData name="Lars Boe Riber" userId="a0746655-6c86-46e8-9fa0-3fdc9fc77da6" providerId="ADAL" clId="{4E480DD1-6EB6-40E9-AA5D-F0885641F18B}" dt="2022-11-26T08:56:21.165" v="3872" actId="478"/>
          <ac:spMkLst>
            <pc:docMk/>
            <pc:sldMk cId="3184406320" sldId="2146849617"/>
            <ac:spMk id="12" creationId="{6A72C6F0-BF64-42D6-AF98-06ACAE292801}"/>
          </ac:spMkLst>
        </pc:spChg>
        <pc:spChg chg="del mod">
          <ac:chgData name="Lars Boe Riber" userId="a0746655-6c86-46e8-9fa0-3fdc9fc77da6" providerId="ADAL" clId="{4E480DD1-6EB6-40E9-AA5D-F0885641F18B}" dt="2022-11-26T08:56:21.165" v="3872" actId="478"/>
          <ac:spMkLst>
            <pc:docMk/>
            <pc:sldMk cId="3184406320" sldId="2146849617"/>
            <ac:spMk id="13" creationId="{CD2F8DA2-57A8-4526-86B1-DB4C0573EB66}"/>
          </ac:spMkLst>
        </pc:spChg>
        <pc:spChg chg="del mod">
          <ac:chgData name="Lars Boe Riber" userId="a0746655-6c86-46e8-9fa0-3fdc9fc77da6" providerId="ADAL" clId="{4E480DD1-6EB6-40E9-AA5D-F0885641F18B}" dt="2022-11-26T08:56:21.165" v="3872" actId="478"/>
          <ac:spMkLst>
            <pc:docMk/>
            <pc:sldMk cId="3184406320" sldId="2146849617"/>
            <ac:spMk id="14" creationId="{473537DA-40F5-414F-870E-E672D609FF7E}"/>
          </ac:spMkLst>
        </pc:spChg>
        <pc:spChg chg="del mod">
          <ac:chgData name="Lars Boe Riber" userId="a0746655-6c86-46e8-9fa0-3fdc9fc77da6" providerId="ADAL" clId="{4E480DD1-6EB6-40E9-AA5D-F0885641F18B}" dt="2022-11-26T08:56:21.165" v="3872" actId="478"/>
          <ac:spMkLst>
            <pc:docMk/>
            <pc:sldMk cId="3184406320" sldId="2146849617"/>
            <ac:spMk id="15" creationId="{E996C3D3-5D7B-42D7-BA22-E625C9959D8E}"/>
          </ac:spMkLst>
        </pc:spChg>
        <pc:spChg chg="del mod">
          <ac:chgData name="Lars Boe Riber" userId="a0746655-6c86-46e8-9fa0-3fdc9fc77da6" providerId="ADAL" clId="{4E480DD1-6EB6-40E9-AA5D-F0885641F18B}" dt="2022-11-26T08:56:21.165" v="3872" actId="478"/>
          <ac:spMkLst>
            <pc:docMk/>
            <pc:sldMk cId="3184406320" sldId="2146849617"/>
            <ac:spMk id="17" creationId="{0C30E3CA-A8C1-470C-A977-2152B8EA500D}"/>
          </ac:spMkLst>
        </pc:spChg>
        <pc:spChg chg="del mod">
          <ac:chgData name="Lars Boe Riber" userId="a0746655-6c86-46e8-9fa0-3fdc9fc77da6" providerId="ADAL" clId="{4E480DD1-6EB6-40E9-AA5D-F0885641F18B}" dt="2022-11-26T08:56:21.165" v="3872" actId="478"/>
          <ac:spMkLst>
            <pc:docMk/>
            <pc:sldMk cId="3184406320" sldId="2146849617"/>
            <ac:spMk id="19" creationId="{CB1B2B26-858A-4F4D-95C3-4B98420A6637}"/>
          </ac:spMkLst>
        </pc:spChg>
        <pc:spChg chg="del mod">
          <ac:chgData name="Lars Boe Riber" userId="a0746655-6c86-46e8-9fa0-3fdc9fc77da6" providerId="ADAL" clId="{4E480DD1-6EB6-40E9-AA5D-F0885641F18B}" dt="2022-11-26T08:56:21.165" v="3872" actId="478"/>
          <ac:spMkLst>
            <pc:docMk/>
            <pc:sldMk cId="3184406320" sldId="2146849617"/>
            <ac:spMk id="21" creationId="{8367B23F-ED7D-49AA-8826-7B1B31B5D16D}"/>
          </ac:spMkLst>
        </pc:spChg>
        <pc:spChg chg="del mod">
          <ac:chgData name="Lars Boe Riber" userId="a0746655-6c86-46e8-9fa0-3fdc9fc77da6" providerId="ADAL" clId="{4E480DD1-6EB6-40E9-AA5D-F0885641F18B}" dt="2022-11-26T08:56:21.165" v="3872" actId="478"/>
          <ac:spMkLst>
            <pc:docMk/>
            <pc:sldMk cId="3184406320" sldId="2146849617"/>
            <ac:spMk id="27" creationId="{2DFD2B59-4723-44D0-8466-011A17480F9D}"/>
          </ac:spMkLst>
        </pc:spChg>
        <pc:spChg chg="del mod">
          <ac:chgData name="Lars Boe Riber" userId="a0746655-6c86-46e8-9fa0-3fdc9fc77da6" providerId="ADAL" clId="{4E480DD1-6EB6-40E9-AA5D-F0885641F18B}" dt="2022-11-26T08:56:21.165" v="3872" actId="478"/>
          <ac:spMkLst>
            <pc:docMk/>
            <pc:sldMk cId="3184406320" sldId="2146849617"/>
            <ac:spMk id="28" creationId="{9BC58A28-2D07-45D6-B037-519BCF54D5A8}"/>
          </ac:spMkLst>
        </pc:spChg>
        <pc:spChg chg="del mod">
          <ac:chgData name="Lars Boe Riber" userId="a0746655-6c86-46e8-9fa0-3fdc9fc77da6" providerId="ADAL" clId="{4E480DD1-6EB6-40E9-AA5D-F0885641F18B}" dt="2022-11-26T08:56:21.165" v="3872" actId="478"/>
          <ac:spMkLst>
            <pc:docMk/>
            <pc:sldMk cId="3184406320" sldId="2146849617"/>
            <ac:spMk id="30" creationId="{00475946-5A31-45CE-B6B1-5B5009249340}"/>
          </ac:spMkLst>
        </pc:spChg>
        <pc:spChg chg="del mod">
          <ac:chgData name="Lars Boe Riber" userId="a0746655-6c86-46e8-9fa0-3fdc9fc77da6" providerId="ADAL" clId="{4E480DD1-6EB6-40E9-AA5D-F0885641F18B}" dt="2022-11-26T08:56:21.165" v="3872" actId="478"/>
          <ac:spMkLst>
            <pc:docMk/>
            <pc:sldMk cId="3184406320" sldId="2146849617"/>
            <ac:spMk id="31" creationId="{CED07BE7-C962-4A60-BBAA-5D57128BA939}"/>
          </ac:spMkLst>
        </pc:spChg>
        <pc:spChg chg="del mod">
          <ac:chgData name="Lars Boe Riber" userId="a0746655-6c86-46e8-9fa0-3fdc9fc77da6" providerId="ADAL" clId="{4E480DD1-6EB6-40E9-AA5D-F0885641F18B}" dt="2022-11-26T08:56:21.165" v="3872" actId="478"/>
          <ac:spMkLst>
            <pc:docMk/>
            <pc:sldMk cId="3184406320" sldId="2146849617"/>
            <ac:spMk id="33" creationId="{FE3DBB31-9F9B-4139-8318-FD4C6E62175D}"/>
          </ac:spMkLst>
        </pc:spChg>
        <pc:spChg chg="del mod">
          <ac:chgData name="Lars Boe Riber" userId="a0746655-6c86-46e8-9fa0-3fdc9fc77da6" providerId="ADAL" clId="{4E480DD1-6EB6-40E9-AA5D-F0885641F18B}" dt="2022-11-26T08:56:21.165" v="3872" actId="478"/>
          <ac:spMkLst>
            <pc:docMk/>
            <pc:sldMk cId="3184406320" sldId="2146849617"/>
            <ac:spMk id="35" creationId="{836C1F91-6444-4987-9176-83087DC9D698}"/>
          </ac:spMkLst>
        </pc:spChg>
        <pc:spChg chg="add mod">
          <ac:chgData name="Lars Boe Riber" userId="a0746655-6c86-46e8-9fa0-3fdc9fc77da6" providerId="ADAL" clId="{4E480DD1-6EB6-40E9-AA5D-F0885641F18B}" dt="2022-11-26T08:56:21.576" v="3873"/>
          <ac:spMkLst>
            <pc:docMk/>
            <pc:sldMk cId="3184406320" sldId="2146849617"/>
            <ac:spMk id="45" creationId="{05DD32BE-538A-4AB2-AF94-4AA2A35D091F}"/>
          </ac:spMkLst>
        </pc:spChg>
        <pc:spChg chg="add mod">
          <ac:chgData name="Lars Boe Riber" userId="a0746655-6c86-46e8-9fa0-3fdc9fc77da6" providerId="ADAL" clId="{4E480DD1-6EB6-40E9-AA5D-F0885641F18B}" dt="2022-11-26T08:56:21.576" v="3873"/>
          <ac:spMkLst>
            <pc:docMk/>
            <pc:sldMk cId="3184406320" sldId="2146849617"/>
            <ac:spMk id="46" creationId="{8B0FFDC6-B49B-4DDE-97E8-3047A6D220B1}"/>
          </ac:spMkLst>
        </pc:spChg>
        <pc:spChg chg="add mod">
          <ac:chgData name="Lars Boe Riber" userId="a0746655-6c86-46e8-9fa0-3fdc9fc77da6" providerId="ADAL" clId="{4E480DD1-6EB6-40E9-AA5D-F0885641F18B}" dt="2022-11-26T08:56:21.576" v="3873"/>
          <ac:spMkLst>
            <pc:docMk/>
            <pc:sldMk cId="3184406320" sldId="2146849617"/>
            <ac:spMk id="47" creationId="{9BB38FB5-93D7-4AC1-B0D1-BEDD5F0805E7}"/>
          </ac:spMkLst>
        </pc:spChg>
        <pc:spChg chg="mod">
          <ac:chgData name="Lars Boe Riber" userId="a0746655-6c86-46e8-9fa0-3fdc9fc77da6" providerId="ADAL" clId="{4E480DD1-6EB6-40E9-AA5D-F0885641F18B}" dt="2022-11-18T10:27:08.069" v="979" actId="790"/>
          <ac:spMkLst>
            <pc:docMk/>
            <pc:sldMk cId="3184406320" sldId="2146849617"/>
            <ac:spMk id="48" creationId="{3C91852D-885E-4ABC-B918-1F41E8F1E510}"/>
          </ac:spMkLst>
        </pc:spChg>
        <pc:spChg chg="add mod">
          <ac:chgData name="Lars Boe Riber" userId="a0746655-6c86-46e8-9fa0-3fdc9fc77da6" providerId="ADAL" clId="{4E480DD1-6EB6-40E9-AA5D-F0885641F18B}" dt="2022-11-26T08:56:21.576" v="3873"/>
          <ac:spMkLst>
            <pc:docMk/>
            <pc:sldMk cId="3184406320" sldId="2146849617"/>
            <ac:spMk id="49" creationId="{42305F45-0BC5-4FD7-BE6E-2C4F1D4E29E7}"/>
          </ac:spMkLst>
        </pc:spChg>
        <pc:spChg chg="add mod">
          <ac:chgData name="Lars Boe Riber" userId="a0746655-6c86-46e8-9fa0-3fdc9fc77da6" providerId="ADAL" clId="{4E480DD1-6EB6-40E9-AA5D-F0885641F18B}" dt="2022-11-26T08:56:21.576" v="3873"/>
          <ac:spMkLst>
            <pc:docMk/>
            <pc:sldMk cId="3184406320" sldId="2146849617"/>
            <ac:spMk id="50" creationId="{0A7FB339-A723-4E44-9343-850B08BCE423}"/>
          </ac:spMkLst>
        </pc:spChg>
        <pc:spChg chg="add mod">
          <ac:chgData name="Lars Boe Riber" userId="a0746655-6c86-46e8-9fa0-3fdc9fc77da6" providerId="ADAL" clId="{4E480DD1-6EB6-40E9-AA5D-F0885641F18B}" dt="2022-11-26T08:56:21.576" v="3873"/>
          <ac:spMkLst>
            <pc:docMk/>
            <pc:sldMk cId="3184406320" sldId="2146849617"/>
            <ac:spMk id="51" creationId="{2F92F14D-9A2D-4E5F-85D8-85508EDAF1FE}"/>
          </ac:spMkLst>
        </pc:spChg>
        <pc:spChg chg="add mod">
          <ac:chgData name="Lars Boe Riber" userId="a0746655-6c86-46e8-9fa0-3fdc9fc77da6" providerId="ADAL" clId="{4E480DD1-6EB6-40E9-AA5D-F0885641F18B}" dt="2022-11-26T08:56:21.576" v="3873"/>
          <ac:spMkLst>
            <pc:docMk/>
            <pc:sldMk cId="3184406320" sldId="2146849617"/>
            <ac:spMk id="52" creationId="{EBE748AB-A282-4C66-B8B4-F875F1129179}"/>
          </ac:spMkLst>
        </pc:spChg>
        <pc:spChg chg="add mod">
          <ac:chgData name="Lars Boe Riber" userId="a0746655-6c86-46e8-9fa0-3fdc9fc77da6" providerId="ADAL" clId="{4E480DD1-6EB6-40E9-AA5D-F0885641F18B}" dt="2022-11-26T08:56:21.576" v="3873"/>
          <ac:spMkLst>
            <pc:docMk/>
            <pc:sldMk cId="3184406320" sldId="2146849617"/>
            <ac:spMk id="53" creationId="{34868D81-3479-4A74-BFDF-D881FAB5F268}"/>
          </ac:spMkLst>
        </pc:spChg>
        <pc:spChg chg="add mod">
          <ac:chgData name="Lars Boe Riber" userId="a0746655-6c86-46e8-9fa0-3fdc9fc77da6" providerId="ADAL" clId="{4E480DD1-6EB6-40E9-AA5D-F0885641F18B}" dt="2022-11-26T08:56:21.576" v="3873"/>
          <ac:spMkLst>
            <pc:docMk/>
            <pc:sldMk cId="3184406320" sldId="2146849617"/>
            <ac:spMk id="54" creationId="{FD894A63-455D-4DAD-ACD2-9D7C6A7F2720}"/>
          </ac:spMkLst>
        </pc:spChg>
        <pc:spChg chg="add mod">
          <ac:chgData name="Lars Boe Riber" userId="a0746655-6c86-46e8-9fa0-3fdc9fc77da6" providerId="ADAL" clId="{4E480DD1-6EB6-40E9-AA5D-F0885641F18B}" dt="2022-11-26T08:56:21.576" v="3873"/>
          <ac:spMkLst>
            <pc:docMk/>
            <pc:sldMk cId="3184406320" sldId="2146849617"/>
            <ac:spMk id="56" creationId="{8C073EDD-5882-4B51-987B-F1B2ECD84FF9}"/>
          </ac:spMkLst>
        </pc:spChg>
        <pc:spChg chg="add mod">
          <ac:chgData name="Lars Boe Riber" userId="a0746655-6c86-46e8-9fa0-3fdc9fc77da6" providerId="ADAL" clId="{4E480DD1-6EB6-40E9-AA5D-F0885641F18B}" dt="2022-11-26T08:56:21.576" v="3873"/>
          <ac:spMkLst>
            <pc:docMk/>
            <pc:sldMk cId="3184406320" sldId="2146849617"/>
            <ac:spMk id="58" creationId="{9E10FE66-494A-4409-A441-3A080AB16C08}"/>
          </ac:spMkLst>
        </pc:spChg>
        <pc:spChg chg="add mod">
          <ac:chgData name="Lars Boe Riber" userId="a0746655-6c86-46e8-9fa0-3fdc9fc77da6" providerId="ADAL" clId="{4E480DD1-6EB6-40E9-AA5D-F0885641F18B}" dt="2022-11-26T08:56:21.576" v="3873"/>
          <ac:spMkLst>
            <pc:docMk/>
            <pc:sldMk cId="3184406320" sldId="2146849617"/>
            <ac:spMk id="60" creationId="{6585E9BF-A835-4DA4-9233-9FC16060674E}"/>
          </ac:spMkLst>
        </pc:spChg>
        <pc:spChg chg="add mod">
          <ac:chgData name="Lars Boe Riber" userId="a0746655-6c86-46e8-9fa0-3fdc9fc77da6" providerId="ADAL" clId="{4E480DD1-6EB6-40E9-AA5D-F0885641F18B}" dt="2022-11-26T08:56:21.576" v="3873"/>
          <ac:spMkLst>
            <pc:docMk/>
            <pc:sldMk cId="3184406320" sldId="2146849617"/>
            <ac:spMk id="66" creationId="{E166AECA-CF1E-41A9-8B72-B95F0E105139}"/>
          </ac:spMkLst>
        </pc:spChg>
        <pc:spChg chg="add mod">
          <ac:chgData name="Lars Boe Riber" userId="a0746655-6c86-46e8-9fa0-3fdc9fc77da6" providerId="ADAL" clId="{4E480DD1-6EB6-40E9-AA5D-F0885641F18B}" dt="2022-11-26T08:56:21.576" v="3873"/>
          <ac:spMkLst>
            <pc:docMk/>
            <pc:sldMk cId="3184406320" sldId="2146849617"/>
            <ac:spMk id="67" creationId="{D5B20127-05ED-45B7-8178-30D66055B187}"/>
          </ac:spMkLst>
        </pc:spChg>
        <pc:spChg chg="add mod">
          <ac:chgData name="Lars Boe Riber" userId="a0746655-6c86-46e8-9fa0-3fdc9fc77da6" providerId="ADAL" clId="{4E480DD1-6EB6-40E9-AA5D-F0885641F18B}" dt="2022-11-26T08:56:21.576" v="3873"/>
          <ac:spMkLst>
            <pc:docMk/>
            <pc:sldMk cId="3184406320" sldId="2146849617"/>
            <ac:spMk id="69" creationId="{04A2B56F-488A-4427-9CD5-8B3785A3ADDF}"/>
          </ac:spMkLst>
        </pc:spChg>
        <pc:spChg chg="add mod">
          <ac:chgData name="Lars Boe Riber" userId="a0746655-6c86-46e8-9fa0-3fdc9fc77da6" providerId="ADAL" clId="{4E480DD1-6EB6-40E9-AA5D-F0885641F18B}" dt="2022-11-26T08:56:21.576" v="3873"/>
          <ac:spMkLst>
            <pc:docMk/>
            <pc:sldMk cId="3184406320" sldId="2146849617"/>
            <ac:spMk id="70" creationId="{E154BB77-6724-4A24-98BA-75CD9C72E13A}"/>
          </ac:spMkLst>
        </pc:spChg>
        <pc:spChg chg="add mod">
          <ac:chgData name="Lars Boe Riber" userId="a0746655-6c86-46e8-9fa0-3fdc9fc77da6" providerId="ADAL" clId="{4E480DD1-6EB6-40E9-AA5D-F0885641F18B}" dt="2022-11-26T08:56:21.576" v="3873"/>
          <ac:spMkLst>
            <pc:docMk/>
            <pc:sldMk cId="3184406320" sldId="2146849617"/>
            <ac:spMk id="72" creationId="{213BB0A8-D75D-459E-909E-46A4AAFC8499}"/>
          </ac:spMkLst>
        </pc:spChg>
        <pc:spChg chg="add mod">
          <ac:chgData name="Lars Boe Riber" userId="a0746655-6c86-46e8-9fa0-3fdc9fc77da6" providerId="ADAL" clId="{4E480DD1-6EB6-40E9-AA5D-F0885641F18B}" dt="2022-11-26T08:56:21.576" v="3873"/>
          <ac:spMkLst>
            <pc:docMk/>
            <pc:sldMk cId="3184406320" sldId="2146849617"/>
            <ac:spMk id="74" creationId="{69DFF6D3-96A5-48C8-96D2-311E2768B991}"/>
          </ac:spMkLst>
        </pc:spChg>
        <pc:spChg chg="add mod">
          <ac:chgData name="Lars Boe Riber" userId="a0746655-6c86-46e8-9fa0-3fdc9fc77da6" providerId="ADAL" clId="{4E480DD1-6EB6-40E9-AA5D-F0885641F18B}" dt="2022-11-26T08:56:21.576" v="3873"/>
          <ac:spMkLst>
            <pc:docMk/>
            <pc:sldMk cId="3184406320" sldId="2146849617"/>
            <ac:spMk id="82" creationId="{F568B2FB-73D9-4370-A2F8-01B4B4409CB0}"/>
          </ac:spMkLst>
        </pc:spChg>
        <pc:spChg chg="add mod">
          <ac:chgData name="Lars Boe Riber" userId="a0746655-6c86-46e8-9fa0-3fdc9fc77da6" providerId="ADAL" clId="{4E480DD1-6EB6-40E9-AA5D-F0885641F18B}" dt="2022-11-26T08:56:21.576" v="3873"/>
          <ac:spMkLst>
            <pc:docMk/>
            <pc:sldMk cId="3184406320" sldId="2146849617"/>
            <ac:spMk id="83" creationId="{E882D922-9F18-48A2-A1FD-95D98EA00DEF}"/>
          </ac:spMkLst>
        </pc:spChg>
        <pc:cxnChg chg="del mod">
          <ac:chgData name="Lars Boe Riber" userId="a0746655-6c86-46e8-9fa0-3fdc9fc77da6" providerId="ADAL" clId="{4E480DD1-6EB6-40E9-AA5D-F0885641F18B}" dt="2022-11-26T08:56:21.165" v="3872" actId="478"/>
          <ac:cxnSpMkLst>
            <pc:docMk/>
            <pc:sldMk cId="3184406320" sldId="2146849617"/>
            <ac:cxnSpMk id="16" creationId="{2FA20B05-5FCC-46EC-96CD-6E5F96E97149}"/>
          </ac:cxnSpMkLst>
        </pc:cxnChg>
        <pc:cxnChg chg="del mod">
          <ac:chgData name="Lars Boe Riber" userId="a0746655-6c86-46e8-9fa0-3fdc9fc77da6" providerId="ADAL" clId="{4E480DD1-6EB6-40E9-AA5D-F0885641F18B}" dt="2022-11-26T08:56:21.165" v="3872" actId="478"/>
          <ac:cxnSpMkLst>
            <pc:docMk/>
            <pc:sldMk cId="3184406320" sldId="2146849617"/>
            <ac:cxnSpMk id="18" creationId="{F5033A67-F267-4569-848A-9E571B820D3E}"/>
          </ac:cxnSpMkLst>
        </pc:cxnChg>
        <pc:cxnChg chg="del mod">
          <ac:chgData name="Lars Boe Riber" userId="a0746655-6c86-46e8-9fa0-3fdc9fc77da6" providerId="ADAL" clId="{4E480DD1-6EB6-40E9-AA5D-F0885641F18B}" dt="2022-11-26T08:56:21.165" v="3872" actId="478"/>
          <ac:cxnSpMkLst>
            <pc:docMk/>
            <pc:sldMk cId="3184406320" sldId="2146849617"/>
            <ac:cxnSpMk id="20" creationId="{21F53C55-FEED-4720-946C-533C2538FBBC}"/>
          </ac:cxnSpMkLst>
        </pc:cxnChg>
        <pc:cxnChg chg="del mod">
          <ac:chgData name="Lars Boe Riber" userId="a0746655-6c86-46e8-9fa0-3fdc9fc77da6" providerId="ADAL" clId="{4E480DD1-6EB6-40E9-AA5D-F0885641F18B}" dt="2022-11-26T08:56:21.165" v="3872" actId="478"/>
          <ac:cxnSpMkLst>
            <pc:docMk/>
            <pc:sldMk cId="3184406320" sldId="2146849617"/>
            <ac:cxnSpMk id="22" creationId="{77E44B03-3254-4F63-83AB-868E03FCD57D}"/>
          </ac:cxnSpMkLst>
        </pc:cxnChg>
        <pc:cxnChg chg="del mod">
          <ac:chgData name="Lars Boe Riber" userId="a0746655-6c86-46e8-9fa0-3fdc9fc77da6" providerId="ADAL" clId="{4E480DD1-6EB6-40E9-AA5D-F0885641F18B}" dt="2022-11-26T08:56:21.165" v="3872" actId="478"/>
          <ac:cxnSpMkLst>
            <pc:docMk/>
            <pc:sldMk cId="3184406320" sldId="2146849617"/>
            <ac:cxnSpMk id="23" creationId="{114549C6-8767-45E0-A082-9C2C83137AA7}"/>
          </ac:cxnSpMkLst>
        </pc:cxnChg>
        <pc:cxnChg chg="del mod">
          <ac:chgData name="Lars Boe Riber" userId="a0746655-6c86-46e8-9fa0-3fdc9fc77da6" providerId="ADAL" clId="{4E480DD1-6EB6-40E9-AA5D-F0885641F18B}" dt="2022-11-26T08:56:21.165" v="3872" actId="478"/>
          <ac:cxnSpMkLst>
            <pc:docMk/>
            <pc:sldMk cId="3184406320" sldId="2146849617"/>
            <ac:cxnSpMk id="24" creationId="{C8D1F012-8FAE-482E-A641-AA373BC85700}"/>
          </ac:cxnSpMkLst>
        </pc:cxnChg>
        <pc:cxnChg chg="del mod">
          <ac:chgData name="Lars Boe Riber" userId="a0746655-6c86-46e8-9fa0-3fdc9fc77da6" providerId="ADAL" clId="{4E480DD1-6EB6-40E9-AA5D-F0885641F18B}" dt="2022-11-26T08:56:21.165" v="3872" actId="478"/>
          <ac:cxnSpMkLst>
            <pc:docMk/>
            <pc:sldMk cId="3184406320" sldId="2146849617"/>
            <ac:cxnSpMk id="25" creationId="{5AF0FB52-7AE0-46D2-A9D9-FD03A0333796}"/>
          </ac:cxnSpMkLst>
        </pc:cxnChg>
        <pc:cxnChg chg="del mod">
          <ac:chgData name="Lars Boe Riber" userId="a0746655-6c86-46e8-9fa0-3fdc9fc77da6" providerId="ADAL" clId="{4E480DD1-6EB6-40E9-AA5D-F0885641F18B}" dt="2022-11-26T08:56:21.165" v="3872" actId="478"/>
          <ac:cxnSpMkLst>
            <pc:docMk/>
            <pc:sldMk cId="3184406320" sldId="2146849617"/>
            <ac:cxnSpMk id="26" creationId="{BA3BD29E-8271-4168-8E0A-31B24AF97DA9}"/>
          </ac:cxnSpMkLst>
        </pc:cxnChg>
        <pc:cxnChg chg="del mod">
          <ac:chgData name="Lars Boe Riber" userId="a0746655-6c86-46e8-9fa0-3fdc9fc77da6" providerId="ADAL" clId="{4E480DD1-6EB6-40E9-AA5D-F0885641F18B}" dt="2022-11-26T08:56:21.165" v="3872" actId="478"/>
          <ac:cxnSpMkLst>
            <pc:docMk/>
            <pc:sldMk cId="3184406320" sldId="2146849617"/>
            <ac:cxnSpMk id="29" creationId="{343DEA07-0F78-4740-A701-562E9D985D24}"/>
          </ac:cxnSpMkLst>
        </pc:cxnChg>
        <pc:cxnChg chg="del mod">
          <ac:chgData name="Lars Boe Riber" userId="a0746655-6c86-46e8-9fa0-3fdc9fc77da6" providerId="ADAL" clId="{4E480DD1-6EB6-40E9-AA5D-F0885641F18B}" dt="2022-11-26T08:56:21.165" v="3872" actId="478"/>
          <ac:cxnSpMkLst>
            <pc:docMk/>
            <pc:sldMk cId="3184406320" sldId="2146849617"/>
            <ac:cxnSpMk id="32" creationId="{03C74609-2687-4CA3-A07D-A5A786A502A3}"/>
          </ac:cxnSpMkLst>
        </pc:cxnChg>
        <pc:cxnChg chg="del mod">
          <ac:chgData name="Lars Boe Riber" userId="a0746655-6c86-46e8-9fa0-3fdc9fc77da6" providerId="ADAL" clId="{4E480DD1-6EB6-40E9-AA5D-F0885641F18B}" dt="2022-11-26T08:56:21.165" v="3872" actId="478"/>
          <ac:cxnSpMkLst>
            <pc:docMk/>
            <pc:sldMk cId="3184406320" sldId="2146849617"/>
            <ac:cxnSpMk id="34" creationId="{B2593C39-7D9D-476C-B546-99640D3E5B5E}"/>
          </ac:cxnSpMkLst>
        </pc:cxnChg>
        <pc:cxnChg chg="del mod">
          <ac:chgData name="Lars Boe Riber" userId="a0746655-6c86-46e8-9fa0-3fdc9fc77da6" providerId="ADAL" clId="{4E480DD1-6EB6-40E9-AA5D-F0885641F18B}" dt="2022-11-26T08:56:21.165" v="3872" actId="478"/>
          <ac:cxnSpMkLst>
            <pc:docMk/>
            <pc:sldMk cId="3184406320" sldId="2146849617"/>
            <ac:cxnSpMk id="36" creationId="{BE48FC22-2C13-465F-96B7-E891183AD9BE}"/>
          </ac:cxnSpMkLst>
        </pc:cxnChg>
        <pc:cxnChg chg="del mod">
          <ac:chgData name="Lars Boe Riber" userId="a0746655-6c86-46e8-9fa0-3fdc9fc77da6" providerId="ADAL" clId="{4E480DD1-6EB6-40E9-AA5D-F0885641F18B}" dt="2022-11-26T08:56:21.165" v="3872" actId="478"/>
          <ac:cxnSpMkLst>
            <pc:docMk/>
            <pc:sldMk cId="3184406320" sldId="2146849617"/>
            <ac:cxnSpMk id="37" creationId="{80044332-9662-4455-AB55-CBCC57AC44CC}"/>
          </ac:cxnSpMkLst>
        </pc:cxnChg>
        <pc:cxnChg chg="del">
          <ac:chgData name="Lars Boe Riber" userId="a0746655-6c86-46e8-9fa0-3fdc9fc77da6" providerId="ADAL" clId="{4E480DD1-6EB6-40E9-AA5D-F0885641F18B}" dt="2022-11-26T08:56:21.165" v="3872" actId="478"/>
          <ac:cxnSpMkLst>
            <pc:docMk/>
            <pc:sldMk cId="3184406320" sldId="2146849617"/>
            <ac:cxnSpMk id="38" creationId="{D43E2A42-8FBC-4E22-91E0-3B9AD063AA5E}"/>
          </ac:cxnSpMkLst>
        </pc:cxnChg>
        <pc:cxnChg chg="del">
          <ac:chgData name="Lars Boe Riber" userId="a0746655-6c86-46e8-9fa0-3fdc9fc77da6" providerId="ADAL" clId="{4E480DD1-6EB6-40E9-AA5D-F0885641F18B}" dt="2022-11-26T08:56:21.165" v="3872" actId="478"/>
          <ac:cxnSpMkLst>
            <pc:docMk/>
            <pc:sldMk cId="3184406320" sldId="2146849617"/>
            <ac:cxnSpMk id="39" creationId="{04A48578-6589-455F-9B6D-AE4300232A9B}"/>
          </ac:cxnSpMkLst>
        </pc:cxnChg>
        <pc:cxnChg chg="del">
          <ac:chgData name="Lars Boe Riber" userId="a0746655-6c86-46e8-9fa0-3fdc9fc77da6" providerId="ADAL" clId="{4E480DD1-6EB6-40E9-AA5D-F0885641F18B}" dt="2022-11-26T08:56:21.165" v="3872" actId="478"/>
          <ac:cxnSpMkLst>
            <pc:docMk/>
            <pc:sldMk cId="3184406320" sldId="2146849617"/>
            <ac:cxnSpMk id="40" creationId="{7FB89BAF-4F86-424F-863E-03A2083685EA}"/>
          </ac:cxnSpMkLst>
        </pc:cxnChg>
        <pc:cxnChg chg="del">
          <ac:chgData name="Lars Boe Riber" userId="a0746655-6c86-46e8-9fa0-3fdc9fc77da6" providerId="ADAL" clId="{4E480DD1-6EB6-40E9-AA5D-F0885641F18B}" dt="2022-11-26T08:56:21.165" v="3872" actId="478"/>
          <ac:cxnSpMkLst>
            <pc:docMk/>
            <pc:sldMk cId="3184406320" sldId="2146849617"/>
            <ac:cxnSpMk id="41" creationId="{35AD9E90-9AC1-4E25-8E60-4D9B5C51CEFA}"/>
          </ac:cxnSpMkLst>
        </pc:cxnChg>
        <pc:cxnChg chg="del">
          <ac:chgData name="Lars Boe Riber" userId="a0746655-6c86-46e8-9fa0-3fdc9fc77da6" providerId="ADAL" clId="{4E480DD1-6EB6-40E9-AA5D-F0885641F18B}" dt="2022-11-26T08:56:21.165" v="3872" actId="478"/>
          <ac:cxnSpMkLst>
            <pc:docMk/>
            <pc:sldMk cId="3184406320" sldId="2146849617"/>
            <ac:cxnSpMk id="42" creationId="{C3D363DD-4BFA-4335-926F-572FBA597A01}"/>
          </ac:cxnSpMkLst>
        </pc:cxnChg>
        <pc:cxnChg chg="del">
          <ac:chgData name="Lars Boe Riber" userId="a0746655-6c86-46e8-9fa0-3fdc9fc77da6" providerId="ADAL" clId="{4E480DD1-6EB6-40E9-AA5D-F0885641F18B}" dt="2022-11-26T08:56:21.165" v="3872" actId="478"/>
          <ac:cxnSpMkLst>
            <pc:docMk/>
            <pc:sldMk cId="3184406320" sldId="2146849617"/>
            <ac:cxnSpMk id="43" creationId="{0191F768-C764-4FA9-A963-91551219A950}"/>
          </ac:cxnSpMkLst>
        </pc:cxnChg>
        <pc:cxnChg chg="del">
          <ac:chgData name="Lars Boe Riber" userId="a0746655-6c86-46e8-9fa0-3fdc9fc77da6" providerId="ADAL" clId="{4E480DD1-6EB6-40E9-AA5D-F0885641F18B}" dt="2022-11-26T08:56:21.165" v="3872" actId="478"/>
          <ac:cxnSpMkLst>
            <pc:docMk/>
            <pc:sldMk cId="3184406320" sldId="2146849617"/>
            <ac:cxnSpMk id="44" creationId="{383A352B-28A3-42A6-8516-3B880472EAF3}"/>
          </ac:cxnSpMkLst>
        </pc:cxnChg>
        <pc:cxnChg chg="add mod">
          <ac:chgData name="Lars Boe Riber" userId="a0746655-6c86-46e8-9fa0-3fdc9fc77da6" providerId="ADAL" clId="{4E480DD1-6EB6-40E9-AA5D-F0885641F18B}" dt="2022-11-26T08:56:21.576" v="3873"/>
          <ac:cxnSpMkLst>
            <pc:docMk/>
            <pc:sldMk cId="3184406320" sldId="2146849617"/>
            <ac:cxnSpMk id="55" creationId="{1E1E5B8B-E2EB-4B70-8C04-6D9CDDCFA5C3}"/>
          </ac:cxnSpMkLst>
        </pc:cxnChg>
        <pc:cxnChg chg="add mod">
          <ac:chgData name="Lars Boe Riber" userId="a0746655-6c86-46e8-9fa0-3fdc9fc77da6" providerId="ADAL" clId="{4E480DD1-6EB6-40E9-AA5D-F0885641F18B}" dt="2022-11-26T08:56:21.576" v="3873"/>
          <ac:cxnSpMkLst>
            <pc:docMk/>
            <pc:sldMk cId="3184406320" sldId="2146849617"/>
            <ac:cxnSpMk id="57" creationId="{C150FC43-8565-408E-A125-68E26B67C91B}"/>
          </ac:cxnSpMkLst>
        </pc:cxnChg>
        <pc:cxnChg chg="add mod">
          <ac:chgData name="Lars Boe Riber" userId="a0746655-6c86-46e8-9fa0-3fdc9fc77da6" providerId="ADAL" clId="{4E480DD1-6EB6-40E9-AA5D-F0885641F18B}" dt="2022-11-26T08:56:21.576" v="3873"/>
          <ac:cxnSpMkLst>
            <pc:docMk/>
            <pc:sldMk cId="3184406320" sldId="2146849617"/>
            <ac:cxnSpMk id="59" creationId="{B2FD34B4-5EB9-42F5-A226-327577032FC5}"/>
          </ac:cxnSpMkLst>
        </pc:cxnChg>
        <pc:cxnChg chg="add mod">
          <ac:chgData name="Lars Boe Riber" userId="a0746655-6c86-46e8-9fa0-3fdc9fc77da6" providerId="ADAL" clId="{4E480DD1-6EB6-40E9-AA5D-F0885641F18B}" dt="2022-11-26T08:56:21.576" v="3873"/>
          <ac:cxnSpMkLst>
            <pc:docMk/>
            <pc:sldMk cId="3184406320" sldId="2146849617"/>
            <ac:cxnSpMk id="61" creationId="{D7233C83-5168-47E7-A7BB-09078C451F0F}"/>
          </ac:cxnSpMkLst>
        </pc:cxnChg>
        <pc:cxnChg chg="add mod">
          <ac:chgData name="Lars Boe Riber" userId="a0746655-6c86-46e8-9fa0-3fdc9fc77da6" providerId="ADAL" clId="{4E480DD1-6EB6-40E9-AA5D-F0885641F18B}" dt="2022-11-26T08:56:21.576" v="3873"/>
          <ac:cxnSpMkLst>
            <pc:docMk/>
            <pc:sldMk cId="3184406320" sldId="2146849617"/>
            <ac:cxnSpMk id="62" creationId="{D8DA9874-B1DF-4B19-9D70-3215321D0502}"/>
          </ac:cxnSpMkLst>
        </pc:cxnChg>
        <pc:cxnChg chg="add mod">
          <ac:chgData name="Lars Boe Riber" userId="a0746655-6c86-46e8-9fa0-3fdc9fc77da6" providerId="ADAL" clId="{4E480DD1-6EB6-40E9-AA5D-F0885641F18B}" dt="2022-11-26T08:56:21.576" v="3873"/>
          <ac:cxnSpMkLst>
            <pc:docMk/>
            <pc:sldMk cId="3184406320" sldId="2146849617"/>
            <ac:cxnSpMk id="63" creationId="{F213C478-E08E-4968-80D2-25FF216F626F}"/>
          </ac:cxnSpMkLst>
        </pc:cxnChg>
        <pc:cxnChg chg="add mod">
          <ac:chgData name="Lars Boe Riber" userId="a0746655-6c86-46e8-9fa0-3fdc9fc77da6" providerId="ADAL" clId="{4E480DD1-6EB6-40E9-AA5D-F0885641F18B}" dt="2022-11-26T08:56:21.576" v="3873"/>
          <ac:cxnSpMkLst>
            <pc:docMk/>
            <pc:sldMk cId="3184406320" sldId="2146849617"/>
            <ac:cxnSpMk id="64" creationId="{8EC638B3-1028-49EB-886E-9DD250E19110}"/>
          </ac:cxnSpMkLst>
        </pc:cxnChg>
        <pc:cxnChg chg="add mod">
          <ac:chgData name="Lars Boe Riber" userId="a0746655-6c86-46e8-9fa0-3fdc9fc77da6" providerId="ADAL" clId="{4E480DD1-6EB6-40E9-AA5D-F0885641F18B}" dt="2022-11-26T08:56:21.576" v="3873"/>
          <ac:cxnSpMkLst>
            <pc:docMk/>
            <pc:sldMk cId="3184406320" sldId="2146849617"/>
            <ac:cxnSpMk id="65" creationId="{37820700-16F5-4B9E-9D90-680C3FBF6AA0}"/>
          </ac:cxnSpMkLst>
        </pc:cxnChg>
        <pc:cxnChg chg="add mod">
          <ac:chgData name="Lars Boe Riber" userId="a0746655-6c86-46e8-9fa0-3fdc9fc77da6" providerId="ADAL" clId="{4E480DD1-6EB6-40E9-AA5D-F0885641F18B}" dt="2022-11-26T08:56:21.576" v="3873"/>
          <ac:cxnSpMkLst>
            <pc:docMk/>
            <pc:sldMk cId="3184406320" sldId="2146849617"/>
            <ac:cxnSpMk id="68" creationId="{77258698-F7BD-46BD-85E1-337B438E8EC3}"/>
          </ac:cxnSpMkLst>
        </pc:cxnChg>
        <pc:cxnChg chg="add mod">
          <ac:chgData name="Lars Boe Riber" userId="a0746655-6c86-46e8-9fa0-3fdc9fc77da6" providerId="ADAL" clId="{4E480DD1-6EB6-40E9-AA5D-F0885641F18B}" dt="2022-11-26T08:56:21.576" v="3873"/>
          <ac:cxnSpMkLst>
            <pc:docMk/>
            <pc:sldMk cId="3184406320" sldId="2146849617"/>
            <ac:cxnSpMk id="71" creationId="{E26D83E0-D4F1-4E9D-9A15-E2D9F33891B8}"/>
          </ac:cxnSpMkLst>
        </pc:cxnChg>
        <pc:cxnChg chg="add mod">
          <ac:chgData name="Lars Boe Riber" userId="a0746655-6c86-46e8-9fa0-3fdc9fc77da6" providerId="ADAL" clId="{4E480DD1-6EB6-40E9-AA5D-F0885641F18B}" dt="2022-11-26T08:56:21.576" v="3873"/>
          <ac:cxnSpMkLst>
            <pc:docMk/>
            <pc:sldMk cId="3184406320" sldId="2146849617"/>
            <ac:cxnSpMk id="73" creationId="{8E03CE52-F96C-4121-A2C9-5CA7382F22D0}"/>
          </ac:cxnSpMkLst>
        </pc:cxnChg>
        <pc:cxnChg chg="add mod">
          <ac:chgData name="Lars Boe Riber" userId="a0746655-6c86-46e8-9fa0-3fdc9fc77da6" providerId="ADAL" clId="{4E480DD1-6EB6-40E9-AA5D-F0885641F18B}" dt="2022-11-26T08:56:21.576" v="3873"/>
          <ac:cxnSpMkLst>
            <pc:docMk/>
            <pc:sldMk cId="3184406320" sldId="2146849617"/>
            <ac:cxnSpMk id="75" creationId="{F989750E-BDBB-4D93-8345-DBE8285223BA}"/>
          </ac:cxnSpMkLst>
        </pc:cxnChg>
        <pc:cxnChg chg="add mod">
          <ac:chgData name="Lars Boe Riber" userId="a0746655-6c86-46e8-9fa0-3fdc9fc77da6" providerId="ADAL" clId="{4E480DD1-6EB6-40E9-AA5D-F0885641F18B}" dt="2022-11-26T08:56:21.576" v="3873"/>
          <ac:cxnSpMkLst>
            <pc:docMk/>
            <pc:sldMk cId="3184406320" sldId="2146849617"/>
            <ac:cxnSpMk id="76" creationId="{7FC3286B-4273-4068-B660-33EBF9643513}"/>
          </ac:cxnSpMkLst>
        </pc:cxnChg>
        <pc:cxnChg chg="add mod">
          <ac:chgData name="Lars Boe Riber" userId="a0746655-6c86-46e8-9fa0-3fdc9fc77da6" providerId="ADAL" clId="{4E480DD1-6EB6-40E9-AA5D-F0885641F18B}" dt="2022-11-26T08:56:21.576" v="3873"/>
          <ac:cxnSpMkLst>
            <pc:docMk/>
            <pc:sldMk cId="3184406320" sldId="2146849617"/>
            <ac:cxnSpMk id="77" creationId="{C33E24BD-C75A-4329-9B01-208184C8C374}"/>
          </ac:cxnSpMkLst>
        </pc:cxnChg>
        <pc:cxnChg chg="add mod">
          <ac:chgData name="Lars Boe Riber" userId="a0746655-6c86-46e8-9fa0-3fdc9fc77da6" providerId="ADAL" clId="{4E480DD1-6EB6-40E9-AA5D-F0885641F18B}" dt="2022-11-26T08:56:21.576" v="3873"/>
          <ac:cxnSpMkLst>
            <pc:docMk/>
            <pc:sldMk cId="3184406320" sldId="2146849617"/>
            <ac:cxnSpMk id="78" creationId="{E8F7C4EE-9C2F-4A83-ACC7-C6432B751E94}"/>
          </ac:cxnSpMkLst>
        </pc:cxnChg>
        <pc:cxnChg chg="add mod">
          <ac:chgData name="Lars Boe Riber" userId="a0746655-6c86-46e8-9fa0-3fdc9fc77da6" providerId="ADAL" clId="{4E480DD1-6EB6-40E9-AA5D-F0885641F18B}" dt="2022-11-26T08:56:21.576" v="3873"/>
          <ac:cxnSpMkLst>
            <pc:docMk/>
            <pc:sldMk cId="3184406320" sldId="2146849617"/>
            <ac:cxnSpMk id="79" creationId="{3B3447DB-C61F-4780-8354-B51DF7440B9E}"/>
          </ac:cxnSpMkLst>
        </pc:cxnChg>
        <pc:cxnChg chg="add mod">
          <ac:chgData name="Lars Boe Riber" userId="a0746655-6c86-46e8-9fa0-3fdc9fc77da6" providerId="ADAL" clId="{4E480DD1-6EB6-40E9-AA5D-F0885641F18B}" dt="2022-11-26T08:56:21.576" v="3873"/>
          <ac:cxnSpMkLst>
            <pc:docMk/>
            <pc:sldMk cId="3184406320" sldId="2146849617"/>
            <ac:cxnSpMk id="80" creationId="{C5FAB125-5079-4BC2-BE34-2B1D94B8190D}"/>
          </ac:cxnSpMkLst>
        </pc:cxnChg>
        <pc:cxnChg chg="add mod">
          <ac:chgData name="Lars Boe Riber" userId="a0746655-6c86-46e8-9fa0-3fdc9fc77da6" providerId="ADAL" clId="{4E480DD1-6EB6-40E9-AA5D-F0885641F18B}" dt="2022-11-26T08:56:21.576" v="3873"/>
          <ac:cxnSpMkLst>
            <pc:docMk/>
            <pc:sldMk cId="3184406320" sldId="2146849617"/>
            <ac:cxnSpMk id="81" creationId="{78C2F2E0-06D8-4BC8-8ECD-9B4F3FB1AFD8}"/>
          </ac:cxnSpMkLst>
        </pc:cxnChg>
        <pc:cxnChg chg="add mod">
          <ac:chgData name="Lars Boe Riber" userId="a0746655-6c86-46e8-9fa0-3fdc9fc77da6" providerId="ADAL" clId="{4E480DD1-6EB6-40E9-AA5D-F0885641F18B}" dt="2022-11-26T08:56:21.576" v="3873"/>
          <ac:cxnSpMkLst>
            <pc:docMk/>
            <pc:sldMk cId="3184406320" sldId="2146849617"/>
            <ac:cxnSpMk id="84" creationId="{5A764CAD-4DB0-4E7A-B75F-FBA92F58551B}"/>
          </ac:cxnSpMkLst>
        </pc:cxnChg>
        <pc:cxnChg chg="add mod">
          <ac:chgData name="Lars Boe Riber" userId="a0746655-6c86-46e8-9fa0-3fdc9fc77da6" providerId="ADAL" clId="{4E480DD1-6EB6-40E9-AA5D-F0885641F18B}" dt="2022-11-26T08:56:21.576" v="3873"/>
          <ac:cxnSpMkLst>
            <pc:docMk/>
            <pc:sldMk cId="3184406320" sldId="2146849617"/>
            <ac:cxnSpMk id="85" creationId="{E60D6D8A-9446-43CA-B2C3-34E848894F7E}"/>
          </ac:cxnSpMkLst>
        </pc:cxnChg>
      </pc:sldChg>
      <pc:sldChg chg="modSp del mod">
        <pc:chgData name="Lars Boe Riber" userId="a0746655-6c86-46e8-9fa0-3fdc9fc77da6" providerId="ADAL" clId="{4E480DD1-6EB6-40E9-AA5D-F0885641F18B}" dt="2022-11-26T08:56:51.790" v="3876" actId="47"/>
        <pc:sldMkLst>
          <pc:docMk/>
          <pc:sldMk cId="2346694034" sldId="2146849618"/>
        </pc:sldMkLst>
        <pc:spChg chg="mod">
          <ac:chgData name="Lars Boe Riber" userId="a0746655-6c86-46e8-9fa0-3fdc9fc77da6" providerId="ADAL" clId="{4E480DD1-6EB6-40E9-AA5D-F0885641F18B}" dt="2022-11-18T10:27:08.070" v="981" actId="790"/>
          <ac:spMkLst>
            <pc:docMk/>
            <pc:sldMk cId="2346694034" sldId="2146849618"/>
            <ac:spMk id="2" creationId="{AE49A06D-7930-4B5F-B5A0-41474ABABEED}"/>
          </ac:spMkLst>
        </pc:spChg>
        <pc:spChg chg="mod">
          <ac:chgData name="Lars Boe Riber" userId="a0746655-6c86-46e8-9fa0-3fdc9fc77da6" providerId="ADAL" clId="{4E480DD1-6EB6-40E9-AA5D-F0885641F18B}" dt="2022-11-18T10:27:08.072" v="983" actId="790"/>
          <ac:spMkLst>
            <pc:docMk/>
            <pc:sldMk cId="2346694034" sldId="2146849618"/>
            <ac:spMk id="4" creationId="{BE8EDE4A-135A-4B72-839B-A9C233FC4C97}"/>
          </ac:spMkLst>
        </pc:spChg>
        <pc:spChg chg="mod">
          <ac:chgData name="Lars Boe Riber" userId="a0746655-6c86-46e8-9fa0-3fdc9fc77da6" providerId="ADAL" clId="{4E480DD1-6EB6-40E9-AA5D-F0885641F18B}" dt="2022-11-18T10:27:08.072" v="985" actId="790"/>
          <ac:spMkLst>
            <pc:docMk/>
            <pc:sldMk cId="2346694034" sldId="2146849618"/>
            <ac:spMk id="6" creationId="{E58F7D17-D675-4F3B-920D-8E6AC7755896}"/>
          </ac:spMkLst>
        </pc:spChg>
        <pc:spChg chg="mod">
          <ac:chgData name="Lars Boe Riber" userId="a0746655-6c86-46e8-9fa0-3fdc9fc77da6" providerId="ADAL" clId="{4E480DD1-6EB6-40E9-AA5D-F0885641F18B}" dt="2022-11-18T10:27:08.073" v="987" actId="790"/>
          <ac:spMkLst>
            <pc:docMk/>
            <pc:sldMk cId="2346694034" sldId="2146849618"/>
            <ac:spMk id="8" creationId="{08C9B489-1409-48D5-8ECC-87965B2F43FC}"/>
          </ac:spMkLst>
        </pc:spChg>
        <pc:spChg chg="mod">
          <ac:chgData name="Lars Boe Riber" userId="a0746655-6c86-46e8-9fa0-3fdc9fc77da6" providerId="ADAL" clId="{4E480DD1-6EB6-40E9-AA5D-F0885641F18B}" dt="2022-11-18T10:27:08.075" v="989" actId="790"/>
          <ac:spMkLst>
            <pc:docMk/>
            <pc:sldMk cId="2346694034" sldId="2146849618"/>
            <ac:spMk id="9" creationId="{73EF7EE2-4EE4-4B36-AA54-473087E499C5}"/>
          </ac:spMkLst>
        </pc:spChg>
        <pc:spChg chg="mod">
          <ac:chgData name="Lars Boe Riber" userId="a0746655-6c86-46e8-9fa0-3fdc9fc77da6" providerId="ADAL" clId="{4E480DD1-6EB6-40E9-AA5D-F0885641F18B}" dt="2022-11-18T10:27:08.076" v="991" actId="790"/>
          <ac:spMkLst>
            <pc:docMk/>
            <pc:sldMk cId="2346694034" sldId="2146849618"/>
            <ac:spMk id="10" creationId="{55F11466-F485-4E2D-9BD2-D889A29A7DB2}"/>
          </ac:spMkLst>
        </pc:spChg>
        <pc:spChg chg="mod">
          <ac:chgData name="Lars Boe Riber" userId="a0746655-6c86-46e8-9fa0-3fdc9fc77da6" providerId="ADAL" clId="{4E480DD1-6EB6-40E9-AA5D-F0885641F18B}" dt="2022-11-18T10:27:08.077" v="993" actId="790"/>
          <ac:spMkLst>
            <pc:docMk/>
            <pc:sldMk cId="2346694034" sldId="2146849618"/>
            <ac:spMk id="11" creationId="{23F52D40-F2E1-4152-AE74-33FBAB9A4D93}"/>
          </ac:spMkLst>
        </pc:spChg>
        <pc:spChg chg="mod">
          <ac:chgData name="Lars Boe Riber" userId="a0746655-6c86-46e8-9fa0-3fdc9fc77da6" providerId="ADAL" clId="{4E480DD1-6EB6-40E9-AA5D-F0885641F18B}" dt="2022-11-18T10:27:08.078" v="995" actId="790"/>
          <ac:spMkLst>
            <pc:docMk/>
            <pc:sldMk cId="2346694034" sldId="2146849618"/>
            <ac:spMk id="12" creationId="{4520221B-705C-41F4-8BAB-4560FB91E9CD}"/>
          </ac:spMkLst>
        </pc:spChg>
        <pc:spChg chg="mod">
          <ac:chgData name="Lars Boe Riber" userId="a0746655-6c86-46e8-9fa0-3fdc9fc77da6" providerId="ADAL" clId="{4E480DD1-6EB6-40E9-AA5D-F0885641F18B}" dt="2022-11-18T10:27:08.080" v="998" actId="790"/>
          <ac:spMkLst>
            <pc:docMk/>
            <pc:sldMk cId="2346694034" sldId="2146849618"/>
            <ac:spMk id="13" creationId="{CF6EE739-19AE-4CB4-B835-75FDA532F0D9}"/>
          </ac:spMkLst>
        </pc:spChg>
        <pc:spChg chg="mod">
          <ac:chgData name="Lars Boe Riber" userId="a0746655-6c86-46e8-9fa0-3fdc9fc77da6" providerId="ADAL" clId="{4E480DD1-6EB6-40E9-AA5D-F0885641F18B}" dt="2022-11-18T10:27:08.080" v="999" actId="790"/>
          <ac:spMkLst>
            <pc:docMk/>
            <pc:sldMk cId="2346694034" sldId="2146849618"/>
            <ac:spMk id="20" creationId="{C181F98F-60FB-4A50-9587-478CF5DE76B4}"/>
          </ac:spMkLst>
        </pc:spChg>
        <pc:spChg chg="mod">
          <ac:chgData name="Lars Boe Riber" userId="a0746655-6c86-46e8-9fa0-3fdc9fc77da6" providerId="ADAL" clId="{4E480DD1-6EB6-40E9-AA5D-F0885641F18B}" dt="2022-11-18T10:27:08.081" v="1000" actId="790"/>
          <ac:spMkLst>
            <pc:docMk/>
            <pc:sldMk cId="2346694034" sldId="2146849618"/>
            <ac:spMk id="23" creationId="{CE88B6C1-03CC-4840-909F-5BE632993630}"/>
          </ac:spMkLst>
        </pc:spChg>
        <pc:spChg chg="mod">
          <ac:chgData name="Lars Boe Riber" userId="a0746655-6c86-46e8-9fa0-3fdc9fc77da6" providerId="ADAL" clId="{4E480DD1-6EB6-40E9-AA5D-F0885641F18B}" dt="2022-11-18T10:27:08.082" v="1001" actId="790"/>
          <ac:spMkLst>
            <pc:docMk/>
            <pc:sldMk cId="2346694034" sldId="2146849618"/>
            <ac:spMk id="26" creationId="{232F18A2-980E-47B3-ABA1-F1F8458563A3}"/>
          </ac:spMkLst>
        </pc:spChg>
        <pc:spChg chg="mod">
          <ac:chgData name="Lars Boe Riber" userId="a0746655-6c86-46e8-9fa0-3fdc9fc77da6" providerId="ADAL" clId="{4E480DD1-6EB6-40E9-AA5D-F0885641F18B}" dt="2022-11-18T10:27:08.082" v="1002" actId="790"/>
          <ac:spMkLst>
            <pc:docMk/>
            <pc:sldMk cId="2346694034" sldId="2146849618"/>
            <ac:spMk id="29" creationId="{96596107-3CE4-4F01-BA92-4D03DF68DF68}"/>
          </ac:spMkLst>
        </pc:spChg>
        <pc:spChg chg="mod">
          <ac:chgData name="Lars Boe Riber" userId="a0746655-6c86-46e8-9fa0-3fdc9fc77da6" providerId="ADAL" clId="{4E480DD1-6EB6-40E9-AA5D-F0885641F18B}" dt="2022-11-18T10:27:08.083" v="1003" actId="790"/>
          <ac:spMkLst>
            <pc:docMk/>
            <pc:sldMk cId="2346694034" sldId="2146849618"/>
            <ac:spMk id="32" creationId="{05A466C6-EAE9-43AA-8843-8D8157CF803B}"/>
          </ac:spMkLst>
        </pc:spChg>
        <pc:spChg chg="mod">
          <ac:chgData name="Lars Boe Riber" userId="a0746655-6c86-46e8-9fa0-3fdc9fc77da6" providerId="ADAL" clId="{4E480DD1-6EB6-40E9-AA5D-F0885641F18B}" dt="2022-11-18T10:27:08.084" v="1004" actId="790"/>
          <ac:spMkLst>
            <pc:docMk/>
            <pc:sldMk cId="2346694034" sldId="2146849618"/>
            <ac:spMk id="35" creationId="{C57E2660-3451-489A-8251-49D17A3CA844}"/>
          </ac:spMkLst>
        </pc:spChg>
        <pc:spChg chg="mod">
          <ac:chgData name="Lars Boe Riber" userId="a0746655-6c86-46e8-9fa0-3fdc9fc77da6" providerId="ADAL" clId="{4E480DD1-6EB6-40E9-AA5D-F0885641F18B}" dt="2022-11-18T10:27:08.090" v="1008" actId="790"/>
          <ac:spMkLst>
            <pc:docMk/>
            <pc:sldMk cId="2346694034" sldId="2146849618"/>
            <ac:spMk id="37" creationId="{1CAF4A50-053F-4CA7-B389-DE91934D11BB}"/>
          </ac:spMkLst>
        </pc:spChg>
        <pc:spChg chg="mod">
          <ac:chgData name="Lars Boe Riber" userId="a0746655-6c86-46e8-9fa0-3fdc9fc77da6" providerId="ADAL" clId="{4E480DD1-6EB6-40E9-AA5D-F0885641F18B}" dt="2022-11-18T10:27:08.091" v="1010" actId="790"/>
          <ac:spMkLst>
            <pc:docMk/>
            <pc:sldMk cId="2346694034" sldId="2146849618"/>
            <ac:spMk id="38" creationId="{CE1B5D5F-FAA5-4D1E-963A-1EB455C4238F}"/>
          </ac:spMkLst>
        </pc:spChg>
      </pc:sldChg>
      <pc:sldChg chg="addSp delSp modSp mod">
        <pc:chgData name="Lars Boe Riber" userId="a0746655-6c86-46e8-9fa0-3fdc9fc77da6" providerId="ADAL" clId="{4E480DD1-6EB6-40E9-AA5D-F0885641F18B}" dt="2022-11-24T18:29:55.112" v="3847" actId="1076"/>
        <pc:sldMkLst>
          <pc:docMk/>
          <pc:sldMk cId="3439134311" sldId="2146849619"/>
        </pc:sldMkLst>
        <pc:spChg chg="mod">
          <ac:chgData name="Lars Boe Riber" userId="a0746655-6c86-46e8-9fa0-3fdc9fc77da6" providerId="ADAL" clId="{4E480DD1-6EB6-40E9-AA5D-F0885641F18B}" dt="2022-11-18T10:27:08.092" v="1012" actId="790"/>
          <ac:spMkLst>
            <pc:docMk/>
            <pc:sldMk cId="3439134311" sldId="2146849619"/>
            <ac:spMk id="2" creationId="{BD17B0D4-2555-4F60-BC41-B3FCBE280E4A}"/>
          </ac:spMkLst>
        </pc:spChg>
        <pc:spChg chg="mod">
          <ac:chgData name="Lars Boe Riber" userId="a0746655-6c86-46e8-9fa0-3fdc9fc77da6" providerId="ADAL" clId="{4E480DD1-6EB6-40E9-AA5D-F0885641F18B}" dt="2022-11-18T10:27:08.093" v="1014" actId="790"/>
          <ac:spMkLst>
            <pc:docMk/>
            <pc:sldMk cId="3439134311" sldId="2146849619"/>
            <ac:spMk id="4" creationId="{10DC5963-7621-4F13-85C6-F3DEB87E9688}"/>
          </ac:spMkLst>
        </pc:spChg>
        <pc:spChg chg="mod">
          <ac:chgData name="Lars Boe Riber" userId="a0746655-6c86-46e8-9fa0-3fdc9fc77da6" providerId="ADAL" clId="{4E480DD1-6EB6-40E9-AA5D-F0885641F18B}" dt="2022-11-18T10:27:08.095" v="1016" actId="790"/>
          <ac:spMkLst>
            <pc:docMk/>
            <pc:sldMk cId="3439134311" sldId="2146849619"/>
            <ac:spMk id="5" creationId="{F2904EE9-4714-46AF-AF01-922168A8B38D}"/>
          </ac:spMkLst>
        </pc:spChg>
        <pc:spChg chg="mod">
          <ac:chgData name="Lars Boe Riber" userId="a0746655-6c86-46e8-9fa0-3fdc9fc77da6" providerId="ADAL" clId="{4E480DD1-6EB6-40E9-AA5D-F0885641F18B}" dt="2022-11-24T13:37:52.328" v="3841" actId="20577"/>
          <ac:spMkLst>
            <pc:docMk/>
            <pc:sldMk cId="3439134311" sldId="2146849619"/>
            <ac:spMk id="10" creationId="{694205B0-3F53-421A-BC59-25A2F8D3DCEE}"/>
          </ac:spMkLst>
        </pc:spChg>
        <pc:spChg chg="mod">
          <ac:chgData name="Lars Boe Riber" userId="a0746655-6c86-46e8-9fa0-3fdc9fc77da6" providerId="ADAL" clId="{4E480DD1-6EB6-40E9-AA5D-F0885641F18B}" dt="2022-11-18T10:27:08.097" v="1020" actId="790"/>
          <ac:spMkLst>
            <pc:docMk/>
            <pc:sldMk cId="3439134311" sldId="2146849619"/>
            <ac:spMk id="11" creationId="{186498AB-BBC6-4158-8565-25461809A486}"/>
          </ac:spMkLst>
        </pc:spChg>
        <pc:spChg chg="mod">
          <ac:chgData name="Lars Boe Riber" userId="a0746655-6c86-46e8-9fa0-3fdc9fc77da6" providerId="ADAL" clId="{4E480DD1-6EB6-40E9-AA5D-F0885641F18B}" dt="2022-11-18T10:27:08.099" v="1022" actId="790"/>
          <ac:spMkLst>
            <pc:docMk/>
            <pc:sldMk cId="3439134311" sldId="2146849619"/>
            <ac:spMk id="20" creationId="{95C474D0-361C-4ED3-AE9B-3899F4B93535}"/>
          </ac:spMkLst>
        </pc:spChg>
        <pc:picChg chg="add mod">
          <ac:chgData name="Lars Boe Riber" userId="a0746655-6c86-46e8-9fa0-3fdc9fc77da6" providerId="ADAL" clId="{4E480DD1-6EB6-40E9-AA5D-F0885641F18B}" dt="2022-11-24T18:29:55.112" v="3847" actId="1076"/>
          <ac:picMkLst>
            <pc:docMk/>
            <pc:sldMk cId="3439134311" sldId="2146849619"/>
            <ac:picMk id="6" creationId="{9345319A-E876-4737-AE18-953F56F874D1}"/>
          </ac:picMkLst>
        </pc:picChg>
        <pc:picChg chg="del">
          <ac:chgData name="Lars Boe Riber" userId="a0746655-6c86-46e8-9fa0-3fdc9fc77da6" providerId="ADAL" clId="{4E480DD1-6EB6-40E9-AA5D-F0885641F18B}" dt="2022-11-24T18:29:40.528" v="3842" actId="478"/>
          <ac:picMkLst>
            <pc:docMk/>
            <pc:sldMk cId="3439134311" sldId="2146849619"/>
            <ac:picMk id="19" creationId="{EFA94815-EDE4-4DED-B05B-B7FF56BAFC3C}"/>
          </ac:picMkLst>
        </pc:picChg>
      </pc:sldChg>
      <pc:sldChg chg="modSp mod">
        <pc:chgData name="Lars Boe Riber" userId="a0746655-6c86-46e8-9fa0-3fdc9fc77da6" providerId="ADAL" clId="{4E480DD1-6EB6-40E9-AA5D-F0885641F18B}" dt="2022-11-18T10:27:08.102" v="1027" actId="790"/>
        <pc:sldMkLst>
          <pc:docMk/>
          <pc:sldMk cId="1695522759" sldId="2146849621"/>
        </pc:sldMkLst>
        <pc:spChg chg="mod">
          <ac:chgData name="Lars Boe Riber" userId="a0746655-6c86-46e8-9fa0-3fdc9fc77da6" providerId="ADAL" clId="{4E480DD1-6EB6-40E9-AA5D-F0885641F18B}" dt="2022-11-18T10:27:08.100" v="1024" actId="790"/>
          <ac:spMkLst>
            <pc:docMk/>
            <pc:sldMk cId="1695522759" sldId="2146849621"/>
            <ac:spMk id="2" creationId="{58AF1867-AAF1-4DAB-9CFC-2F362B5B6BBD}"/>
          </ac:spMkLst>
        </pc:spChg>
        <pc:spChg chg="mod">
          <ac:chgData name="Lars Boe Riber" userId="a0746655-6c86-46e8-9fa0-3fdc9fc77da6" providerId="ADAL" clId="{4E480DD1-6EB6-40E9-AA5D-F0885641F18B}" dt="2022-11-18T10:27:08.101" v="1025" actId="790"/>
          <ac:spMkLst>
            <pc:docMk/>
            <pc:sldMk cId="1695522759" sldId="2146849621"/>
            <ac:spMk id="4" creationId="{52EAAD7F-2FCA-44F5-9AF6-1333F8ACAEFD}"/>
          </ac:spMkLst>
        </pc:spChg>
        <pc:spChg chg="mod">
          <ac:chgData name="Lars Boe Riber" userId="a0746655-6c86-46e8-9fa0-3fdc9fc77da6" providerId="ADAL" clId="{4E480DD1-6EB6-40E9-AA5D-F0885641F18B}" dt="2022-11-18T10:27:08.102" v="1027" actId="790"/>
          <ac:spMkLst>
            <pc:docMk/>
            <pc:sldMk cId="1695522759" sldId="2146849621"/>
            <ac:spMk id="16" creationId="{B0D7D7C4-6449-446B-BFAF-F0CB37C354D2}"/>
          </ac:spMkLst>
        </pc:spChg>
      </pc:sldChg>
      <pc:sldChg chg="addSp delSp modSp mod">
        <pc:chgData name="Lars Boe Riber" userId="a0746655-6c86-46e8-9fa0-3fdc9fc77da6" providerId="ADAL" clId="{4E480DD1-6EB6-40E9-AA5D-F0885641F18B}" dt="2022-11-26T08:58:55.123" v="3881" actId="207"/>
        <pc:sldMkLst>
          <pc:docMk/>
          <pc:sldMk cId="4124807175" sldId="2146849622"/>
        </pc:sldMkLst>
        <pc:spChg chg="mod">
          <ac:chgData name="Lars Boe Riber" userId="a0746655-6c86-46e8-9fa0-3fdc9fc77da6" providerId="ADAL" clId="{4E480DD1-6EB6-40E9-AA5D-F0885641F18B}" dt="2022-11-18T10:27:08.103" v="1030" actId="790"/>
          <ac:spMkLst>
            <pc:docMk/>
            <pc:sldMk cId="4124807175" sldId="2146849622"/>
            <ac:spMk id="2" creationId="{472AC11C-A21C-4DF9-9443-D14DDB4C991C}"/>
          </ac:spMkLst>
        </pc:spChg>
        <pc:spChg chg="mod">
          <ac:chgData name="Lars Boe Riber" userId="a0746655-6c86-46e8-9fa0-3fdc9fc77da6" providerId="ADAL" clId="{4E480DD1-6EB6-40E9-AA5D-F0885641F18B}" dt="2022-11-18T10:27:08.104" v="1032" actId="790"/>
          <ac:spMkLst>
            <pc:docMk/>
            <pc:sldMk cId="4124807175" sldId="2146849622"/>
            <ac:spMk id="4" creationId="{91B06E40-6453-46CF-B6FD-68064E0142B0}"/>
          </ac:spMkLst>
        </pc:spChg>
        <pc:spChg chg="mod">
          <ac:chgData name="Lars Boe Riber" userId="a0746655-6c86-46e8-9fa0-3fdc9fc77da6" providerId="ADAL" clId="{4E480DD1-6EB6-40E9-AA5D-F0885641F18B}" dt="2022-11-18T10:27:08.118" v="1045" actId="790"/>
          <ac:spMkLst>
            <pc:docMk/>
            <pc:sldMk cId="4124807175" sldId="2146849622"/>
            <ac:spMk id="7" creationId="{D307A1E6-FF2A-4801-98CA-948EF4085F3B}"/>
          </ac:spMkLst>
        </pc:spChg>
        <pc:spChg chg="mod">
          <ac:chgData name="Lars Boe Riber" userId="a0746655-6c86-46e8-9fa0-3fdc9fc77da6" providerId="ADAL" clId="{4E480DD1-6EB6-40E9-AA5D-F0885641F18B}" dt="2022-11-18T10:27:08.106" v="1034" actId="790"/>
          <ac:spMkLst>
            <pc:docMk/>
            <pc:sldMk cId="4124807175" sldId="2146849622"/>
            <ac:spMk id="8" creationId="{4C521085-4516-4E1E-90E3-16E84E4D86B7}"/>
          </ac:spMkLst>
        </pc:spChg>
        <pc:spChg chg="mod">
          <ac:chgData name="Lars Boe Riber" userId="a0746655-6c86-46e8-9fa0-3fdc9fc77da6" providerId="ADAL" clId="{4E480DD1-6EB6-40E9-AA5D-F0885641F18B}" dt="2022-11-18T10:27:08.131" v="1056" actId="790"/>
          <ac:spMkLst>
            <pc:docMk/>
            <pc:sldMk cId="4124807175" sldId="2146849622"/>
            <ac:spMk id="9" creationId="{1844A1D7-AB32-4402-896D-84473E91CBC2}"/>
          </ac:spMkLst>
        </pc:spChg>
        <pc:spChg chg="mod">
          <ac:chgData name="Lars Boe Riber" userId="a0746655-6c86-46e8-9fa0-3fdc9fc77da6" providerId="ADAL" clId="{4E480DD1-6EB6-40E9-AA5D-F0885641F18B}" dt="2022-11-18T10:27:08.130" v="1054" actId="790"/>
          <ac:spMkLst>
            <pc:docMk/>
            <pc:sldMk cId="4124807175" sldId="2146849622"/>
            <ac:spMk id="10" creationId="{8FDD6DFF-05CE-4479-A770-A195892DC718}"/>
          </ac:spMkLst>
        </pc:spChg>
        <pc:spChg chg="mod">
          <ac:chgData name="Lars Boe Riber" userId="a0746655-6c86-46e8-9fa0-3fdc9fc77da6" providerId="ADAL" clId="{4E480DD1-6EB6-40E9-AA5D-F0885641F18B}" dt="2022-11-18T10:27:08.117" v="1043" actId="790"/>
          <ac:spMkLst>
            <pc:docMk/>
            <pc:sldMk cId="4124807175" sldId="2146849622"/>
            <ac:spMk id="11" creationId="{5DD4158A-D903-44BF-ACAE-05347FB81A5E}"/>
          </ac:spMkLst>
        </pc:spChg>
        <pc:spChg chg="mod">
          <ac:chgData name="Lars Boe Riber" userId="a0746655-6c86-46e8-9fa0-3fdc9fc77da6" providerId="ADAL" clId="{4E480DD1-6EB6-40E9-AA5D-F0885641F18B}" dt="2022-11-18T10:27:08.139" v="1063" actId="790"/>
          <ac:spMkLst>
            <pc:docMk/>
            <pc:sldMk cId="4124807175" sldId="2146849622"/>
            <ac:spMk id="12" creationId="{6C86F3D7-8EF6-40C1-8A49-55E14804036A}"/>
          </ac:spMkLst>
        </pc:spChg>
        <pc:spChg chg="mod">
          <ac:chgData name="Lars Boe Riber" userId="a0746655-6c86-46e8-9fa0-3fdc9fc77da6" providerId="ADAL" clId="{4E480DD1-6EB6-40E9-AA5D-F0885641F18B}" dt="2022-11-18T10:27:08.149" v="1072" actId="790"/>
          <ac:spMkLst>
            <pc:docMk/>
            <pc:sldMk cId="4124807175" sldId="2146849622"/>
            <ac:spMk id="28" creationId="{FA2FF86F-5D29-4528-8119-A3D9C7A34BA3}"/>
          </ac:spMkLst>
        </pc:spChg>
        <pc:spChg chg="add mod">
          <ac:chgData name="Lars Boe Riber" userId="a0746655-6c86-46e8-9fa0-3fdc9fc77da6" providerId="ADAL" clId="{4E480DD1-6EB6-40E9-AA5D-F0885641F18B}" dt="2022-11-26T08:58:28.295" v="3879"/>
          <ac:spMkLst>
            <pc:docMk/>
            <pc:sldMk cId="4124807175" sldId="2146849622"/>
            <ac:spMk id="31" creationId="{C9273E12-3841-43D8-8A32-20A44BE29A67}"/>
          </ac:spMkLst>
        </pc:spChg>
        <pc:spChg chg="add mod">
          <ac:chgData name="Lars Boe Riber" userId="a0746655-6c86-46e8-9fa0-3fdc9fc77da6" providerId="ADAL" clId="{4E480DD1-6EB6-40E9-AA5D-F0885641F18B}" dt="2022-11-26T08:58:28.295" v="3879"/>
          <ac:spMkLst>
            <pc:docMk/>
            <pc:sldMk cId="4124807175" sldId="2146849622"/>
            <ac:spMk id="32" creationId="{E4592237-9C8C-4090-9BD6-A2FA605C246A}"/>
          </ac:spMkLst>
        </pc:spChg>
        <pc:spChg chg="mod">
          <ac:chgData name="Lars Boe Riber" userId="a0746655-6c86-46e8-9fa0-3fdc9fc77da6" providerId="ADAL" clId="{4E480DD1-6EB6-40E9-AA5D-F0885641F18B}" dt="2022-11-18T10:27:08.146" v="1067" actId="790"/>
          <ac:spMkLst>
            <pc:docMk/>
            <pc:sldMk cId="4124807175" sldId="2146849622"/>
            <ac:spMk id="33" creationId="{82F01FF2-711A-4C47-A096-BAF13746A7BB}"/>
          </ac:spMkLst>
        </pc:spChg>
        <pc:spChg chg="add mod">
          <ac:chgData name="Lars Boe Riber" userId="a0746655-6c86-46e8-9fa0-3fdc9fc77da6" providerId="ADAL" clId="{4E480DD1-6EB6-40E9-AA5D-F0885641F18B}" dt="2022-11-26T08:58:55.123" v="3881" actId="207"/>
          <ac:spMkLst>
            <pc:docMk/>
            <pc:sldMk cId="4124807175" sldId="2146849622"/>
            <ac:spMk id="34" creationId="{BF9E08E7-A5ED-4063-B79F-E3C5B5838AE7}"/>
          </ac:spMkLst>
        </pc:spChg>
        <pc:spChg chg="add mod">
          <ac:chgData name="Lars Boe Riber" userId="a0746655-6c86-46e8-9fa0-3fdc9fc77da6" providerId="ADAL" clId="{4E480DD1-6EB6-40E9-AA5D-F0885641F18B}" dt="2022-11-26T08:58:28.295" v="3879"/>
          <ac:spMkLst>
            <pc:docMk/>
            <pc:sldMk cId="4124807175" sldId="2146849622"/>
            <ac:spMk id="35" creationId="{6A684CD9-64BF-4776-A39A-B8745B8DFBC5}"/>
          </ac:spMkLst>
        </pc:spChg>
        <pc:spChg chg="mod">
          <ac:chgData name="Lars Boe Riber" userId="a0746655-6c86-46e8-9fa0-3fdc9fc77da6" providerId="ADAL" clId="{4E480DD1-6EB6-40E9-AA5D-F0885641F18B}" dt="2022-11-26T08:58:28.295" v="3879"/>
          <ac:spMkLst>
            <pc:docMk/>
            <pc:sldMk cId="4124807175" sldId="2146849622"/>
            <ac:spMk id="41" creationId="{2E357B20-40FF-4B8B-B695-31E18E2B92BE}"/>
          </ac:spMkLst>
        </pc:spChg>
        <pc:spChg chg="mod">
          <ac:chgData name="Lars Boe Riber" userId="a0746655-6c86-46e8-9fa0-3fdc9fc77da6" providerId="ADAL" clId="{4E480DD1-6EB6-40E9-AA5D-F0885641F18B}" dt="2022-11-26T08:58:28.295" v="3879"/>
          <ac:spMkLst>
            <pc:docMk/>
            <pc:sldMk cId="4124807175" sldId="2146849622"/>
            <ac:spMk id="42" creationId="{64E720EA-E204-4394-AC85-7F302BF39369}"/>
          </ac:spMkLst>
        </pc:spChg>
        <pc:spChg chg="del mod">
          <ac:chgData name="Lars Boe Riber" userId="a0746655-6c86-46e8-9fa0-3fdc9fc77da6" providerId="ADAL" clId="{4E480DD1-6EB6-40E9-AA5D-F0885641F18B}" dt="2022-11-26T08:58:27.881" v="3878" actId="478"/>
          <ac:spMkLst>
            <pc:docMk/>
            <pc:sldMk cId="4124807175" sldId="2146849622"/>
            <ac:spMk id="43" creationId="{2AF0EAE1-14F9-4451-964D-381751FF784E}"/>
          </ac:spMkLst>
        </pc:spChg>
        <pc:spChg chg="mod">
          <ac:chgData name="Lars Boe Riber" userId="a0746655-6c86-46e8-9fa0-3fdc9fc77da6" providerId="ADAL" clId="{4E480DD1-6EB6-40E9-AA5D-F0885641F18B}" dt="2022-11-18T10:27:08.146" v="1068" actId="790"/>
          <ac:spMkLst>
            <pc:docMk/>
            <pc:sldMk cId="4124807175" sldId="2146849622"/>
            <ac:spMk id="45" creationId="{364D5645-D143-45D4-B52A-829E7C38393E}"/>
          </ac:spMkLst>
        </pc:spChg>
        <pc:spChg chg="mod">
          <ac:chgData name="Lars Boe Riber" userId="a0746655-6c86-46e8-9fa0-3fdc9fc77da6" providerId="ADAL" clId="{4E480DD1-6EB6-40E9-AA5D-F0885641F18B}" dt="2022-11-18T10:27:08.147" v="1069" actId="790"/>
          <ac:spMkLst>
            <pc:docMk/>
            <pc:sldMk cId="4124807175" sldId="2146849622"/>
            <ac:spMk id="48" creationId="{FF082EF3-6FCC-4EC6-9813-4B754466D267}"/>
          </ac:spMkLst>
        </pc:spChg>
        <pc:spChg chg="mod">
          <ac:chgData name="Lars Boe Riber" userId="a0746655-6c86-46e8-9fa0-3fdc9fc77da6" providerId="ADAL" clId="{4E480DD1-6EB6-40E9-AA5D-F0885641F18B}" dt="2022-11-18T10:27:08.148" v="1070" actId="790"/>
          <ac:spMkLst>
            <pc:docMk/>
            <pc:sldMk cId="4124807175" sldId="2146849622"/>
            <ac:spMk id="51" creationId="{B0EEBF14-8A61-44E0-8DA3-8A51A45F8109}"/>
          </ac:spMkLst>
        </pc:spChg>
        <pc:spChg chg="mod">
          <ac:chgData name="Lars Boe Riber" userId="a0746655-6c86-46e8-9fa0-3fdc9fc77da6" providerId="ADAL" clId="{4E480DD1-6EB6-40E9-AA5D-F0885641F18B}" dt="2022-11-26T08:58:28.295" v="3879"/>
          <ac:spMkLst>
            <pc:docMk/>
            <pc:sldMk cId="4124807175" sldId="2146849622"/>
            <ac:spMk id="53" creationId="{B343BBB9-AEB1-4965-98AB-7AD7360EA5FC}"/>
          </ac:spMkLst>
        </pc:spChg>
        <pc:spChg chg="mod">
          <ac:chgData name="Lars Boe Riber" userId="a0746655-6c86-46e8-9fa0-3fdc9fc77da6" providerId="ADAL" clId="{4E480DD1-6EB6-40E9-AA5D-F0885641F18B}" dt="2022-11-26T08:58:28.295" v="3879"/>
          <ac:spMkLst>
            <pc:docMk/>
            <pc:sldMk cId="4124807175" sldId="2146849622"/>
            <ac:spMk id="54" creationId="{54CDBC05-A10D-4FDB-AC24-76CC9DBB79BD}"/>
          </ac:spMkLst>
        </pc:spChg>
        <pc:spChg chg="mod">
          <ac:chgData name="Lars Boe Riber" userId="a0746655-6c86-46e8-9fa0-3fdc9fc77da6" providerId="ADAL" clId="{4E480DD1-6EB6-40E9-AA5D-F0885641F18B}" dt="2022-11-26T08:58:28.295" v="3879"/>
          <ac:spMkLst>
            <pc:docMk/>
            <pc:sldMk cId="4124807175" sldId="2146849622"/>
            <ac:spMk id="55" creationId="{3D869EB2-E8C8-4E1D-B714-6037962DCA5B}"/>
          </ac:spMkLst>
        </pc:spChg>
        <pc:grpChg chg="del">
          <ac:chgData name="Lars Boe Riber" userId="a0746655-6c86-46e8-9fa0-3fdc9fc77da6" providerId="ADAL" clId="{4E480DD1-6EB6-40E9-AA5D-F0885641F18B}" dt="2022-11-26T08:58:27.881" v="3878" actId="478"/>
          <ac:grpSpMkLst>
            <pc:docMk/>
            <pc:sldMk cId="4124807175" sldId="2146849622"/>
            <ac:grpSpMk id="25" creationId="{16A3631A-A8B4-4C23-B2D1-546684443282}"/>
          </ac:grpSpMkLst>
        </pc:grpChg>
        <pc:grpChg chg="del">
          <ac:chgData name="Lars Boe Riber" userId="a0746655-6c86-46e8-9fa0-3fdc9fc77da6" providerId="ADAL" clId="{4E480DD1-6EB6-40E9-AA5D-F0885641F18B}" dt="2022-11-26T08:58:27.881" v="3878" actId="478"/>
          <ac:grpSpMkLst>
            <pc:docMk/>
            <pc:sldMk cId="4124807175" sldId="2146849622"/>
            <ac:grpSpMk id="26" creationId="{62CD45E8-9414-46D9-86BD-2C7192379157}"/>
          </ac:grpSpMkLst>
        </pc:grpChg>
        <pc:grpChg chg="del">
          <ac:chgData name="Lars Boe Riber" userId="a0746655-6c86-46e8-9fa0-3fdc9fc77da6" providerId="ADAL" clId="{4E480DD1-6EB6-40E9-AA5D-F0885641F18B}" dt="2022-11-26T08:58:27.881" v="3878" actId="478"/>
          <ac:grpSpMkLst>
            <pc:docMk/>
            <pc:sldMk cId="4124807175" sldId="2146849622"/>
            <ac:grpSpMk id="27" creationId="{65352F48-56C0-412D-AE42-5DEF176B5BDF}"/>
          </ac:grpSpMkLst>
        </pc:grpChg>
        <pc:grpChg chg="add mod">
          <ac:chgData name="Lars Boe Riber" userId="a0746655-6c86-46e8-9fa0-3fdc9fc77da6" providerId="ADAL" clId="{4E480DD1-6EB6-40E9-AA5D-F0885641F18B}" dt="2022-11-26T08:58:28.295" v="3879"/>
          <ac:grpSpMkLst>
            <pc:docMk/>
            <pc:sldMk cId="4124807175" sldId="2146849622"/>
            <ac:grpSpMk id="40" creationId="{0817965D-566A-4A9E-88F6-D70297DDDEF4}"/>
          </ac:grpSpMkLst>
        </pc:grpChg>
        <pc:grpChg chg="del">
          <ac:chgData name="Lars Boe Riber" userId="a0746655-6c86-46e8-9fa0-3fdc9fc77da6" providerId="ADAL" clId="{4E480DD1-6EB6-40E9-AA5D-F0885641F18B}" dt="2022-11-26T08:58:27.881" v="3878" actId="478"/>
          <ac:grpSpMkLst>
            <pc:docMk/>
            <pc:sldMk cId="4124807175" sldId="2146849622"/>
            <ac:grpSpMk id="44" creationId="{08778C05-EDDA-48D7-93C8-3A50956379D9}"/>
          </ac:grpSpMkLst>
        </pc:grpChg>
        <pc:grpChg chg="del">
          <ac:chgData name="Lars Boe Riber" userId="a0746655-6c86-46e8-9fa0-3fdc9fc77da6" providerId="ADAL" clId="{4E480DD1-6EB6-40E9-AA5D-F0885641F18B}" dt="2022-11-26T08:58:27.881" v="3878" actId="478"/>
          <ac:grpSpMkLst>
            <pc:docMk/>
            <pc:sldMk cId="4124807175" sldId="2146849622"/>
            <ac:grpSpMk id="47" creationId="{802F5890-9A4C-4F7C-8E61-83E1371FDFE7}"/>
          </ac:grpSpMkLst>
        </pc:grpChg>
        <pc:grpChg chg="del">
          <ac:chgData name="Lars Boe Riber" userId="a0746655-6c86-46e8-9fa0-3fdc9fc77da6" providerId="ADAL" clId="{4E480DD1-6EB6-40E9-AA5D-F0885641F18B}" dt="2022-11-26T08:58:27.881" v="3878" actId="478"/>
          <ac:grpSpMkLst>
            <pc:docMk/>
            <pc:sldMk cId="4124807175" sldId="2146849622"/>
            <ac:grpSpMk id="50" creationId="{B70FA56B-F94C-4BC8-946F-FBCA016B0CE5}"/>
          </ac:grpSpMkLst>
        </pc:grpChg>
        <pc:picChg chg="add mod">
          <ac:chgData name="Lars Boe Riber" userId="a0746655-6c86-46e8-9fa0-3fdc9fc77da6" providerId="ADAL" clId="{4E480DD1-6EB6-40E9-AA5D-F0885641F18B}" dt="2022-11-26T08:58:28.295" v="3879"/>
          <ac:picMkLst>
            <pc:docMk/>
            <pc:sldMk cId="4124807175" sldId="2146849622"/>
            <ac:picMk id="38" creationId="{6AA739A3-D4CC-48AB-8B74-BDDA724DA1D3}"/>
          </ac:picMkLst>
        </pc:picChg>
        <pc:picChg chg="add mod">
          <ac:chgData name="Lars Boe Riber" userId="a0746655-6c86-46e8-9fa0-3fdc9fc77da6" providerId="ADAL" clId="{4E480DD1-6EB6-40E9-AA5D-F0885641F18B}" dt="2022-11-26T08:58:28.295" v="3879"/>
          <ac:picMkLst>
            <pc:docMk/>
            <pc:sldMk cId="4124807175" sldId="2146849622"/>
            <ac:picMk id="39" creationId="{60500354-E44A-4AD8-8D1F-1C2C362BE189}"/>
          </ac:picMkLst>
        </pc:picChg>
        <pc:cxnChg chg="del">
          <ac:chgData name="Lars Boe Riber" userId="a0746655-6c86-46e8-9fa0-3fdc9fc77da6" providerId="ADAL" clId="{4E480DD1-6EB6-40E9-AA5D-F0885641F18B}" dt="2022-11-26T08:58:27.881" v="3878" actId="478"/>
          <ac:cxnSpMkLst>
            <pc:docMk/>
            <pc:sldMk cId="4124807175" sldId="2146849622"/>
            <ac:cxnSpMk id="29" creationId="{782336B6-1A0A-4A47-90D7-D482486C4DA1}"/>
          </ac:cxnSpMkLst>
        </pc:cxnChg>
        <pc:cxnChg chg="del">
          <ac:chgData name="Lars Boe Riber" userId="a0746655-6c86-46e8-9fa0-3fdc9fc77da6" providerId="ADAL" clId="{4E480DD1-6EB6-40E9-AA5D-F0885641F18B}" dt="2022-11-26T08:58:27.881" v="3878" actId="478"/>
          <ac:cxnSpMkLst>
            <pc:docMk/>
            <pc:sldMk cId="4124807175" sldId="2146849622"/>
            <ac:cxnSpMk id="30" creationId="{9956AC43-29AA-4E05-AD49-6A2624D5175D}"/>
          </ac:cxnSpMkLst>
        </pc:cxnChg>
        <pc:cxnChg chg="add mod">
          <ac:chgData name="Lars Boe Riber" userId="a0746655-6c86-46e8-9fa0-3fdc9fc77da6" providerId="ADAL" clId="{4E480DD1-6EB6-40E9-AA5D-F0885641F18B}" dt="2022-11-26T08:58:28.295" v="3879"/>
          <ac:cxnSpMkLst>
            <pc:docMk/>
            <pc:sldMk cId="4124807175" sldId="2146849622"/>
            <ac:cxnSpMk id="36" creationId="{62CB6117-EC63-4FC1-90B4-A64BB5D5D781}"/>
          </ac:cxnSpMkLst>
        </pc:cxnChg>
        <pc:cxnChg chg="add mod">
          <ac:chgData name="Lars Boe Riber" userId="a0746655-6c86-46e8-9fa0-3fdc9fc77da6" providerId="ADAL" clId="{4E480DD1-6EB6-40E9-AA5D-F0885641F18B}" dt="2022-11-26T08:58:28.295" v="3879"/>
          <ac:cxnSpMkLst>
            <pc:docMk/>
            <pc:sldMk cId="4124807175" sldId="2146849622"/>
            <ac:cxnSpMk id="37" creationId="{4D4967C8-1F55-45A9-A209-AE968337CA95}"/>
          </ac:cxnSpMkLst>
        </pc:cxnChg>
      </pc:sldChg>
      <pc:sldChg chg="modSp mod">
        <pc:chgData name="Lars Boe Riber" userId="a0746655-6c86-46e8-9fa0-3fdc9fc77da6" providerId="ADAL" clId="{4E480DD1-6EB6-40E9-AA5D-F0885641F18B}" dt="2022-11-18T10:27:08.274" v="1175" actId="790"/>
        <pc:sldMkLst>
          <pc:docMk/>
          <pc:sldMk cId="3487255225" sldId="2146849624"/>
        </pc:sldMkLst>
        <pc:spChg chg="mod">
          <ac:chgData name="Lars Boe Riber" userId="a0746655-6c86-46e8-9fa0-3fdc9fc77da6" providerId="ADAL" clId="{4E480DD1-6EB6-40E9-AA5D-F0885641F18B}" dt="2022-11-18T10:27:08.273" v="1173" actId="790"/>
          <ac:spMkLst>
            <pc:docMk/>
            <pc:sldMk cId="3487255225" sldId="2146849624"/>
            <ac:spMk id="2" creationId="{6FC16330-2753-45DF-86AA-E5A8A2FEC6E4}"/>
          </ac:spMkLst>
        </pc:spChg>
        <pc:spChg chg="mod">
          <ac:chgData name="Lars Boe Riber" userId="a0746655-6c86-46e8-9fa0-3fdc9fc77da6" providerId="ADAL" clId="{4E480DD1-6EB6-40E9-AA5D-F0885641F18B}" dt="2022-11-18T10:27:08.274" v="1175" actId="790"/>
          <ac:spMkLst>
            <pc:docMk/>
            <pc:sldMk cId="3487255225" sldId="2146849624"/>
            <ac:spMk id="7" creationId="{55267069-BEB3-44F2-B488-E648516D585A}"/>
          </ac:spMkLst>
        </pc:spChg>
      </pc:sldChg>
      <pc:sldChg chg="modSp mod">
        <pc:chgData name="Lars Boe Riber" userId="a0746655-6c86-46e8-9fa0-3fdc9fc77da6" providerId="ADAL" clId="{4E480DD1-6EB6-40E9-AA5D-F0885641F18B}" dt="2022-11-24T11:40:55.045" v="3497" actId="113"/>
        <pc:sldMkLst>
          <pc:docMk/>
          <pc:sldMk cId="394744062" sldId="2146849625"/>
        </pc:sldMkLst>
        <pc:spChg chg="mod">
          <ac:chgData name="Lars Boe Riber" userId="a0746655-6c86-46e8-9fa0-3fdc9fc77da6" providerId="ADAL" clId="{4E480DD1-6EB6-40E9-AA5D-F0885641F18B}" dt="2022-11-18T10:27:08.275" v="1177" actId="790"/>
          <ac:spMkLst>
            <pc:docMk/>
            <pc:sldMk cId="394744062" sldId="2146849625"/>
            <ac:spMk id="2" creationId="{ADB15DA5-9B65-4CA0-ADD3-47ABC937B18A}"/>
          </ac:spMkLst>
        </pc:spChg>
        <pc:spChg chg="mod">
          <ac:chgData name="Lars Boe Riber" userId="a0746655-6c86-46e8-9fa0-3fdc9fc77da6" providerId="ADAL" clId="{4E480DD1-6EB6-40E9-AA5D-F0885641F18B}" dt="2022-11-24T11:40:55.045" v="3497" actId="113"/>
          <ac:spMkLst>
            <pc:docMk/>
            <pc:sldMk cId="394744062" sldId="2146849625"/>
            <ac:spMk id="3" creationId="{20EA4AAF-93FF-4A82-A0F7-9404B5823EA8}"/>
          </ac:spMkLst>
        </pc:spChg>
        <pc:spChg chg="mod">
          <ac:chgData name="Lars Boe Riber" userId="a0746655-6c86-46e8-9fa0-3fdc9fc77da6" providerId="ADAL" clId="{4E480DD1-6EB6-40E9-AA5D-F0885641F18B}" dt="2022-11-18T10:27:08.280" v="1182" actId="790"/>
          <ac:spMkLst>
            <pc:docMk/>
            <pc:sldMk cId="394744062" sldId="2146849625"/>
            <ac:spMk id="4" creationId="{EC8E5115-E14E-4A1B-92DF-5C010B96C1BE}"/>
          </ac:spMkLst>
        </pc:spChg>
        <pc:spChg chg="mod">
          <ac:chgData name="Lars Boe Riber" userId="a0746655-6c86-46e8-9fa0-3fdc9fc77da6" providerId="ADAL" clId="{4E480DD1-6EB6-40E9-AA5D-F0885641F18B}" dt="2022-11-18T10:27:08.282" v="1184" actId="790"/>
          <ac:spMkLst>
            <pc:docMk/>
            <pc:sldMk cId="394744062" sldId="2146849625"/>
            <ac:spMk id="6" creationId="{C2EA0F8B-2B1B-44E9-AE47-430A43004B72}"/>
          </ac:spMkLst>
        </pc:spChg>
      </pc:sldChg>
      <pc:sldChg chg="addSp delSp modSp mod">
        <pc:chgData name="Lars Boe Riber" userId="a0746655-6c86-46e8-9fa0-3fdc9fc77da6" providerId="ADAL" clId="{4E480DD1-6EB6-40E9-AA5D-F0885641F18B}" dt="2022-11-26T08:59:13.427" v="3883"/>
        <pc:sldMkLst>
          <pc:docMk/>
          <pc:sldMk cId="919259734" sldId="2146849626"/>
        </pc:sldMkLst>
        <pc:spChg chg="mod">
          <ac:chgData name="Lars Boe Riber" userId="a0746655-6c86-46e8-9fa0-3fdc9fc77da6" providerId="ADAL" clId="{4E480DD1-6EB6-40E9-AA5D-F0885641F18B}" dt="2022-11-18T10:27:08.151" v="1074" actId="790"/>
          <ac:spMkLst>
            <pc:docMk/>
            <pc:sldMk cId="919259734" sldId="2146849626"/>
            <ac:spMk id="2" creationId="{14ED0F35-4281-4694-9F00-4427A451DB72}"/>
          </ac:spMkLst>
        </pc:spChg>
        <pc:spChg chg="mod">
          <ac:chgData name="Lars Boe Riber" userId="a0746655-6c86-46e8-9fa0-3fdc9fc77da6" providerId="ADAL" clId="{4E480DD1-6EB6-40E9-AA5D-F0885641F18B}" dt="2022-11-18T10:27:08.152" v="1076" actId="790"/>
          <ac:spMkLst>
            <pc:docMk/>
            <pc:sldMk cId="919259734" sldId="2146849626"/>
            <ac:spMk id="4" creationId="{4E9B89C6-3967-4C82-B66E-C377C7B4C9B5}"/>
          </ac:spMkLst>
        </pc:spChg>
        <pc:spChg chg="del mod">
          <ac:chgData name="Lars Boe Riber" userId="a0746655-6c86-46e8-9fa0-3fdc9fc77da6" providerId="ADAL" clId="{4E480DD1-6EB6-40E9-AA5D-F0885641F18B}" dt="2022-11-26T08:59:12.956" v="3882" actId="478"/>
          <ac:spMkLst>
            <pc:docMk/>
            <pc:sldMk cId="919259734" sldId="2146849626"/>
            <ac:spMk id="13" creationId="{6ED0AB7E-F3B7-4D37-9F05-32D440E7509C}"/>
          </ac:spMkLst>
        </pc:spChg>
        <pc:spChg chg="del mod">
          <ac:chgData name="Lars Boe Riber" userId="a0746655-6c86-46e8-9fa0-3fdc9fc77da6" providerId="ADAL" clId="{4E480DD1-6EB6-40E9-AA5D-F0885641F18B}" dt="2022-11-26T08:59:12.956" v="3882" actId="478"/>
          <ac:spMkLst>
            <pc:docMk/>
            <pc:sldMk cId="919259734" sldId="2146849626"/>
            <ac:spMk id="17" creationId="{39A25073-EA46-43ED-A8A4-03183F412170}"/>
          </ac:spMkLst>
        </pc:spChg>
        <pc:spChg chg="del mod">
          <ac:chgData name="Lars Boe Riber" userId="a0746655-6c86-46e8-9fa0-3fdc9fc77da6" providerId="ADAL" clId="{4E480DD1-6EB6-40E9-AA5D-F0885641F18B}" dt="2022-11-26T08:59:12.956" v="3882" actId="478"/>
          <ac:spMkLst>
            <pc:docMk/>
            <pc:sldMk cId="919259734" sldId="2146849626"/>
            <ac:spMk id="18" creationId="{F5779ED9-9981-4546-B990-83158B53585F}"/>
          </ac:spMkLst>
        </pc:spChg>
        <pc:spChg chg="del mod">
          <ac:chgData name="Lars Boe Riber" userId="a0746655-6c86-46e8-9fa0-3fdc9fc77da6" providerId="ADAL" clId="{4E480DD1-6EB6-40E9-AA5D-F0885641F18B}" dt="2022-11-26T08:59:12.956" v="3882" actId="478"/>
          <ac:spMkLst>
            <pc:docMk/>
            <pc:sldMk cId="919259734" sldId="2146849626"/>
            <ac:spMk id="19" creationId="{5A2BE96F-BE6C-4FD5-8522-8DE1270158E6}"/>
          </ac:spMkLst>
        </pc:spChg>
        <pc:spChg chg="del mod">
          <ac:chgData name="Lars Boe Riber" userId="a0746655-6c86-46e8-9fa0-3fdc9fc77da6" providerId="ADAL" clId="{4E480DD1-6EB6-40E9-AA5D-F0885641F18B}" dt="2022-11-26T08:59:12.956" v="3882" actId="478"/>
          <ac:spMkLst>
            <pc:docMk/>
            <pc:sldMk cId="919259734" sldId="2146849626"/>
            <ac:spMk id="20" creationId="{25F32578-BAB1-446F-9E29-927218FC5B0E}"/>
          </ac:spMkLst>
        </pc:spChg>
        <pc:spChg chg="mod">
          <ac:chgData name="Lars Boe Riber" userId="a0746655-6c86-46e8-9fa0-3fdc9fc77da6" providerId="ADAL" clId="{4E480DD1-6EB6-40E9-AA5D-F0885641F18B}" dt="2022-11-18T10:27:08.157" v="1085" actId="790"/>
          <ac:spMkLst>
            <pc:docMk/>
            <pc:sldMk cId="919259734" sldId="2146849626"/>
            <ac:spMk id="22" creationId="{89DEAB96-D511-4C82-B0AC-C7FA5C358A02}"/>
          </ac:spMkLst>
        </pc:spChg>
        <pc:spChg chg="mod">
          <ac:chgData name="Lars Boe Riber" userId="a0746655-6c86-46e8-9fa0-3fdc9fc77da6" providerId="ADAL" clId="{4E480DD1-6EB6-40E9-AA5D-F0885641F18B}" dt="2022-11-18T10:27:08.157" v="1086" actId="790"/>
          <ac:spMkLst>
            <pc:docMk/>
            <pc:sldMk cId="919259734" sldId="2146849626"/>
            <ac:spMk id="25" creationId="{0A6B66F1-FE00-4454-8E43-E9C528CA2B32}"/>
          </ac:spMkLst>
        </pc:spChg>
        <pc:spChg chg="mod">
          <ac:chgData name="Lars Boe Riber" userId="a0746655-6c86-46e8-9fa0-3fdc9fc77da6" providerId="ADAL" clId="{4E480DD1-6EB6-40E9-AA5D-F0885641F18B}" dt="2022-11-18T10:27:08.158" v="1087" actId="790"/>
          <ac:spMkLst>
            <pc:docMk/>
            <pc:sldMk cId="919259734" sldId="2146849626"/>
            <ac:spMk id="28" creationId="{9ABDB50F-3771-4426-B25A-DD07E2D2EEE5}"/>
          </ac:spMkLst>
        </pc:spChg>
        <pc:spChg chg="mod">
          <ac:chgData name="Lars Boe Riber" userId="a0746655-6c86-46e8-9fa0-3fdc9fc77da6" providerId="ADAL" clId="{4E480DD1-6EB6-40E9-AA5D-F0885641F18B}" dt="2022-11-18T10:27:08.159" v="1088" actId="790"/>
          <ac:spMkLst>
            <pc:docMk/>
            <pc:sldMk cId="919259734" sldId="2146849626"/>
            <ac:spMk id="31" creationId="{67EE8E9D-27A7-4050-B912-8128321B60A5}"/>
          </ac:spMkLst>
        </pc:spChg>
        <pc:spChg chg="mod">
          <ac:chgData name="Lars Boe Riber" userId="a0746655-6c86-46e8-9fa0-3fdc9fc77da6" providerId="ADAL" clId="{4E480DD1-6EB6-40E9-AA5D-F0885641F18B}" dt="2022-11-18T10:27:08.160" v="1089" actId="790"/>
          <ac:spMkLst>
            <pc:docMk/>
            <pc:sldMk cId="919259734" sldId="2146849626"/>
            <ac:spMk id="34" creationId="{E1DC1662-2EFC-4A2C-A4BF-E64C54FA6EF3}"/>
          </ac:spMkLst>
        </pc:spChg>
        <pc:spChg chg="del mod">
          <ac:chgData name="Lars Boe Riber" userId="a0746655-6c86-46e8-9fa0-3fdc9fc77da6" providerId="ADAL" clId="{4E480DD1-6EB6-40E9-AA5D-F0885641F18B}" dt="2022-11-26T08:59:12.956" v="3882" actId="478"/>
          <ac:spMkLst>
            <pc:docMk/>
            <pc:sldMk cId="919259734" sldId="2146849626"/>
            <ac:spMk id="37" creationId="{5A5D2CF5-9A75-4886-BE75-9F8071C7E913}"/>
          </ac:spMkLst>
        </pc:spChg>
        <pc:spChg chg="del mod">
          <ac:chgData name="Lars Boe Riber" userId="a0746655-6c86-46e8-9fa0-3fdc9fc77da6" providerId="ADAL" clId="{4E480DD1-6EB6-40E9-AA5D-F0885641F18B}" dt="2022-11-26T08:59:12.956" v="3882" actId="478"/>
          <ac:spMkLst>
            <pc:docMk/>
            <pc:sldMk cId="919259734" sldId="2146849626"/>
            <ac:spMk id="38" creationId="{F0C16BCA-2686-4335-BDA1-D3885BB60FD5}"/>
          </ac:spMkLst>
        </pc:spChg>
        <pc:spChg chg="del mod">
          <ac:chgData name="Lars Boe Riber" userId="a0746655-6c86-46e8-9fa0-3fdc9fc77da6" providerId="ADAL" clId="{4E480DD1-6EB6-40E9-AA5D-F0885641F18B}" dt="2022-11-26T08:59:12.956" v="3882" actId="478"/>
          <ac:spMkLst>
            <pc:docMk/>
            <pc:sldMk cId="919259734" sldId="2146849626"/>
            <ac:spMk id="39" creationId="{A438B5AC-46C2-409C-AAAB-80FFCFDBE482}"/>
          </ac:spMkLst>
        </pc:spChg>
        <pc:spChg chg="del mod">
          <ac:chgData name="Lars Boe Riber" userId="a0746655-6c86-46e8-9fa0-3fdc9fc77da6" providerId="ADAL" clId="{4E480DD1-6EB6-40E9-AA5D-F0885641F18B}" dt="2022-11-26T08:59:12.956" v="3882" actId="478"/>
          <ac:spMkLst>
            <pc:docMk/>
            <pc:sldMk cId="919259734" sldId="2146849626"/>
            <ac:spMk id="40" creationId="{4833E6BA-F99B-4A74-8EB7-10904BCFCA87}"/>
          </ac:spMkLst>
        </pc:spChg>
        <pc:spChg chg="mod">
          <ac:chgData name="Lars Boe Riber" userId="a0746655-6c86-46e8-9fa0-3fdc9fc77da6" providerId="ADAL" clId="{4E480DD1-6EB6-40E9-AA5D-F0885641F18B}" dt="2022-11-18T10:27:08.262" v="1157" actId="790"/>
          <ac:spMkLst>
            <pc:docMk/>
            <pc:sldMk cId="919259734" sldId="2146849626"/>
            <ac:spMk id="41" creationId="{181E1DB4-218E-41F6-A9A6-66070753E3FD}"/>
          </ac:spMkLst>
        </pc:spChg>
        <pc:spChg chg="del mod">
          <ac:chgData name="Lars Boe Riber" userId="a0746655-6c86-46e8-9fa0-3fdc9fc77da6" providerId="ADAL" clId="{4E480DD1-6EB6-40E9-AA5D-F0885641F18B}" dt="2022-11-26T08:59:12.956" v="3882" actId="478"/>
          <ac:spMkLst>
            <pc:docMk/>
            <pc:sldMk cId="919259734" sldId="2146849626"/>
            <ac:spMk id="42" creationId="{2255B0BB-555B-4D48-BEBD-E75CE4552279}"/>
          </ac:spMkLst>
        </pc:spChg>
        <pc:spChg chg="mod">
          <ac:chgData name="Lars Boe Riber" userId="a0746655-6c86-46e8-9fa0-3fdc9fc77da6" providerId="ADAL" clId="{4E480DD1-6EB6-40E9-AA5D-F0885641F18B}" dt="2022-11-18T10:27:08.261" v="1155" actId="790"/>
          <ac:spMkLst>
            <pc:docMk/>
            <pc:sldMk cId="919259734" sldId="2146849626"/>
            <ac:spMk id="43" creationId="{56381B96-4BD0-40B8-BB0F-AEFF06670ED2}"/>
          </ac:spMkLst>
        </pc:spChg>
        <pc:spChg chg="add mod">
          <ac:chgData name="Lars Boe Riber" userId="a0746655-6c86-46e8-9fa0-3fdc9fc77da6" providerId="ADAL" clId="{4E480DD1-6EB6-40E9-AA5D-F0885641F18B}" dt="2022-11-26T08:59:13.427" v="3883"/>
          <ac:spMkLst>
            <pc:docMk/>
            <pc:sldMk cId="919259734" sldId="2146849626"/>
            <ac:spMk id="44" creationId="{FD1E56F2-877D-4C60-9D1A-D0A58545787D}"/>
          </ac:spMkLst>
        </pc:spChg>
        <pc:spChg chg="add mod">
          <ac:chgData name="Lars Boe Riber" userId="a0746655-6c86-46e8-9fa0-3fdc9fc77da6" providerId="ADAL" clId="{4E480DD1-6EB6-40E9-AA5D-F0885641F18B}" dt="2022-11-26T08:59:13.427" v="3883"/>
          <ac:spMkLst>
            <pc:docMk/>
            <pc:sldMk cId="919259734" sldId="2146849626"/>
            <ac:spMk id="45" creationId="{F77C2537-9C08-4412-856A-6506B9CA103F}"/>
          </ac:spMkLst>
        </pc:spChg>
        <pc:spChg chg="add mod">
          <ac:chgData name="Lars Boe Riber" userId="a0746655-6c86-46e8-9fa0-3fdc9fc77da6" providerId="ADAL" clId="{4E480DD1-6EB6-40E9-AA5D-F0885641F18B}" dt="2022-11-26T08:59:13.427" v="3883"/>
          <ac:spMkLst>
            <pc:docMk/>
            <pc:sldMk cId="919259734" sldId="2146849626"/>
            <ac:spMk id="46" creationId="{4CAF22A7-FA4E-4156-9D96-E5839FD6D5A1}"/>
          </ac:spMkLst>
        </pc:spChg>
        <pc:spChg chg="add mod">
          <ac:chgData name="Lars Boe Riber" userId="a0746655-6c86-46e8-9fa0-3fdc9fc77da6" providerId="ADAL" clId="{4E480DD1-6EB6-40E9-AA5D-F0885641F18B}" dt="2022-11-26T08:59:13.427" v="3883"/>
          <ac:spMkLst>
            <pc:docMk/>
            <pc:sldMk cId="919259734" sldId="2146849626"/>
            <ac:spMk id="48" creationId="{7CF13EB9-3CCA-4B6E-9649-7770BFBA2599}"/>
          </ac:spMkLst>
        </pc:spChg>
        <pc:spChg chg="add mod">
          <ac:chgData name="Lars Boe Riber" userId="a0746655-6c86-46e8-9fa0-3fdc9fc77da6" providerId="ADAL" clId="{4E480DD1-6EB6-40E9-AA5D-F0885641F18B}" dt="2022-11-26T08:59:13.427" v="3883"/>
          <ac:spMkLst>
            <pc:docMk/>
            <pc:sldMk cId="919259734" sldId="2146849626"/>
            <ac:spMk id="49" creationId="{D7ED8501-4D5C-4FE1-AFBE-B212129542C1}"/>
          </ac:spMkLst>
        </pc:spChg>
        <pc:spChg chg="add mod">
          <ac:chgData name="Lars Boe Riber" userId="a0746655-6c86-46e8-9fa0-3fdc9fc77da6" providerId="ADAL" clId="{4E480DD1-6EB6-40E9-AA5D-F0885641F18B}" dt="2022-11-26T08:59:13.427" v="3883"/>
          <ac:spMkLst>
            <pc:docMk/>
            <pc:sldMk cId="919259734" sldId="2146849626"/>
            <ac:spMk id="57" creationId="{8EA0440A-4BBF-487E-937D-0D2C7C205889}"/>
          </ac:spMkLst>
        </pc:spChg>
        <pc:spChg chg="add mod">
          <ac:chgData name="Lars Boe Riber" userId="a0746655-6c86-46e8-9fa0-3fdc9fc77da6" providerId="ADAL" clId="{4E480DD1-6EB6-40E9-AA5D-F0885641F18B}" dt="2022-11-26T08:59:13.427" v="3883"/>
          <ac:spMkLst>
            <pc:docMk/>
            <pc:sldMk cId="919259734" sldId="2146849626"/>
            <ac:spMk id="58" creationId="{9BD9697D-DBC3-497E-B29D-1BAAD4E2341F}"/>
          </ac:spMkLst>
        </pc:spChg>
        <pc:spChg chg="add mod">
          <ac:chgData name="Lars Boe Riber" userId="a0746655-6c86-46e8-9fa0-3fdc9fc77da6" providerId="ADAL" clId="{4E480DD1-6EB6-40E9-AA5D-F0885641F18B}" dt="2022-11-26T08:59:13.427" v="3883"/>
          <ac:spMkLst>
            <pc:docMk/>
            <pc:sldMk cId="919259734" sldId="2146849626"/>
            <ac:spMk id="59" creationId="{8B307630-3894-42B0-B692-C568E352E3BD}"/>
          </ac:spMkLst>
        </pc:spChg>
        <pc:spChg chg="add mod">
          <ac:chgData name="Lars Boe Riber" userId="a0746655-6c86-46e8-9fa0-3fdc9fc77da6" providerId="ADAL" clId="{4E480DD1-6EB6-40E9-AA5D-F0885641F18B}" dt="2022-11-26T08:59:13.427" v="3883"/>
          <ac:spMkLst>
            <pc:docMk/>
            <pc:sldMk cId="919259734" sldId="2146849626"/>
            <ac:spMk id="60" creationId="{91C56210-39DA-45EC-A154-68611ADE9153}"/>
          </ac:spMkLst>
        </pc:spChg>
        <pc:spChg chg="add mod">
          <ac:chgData name="Lars Boe Riber" userId="a0746655-6c86-46e8-9fa0-3fdc9fc77da6" providerId="ADAL" clId="{4E480DD1-6EB6-40E9-AA5D-F0885641F18B}" dt="2022-11-26T08:59:13.427" v="3883"/>
          <ac:spMkLst>
            <pc:docMk/>
            <pc:sldMk cId="919259734" sldId="2146849626"/>
            <ac:spMk id="61" creationId="{CB9BA14D-BEEB-4838-B16C-F6C1992E7E92}"/>
          </ac:spMkLst>
        </pc:spChg>
        <pc:grpChg chg="del">
          <ac:chgData name="Lars Boe Riber" userId="a0746655-6c86-46e8-9fa0-3fdc9fc77da6" providerId="ADAL" clId="{4E480DD1-6EB6-40E9-AA5D-F0885641F18B}" dt="2022-11-26T08:59:12.956" v="3882" actId="478"/>
          <ac:grpSpMkLst>
            <pc:docMk/>
            <pc:sldMk cId="919259734" sldId="2146849626"/>
            <ac:grpSpMk id="21" creationId="{A322B6C7-5316-4E60-BC10-7D4DD8B876E6}"/>
          </ac:grpSpMkLst>
        </pc:grpChg>
        <pc:grpChg chg="del">
          <ac:chgData name="Lars Boe Riber" userId="a0746655-6c86-46e8-9fa0-3fdc9fc77da6" providerId="ADAL" clId="{4E480DD1-6EB6-40E9-AA5D-F0885641F18B}" dt="2022-11-26T08:59:12.956" v="3882" actId="478"/>
          <ac:grpSpMkLst>
            <pc:docMk/>
            <pc:sldMk cId="919259734" sldId="2146849626"/>
            <ac:grpSpMk id="24" creationId="{6034BEBB-1D63-4CFE-B87F-E1DA934A0DC5}"/>
          </ac:grpSpMkLst>
        </pc:grpChg>
        <pc:grpChg chg="del">
          <ac:chgData name="Lars Boe Riber" userId="a0746655-6c86-46e8-9fa0-3fdc9fc77da6" providerId="ADAL" clId="{4E480DD1-6EB6-40E9-AA5D-F0885641F18B}" dt="2022-11-26T08:59:12.956" v="3882" actId="478"/>
          <ac:grpSpMkLst>
            <pc:docMk/>
            <pc:sldMk cId="919259734" sldId="2146849626"/>
            <ac:grpSpMk id="27" creationId="{D53986B0-0AFB-481C-A7F9-D30CC27AE076}"/>
          </ac:grpSpMkLst>
        </pc:grpChg>
        <pc:grpChg chg="del">
          <ac:chgData name="Lars Boe Riber" userId="a0746655-6c86-46e8-9fa0-3fdc9fc77da6" providerId="ADAL" clId="{4E480DD1-6EB6-40E9-AA5D-F0885641F18B}" dt="2022-11-26T08:59:12.956" v="3882" actId="478"/>
          <ac:grpSpMkLst>
            <pc:docMk/>
            <pc:sldMk cId="919259734" sldId="2146849626"/>
            <ac:grpSpMk id="30" creationId="{B1A9EED9-3D60-4133-BE2C-91A3AAEB992D}"/>
          </ac:grpSpMkLst>
        </pc:grpChg>
        <pc:grpChg chg="del">
          <ac:chgData name="Lars Boe Riber" userId="a0746655-6c86-46e8-9fa0-3fdc9fc77da6" providerId="ADAL" clId="{4E480DD1-6EB6-40E9-AA5D-F0885641F18B}" dt="2022-11-26T08:59:12.956" v="3882" actId="478"/>
          <ac:grpSpMkLst>
            <pc:docMk/>
            <pc:sldMk cId="919259734" sldId="2146849626"/>
            <ac:grpSpMk id="33" creationId="{8DF9BA9A-8AE7-40F1-AF2A-C63468EE3FBA}"/>
          </ac:grpSpMkLst>
        </pc:grpChg>
        <pc:grpChg chg="add mod">
          <ac:chgData name="Lars Boe Riber" userId="a0746655-6c86-46e8-9fa0-3fdc9fc77da6" providerId="ADAL" clId="{4E480DD1-6EB6-40E9-AA5D-F0885641F18B}" dt="2022-11-26T08:59:13.427" v="3883"/>
          <ac:grpSpMkLst>
            <pc:docMk/>
            <pc:sldMk cId="919259734" sldId="2146849626"/>
            <ac:grpSpMk id="51" creationId="{82AF19AD-7B72-4ADD-93DA-7B7EF9A425E5}"/>
          </ac:grpSpMkLst>
        </pc:grpChg>
        <pc:grpChg chg="add mod">
          <ac:chgData name="Lars Boe Riber" userId="a0746655-6c86-46e8-9fa0-3fdc9fc77da6" providerId="ADAL" clId="{4E480DD1-6EB6-40E9-AA5D-F0885641F18B}" dt="2022-11-26T08:59:13.427" v="3883"/>
          <ac:grpSpMkLst>
            <pc:docMk/>
            <pc:sldMk cId="919259734" sldId="2146849626"/>
            <ac:grpSpMk id="54" creationId="{E473F767-7DCE-48DD-92C9-2F701CC9F224}"/>
          </ac:grpSpMkLst>
        </pc:grpChg>
        <pc:graphicFrameChg chg="del modGraphic">
          <ac:chgData name="Lars Boe Riber" userId="a0746655-6c86-46e8-9fa0-3fdc9fc77da6" providerId="ADAL" clId="{4E480DD1-6EB6-40E9-AA5D-F0885641F18B}" dt="2022-11-26T08:59:12.956" v="3882" actId="478"/>
          <ac:graphicFrameMkLst>
            <pc:docMk/>
            <pc:sldMk cId="919259734" sldId="2146849626"/>
            <ac:graphicFrameMk id="36" creationId="{D7C0D541-C531-433B-B5B1-D1A3651E32C0}"/>
          </ac:graphicFrameMkLst>
        </pc:graphicFrameChg>
        <pc:graphicFrameChg chg="add mod">
          <ac:chgData name="Lars Boe Riber" userId="a0746655-6c86-46e8-9fa0-3fdc9fc77da6" providerId="ADAL" clId="{4E480DD1-6EB6-40E9-AA5D-F0885641F18B}" dt="2022-11-26T08:59:13.427" v="3883"/>
          <ac:graphicFrameMkLst>
            <pc:docMk/>
            <pc:sldMk cId="919259734" sldId="2146849626"/>
            <ac:graphicFrameMk id="47" creationId="{652625BB-8EF2-4C3C-A15E-5FA92ED818F1}"/>
          </ac:graphicFrameMkLst>
        </pc:graphicFrameChg>
        <pc:picChg chg="add mod">
          <ac:chgData name="Lars Boe Riber" userId="a0746655-6c86-46e8-9fa0-3fdc9fc77da6" providerId="ADAL" clId="{4E480DD1-6EB6-40E9-AA5D-F0885641F18B}" dt="2022-11-26T08:59:13.427" v="3883"/>
          <ac:picMkLst>
            <pc:docMk/>
            <pc:sldMk cId="919259734" sldId="2146849626"/>
            <ac:picMk id="50" creationId="{2C352974-82A0-4BFB-AE01-CB6D1442545A}"/>
          </ac:picMkLst>
        </pc:picChg>
        <pc:picChg chg="mod">
          <ac:chgData name="Lars Boe Riber" userId="a0746655-6c86-46e8-9fa0-3fdc9fc77da6" providerId="ADAL" clId="{4E480DD1-6EB6-40E9-AA5D-F0885641F18B}" dt="2022-11-26T08:59:13.427" v="3883"/>
          <ac:picMkLst>
            <pc:docMk/>
            <pc:sldMk cId="919259734" sldId="2146849626"/>
            <ac:picMk id="52" creationId="{501D8942-0316-49D9-80D2-DA502D6669BF}"/>
          </ac:picMkLst>
        </pc:picChg>
        <pc:picChg chg="mod">
          <ac:chgData name="Lars Boe Riber" userId="a0746655-6c86-46e8-9fa0-3fdc9fc77da6" providerId="ADAL" clId="{4E480DD1-6EB6-40E9-AA5D-F0885641F18B}" dt="2022-11-26T08:59:13.427" v="3883"/>
          <ac:picMkLst>
            <pc:docMk/>
            <pc:sldMk cId="919259734" sldId="2146849626"/>
            <ac:picMk id="53" creationId="{6D7802E2-FA25-403D-BC9D-26CFD7988932}"/>
          </ac:picMkLst>
        </pc:picChg>
        <pc:picChg chg="mod">
          <ac:chgData name="Lars Boe Riber" userId="a0746655-6c86-46e8-9fa0-3fdc9fc77da6" providerId="ADAL" clId="{4E480DD1-6EB6-40E9-AA5D-F0885641F18B}" dt="2022-11-26T08:59:13.427" v="3883"/>
          <ac:picMkLst>
            <pc:docMk/>
            <pc:sldMk cId="919259734" sldId="2146849626"/>
            <ac:picMk id="55" creationId="{1791B2C1-D5AB-4BBE-9901-548CE9B298A8}"/>
          </ac:picMkLst>
        </pc:picChg>
        <pc:picChg chg="mod">
          <ac:chgData name="Lars Boe Riber" userId="a0746655-6c86-46e8-9fa0-3fdc9fc77da6" providerId="ADAL" clId="{4E480DD1-6EB6-40E9-AA5D-F0885641F18B}" dt="2022-11-26T08:59:13.427" v="3883"/>
          <ac:picMkLst>
            <pc:docMk/>
            <pc:sldMk cId="919259734" sldId="2146849626"/>
            <ac:picMk id="56" creationId="{8751AD03-1A56-42CC-BE23-11DB41E07F82}"/>
          </ac:picMkLst>
        </pc:picChg>
      </pc:sldChg>
      <pc:sldChg chg="addSp delSp modSp mod">
        <pc:chgData name="Lars Boe Riber" userId="a0746655-6c86-46e8-9fa0-3fdc9fc77da6" providerId="ADAL" clId="{4E480DD1-6EB6-40E9-AA5D-F0885641F18B}" dt="2022-11-24T18:31:41.334" v="3853" actId="1076"/>
        <pc:sldMkLst>
          <pc:docMk/>
          <pc:sldMk cId="3170663722" sldId="2146849627"/>
        </pc:sldMkLst>
        <pc:spChg chg="mod">
          <ac:chgData name="Lars Boe Riber" userId="a0746655-6c86-46e8-9fa0-3fdc9fc77da6" providerId="ADAL" clId="{4E480DD1-6EB6-40E9-AA5D-F0885641F18B}" dt="2022-11-18T10:27:08.263" v="1159" actId="790"/>
          <ac:spMkLst>
            <pc:docMk/>
            <pc:sldMk cId="3170663722" sldId="2146849627"/>
            <ac:spMk id="2" creationId="{307B692B-786B-48E5-8171-D7E213434C70}"/>
          </ac:spMkLst>
        </pc:spChg>
        <pc:spChg chg="mod">
          <ac:chgData name="Lars Boe Riber" userId="a0746655-6c86-46e8-9fa0-3fdc9fc77da6" providerId="ADAL" clId="{4E480DD1-6EB6-40E9-AA5D-F0885641F18B}" dt="2022-11-18T10:27:08.264" v="1161" actId="790"/>
          <ac:spMkLst>
            <pc:docMk/>
            <pc:sldMk cId="3170663722" sldId="2146849627"/>
            <ac:spMk id="4" creationId="{1418C2A0-77E9-48A1-80E4-BF0DD958ED64}"/>
          </ac:spMkLst>
        </pc:spChg>
        <pc:spChg chg="mod">
          <ac:chgData name="Lars Boe Riber" userId="a0746655-6c86-46e8-9fa0-3fdc9fc77da6" providerId="ADAL" clId="{4E480DD1-6EB6-40E9-AA5D-F0885641F18B}" dt="2022-11-24T13:37:29.807" v="3839" actId="20577"/>
          <ac:spMkLst>
            <pc:docMk/>
            <pc:sldMk cId="3170663722" sldId="2146849627"/>
            <ac:spMk id="5" creationId="{4B2F62FF-3A12-4B79-836E-B35D6A0EE5AA}"/>
          </ac:spMkLst>
        </pc:spChg>
        <pc:spChg chg="mod">
          <ac:chgData name="Lars Boe Riber" userId="a0746655-6c86-46e8-9fa0-3fdc9fc77da6" providerId="ADAL" clId="{4E480DD1-6EB6-40E9-AA5D-F0885641F18B}" dt="2022-11-18T10:27:08.267" v="1165" actId="790"/>
          <ac:spMkLst>
            <pc:docMk/>
            <pc:sldMk cId="3170663722" sldId="2146849627"/>
            <ac:spMk id="7" creationId="{E6342348-1999-4A40-A30B-CB739536B4D7}"/>
          </ac:spMkLst>
        </pc:spChg>
        <pc:spChg chg="del mod">
          <ac:chgData name="Lars Boe Riber" userId="a0746655-6c86-46e8-9fa0-3fdc9fc77da6" providerId="ADAL" clId="{4E480DD1-6EB6-40E9-AA5D-F0885641F18B}" dt="2022-11-24T13:37:24.906" v="3835" actId="478"/>
          <ac:spMkLst>
            <pc:docMk/>
            <pc:sldMk cId="3170663722" sldId="2146849627"/>
            <ac:spMk id="8" creationId="{B2775E36-78AE-421A-8C0B-DA2263ACE76B}"/>
          </ac:spMkLst>
        </pc:spChg>
        <pc:spChg chg="del mod">
          <ac:chgData name="Lars Boe Riber" userId="a0746655-6c86-46e8-9fa0-3fdc9fc77da6" providerId="ADAL" clId="{4E480DD1-6EB6-40E9-AA5D-F0885641F18B}" dt="2022-11-24T18:30:08.769" v="3848" actId="478"/>
          <ac:spMkLst>
            <pc:docMk/>
            <pc:sldMk cId="3170663722" sldId="2146849627"/>
            <ac:spMk id="9" creationId="{CA48174C-3243-4046-9725-484A5FC0EE21}"/>
          </ac:spMkLst>
        </pc:spChg>
        <pc:spChg chg="add del mod">
          <ac:chgData name="Lars Boe Riber" userId="a0746655-6c86-46e8-9fa0-3fdc9fc77da6" providerId="ADAL" clId="{4E480DD1-6EB6-40E9-AA5D-F0885641F18B}" dt="2022-11-24T18:30:10.255" v="3850"/>
          <ac:spMkLst>
            <pc:docMk/>
            <pc:sldMk cId="3170663722" sldId="2146849627"/>
            <ac:spMk id="14" creationId="{773A559F-EFD9-4168-9ABC-6A872AD2C376}"/>
          </ac:spMkLst>
        </pc:spChg>
        <pc:spChg chg="mod">
          <ac:chgData name="Lars Boe Riber" userId="a0746655-6c86-46e8-9fa0-3fdc9fc77da6" providerId="ADAL" clId="{4E480DD1-6EB6-40E9-AA5D-F0885641F18B}" dt="2022-11-18T10:27:08.271" v="1171" actId="790"/>
          <ac:spMkLst>
            <pc:docMk/>
            <pc:sldMk cId="3170663722" sldId="2146849627"/>
            <ac:spMk id="17" creationId="{6788FD68-C9B1-43D8-AB5D-CC7176A3BAF9}"/>
          </ac:spMkLst>
        </pc:spChg>
        <pc:spChg chg="add mod">
          <ac:chgData name="Lars Boe Riber" userId="a0746655-6c86-46e8-9fa0-3fdc9fc77da6" providerId="ADAL" clId="{4E480DD1-6EB6-40E9-AA5D-F0885641F18B}" dt="2022-11-24T11:51:08.024" v="3833" actId="1037"/>
          <ac:spMkLst>
            <pc:docMk/>
            <pc:sldMk cId="3170663722" sldId="2146849627"/>
            <ac:spMk id="18" creationId="{7161BAD5-825E-4F08-ABAB-CDD09C5A7BF2}"/>
          </ac:spMkLst>
        </pc:spChg>
        <pc:picChg chg="del">
          <ac:chgData name="Lars Boe Riber" userId="a0746655-6c86-46e8-9fa0-3fdc9fc77da6" providerId="ADAL" clId="{4E480DD1-6EB6-40E9-AA5D-F0885641F18B}" dt="2022-11-24T18:30:08.769" v="3848" actId="478"/>
          <ac:picMkLst>
            <pc:docMk/>
            <pc:sldMk cId="3170663722" sldId="2146849627"/>
            <ac:picMk id="6" creationId="{EEE41971-BA42-49D5-BD58-7D9CEDE303E3}"/>
          </ac:picMkLst>
        </pc:picChg>
        <pc:picChg chg="add mod">
          <ac:chgData name="Lars Boe Riber" userId="a0746655-6c86-46e8-9fa0-3fdc9fc77da6" providerId="ADAL" clId="{4E480DD1-6EB6-40E9-AA5D-F0885641F18B}" dt="2022-11-24T18:31:41.334" v="3853" actId="1076"/>
          <ac:picMkLst>
            <pc:docMk/>
            <pc:sldMk cId="3170663722" sldId="2146849627"/>
            <ac:picMk id="8" creationId="{442A943D-3771-4D3F-AC29-C996EA2C5581}"/>
          </ac:picMkLst>
        </pc:picChg>
        <pc:picChg chg="add mod">
          <ac:chgData name="Lars Boe Riber" userId="a0746655-6c86-46e8-9fa0-3fdc9fc77da6" providerId="ADAL" clId="{4E480DD1-6EB6-40E9-AA5D-F0885641F18B}" dt="2022-11-24T11:50:57.449" v="3821" actId="1076"/>
          <ac:picMkLst>
            <pc:docMk/>
            <pc:sldMk cId="3170663722" sldId="2146849627"/>
            <ac:picMk id="10" creationId="{D4D2D23D-F3FF-4CD6-8B55-4694A4971113}"/>
          </ac:picMkLst>
        </pc:picChg>
        <pc:picChg chg="del">
          <ac:chgData name="Lars Boe Riber" userId="a0746655-6c86-46e8-9fa0-3fdc9fc77da6" providerId="ADAL" clId="{4E480DD1-6EB6-40E9-AA5D-F0885641F18B}" dt="2022-11-24T11:48:25.689" v="3798" actId="478"/>
          <ac:picMkLst>
            <pc:docMk/>
            <pc:sldMk cId="3170663722" sldId="2146849627"/>
            <ac:picMk id="11" creationId="{2AE19AF9-1AF6-4573-AEB9-57C6F1EF5960}"/>
          </ac:picMkLst>
        </pc:picChg>
        <pc:picChg chg="add del">
          <ac:chgData name="Lars Boe Riber" userId="a0746655-6c86-46e8-9fa0-3fdc9fc77da6" providerId="ADAL" clId="{4E480DD1-6EB6-40E9-AA5D-F0885641F18B}" dt="2022-11-24T11:48:47.954" v="3800" actId="478"/>
          <ac:picMkLst>
            <pc:docMk/>
            <pc:sldMk cId="3170663722" sldId="2146849627"/>
            <ac:picMk id="1026" creationId="{C0C2E7B4-F6B1-4409-9A12-A770C760A870}"/>
          </ac:picMkLst>
        </pc:picChg>
      </pc:sldChg>
      <pc:sldChg chg="addSp delSp modSp new mod">
        <pc:chgData name="Lars Boe Riber" userId="a0746655-6c86-46e8-9fa0-3fdc9fc77da6" providerId="ADAL" clId="{4E480DD1-6EB6-40E9-AA5D-F0885641F18B}" dt="2022-11-29T07:50:32.216" v="3896" actId="20577"/>
        <pc:sldMkLst>
          <pc:docMk/>
          <pc:sldMk cId="3760464738" sldId="2146849628"/>
        </pc:sldMkLst>
        <pc:spChg chg="mod">
          <ac:chgData name="Lars Boe Riber" userId="a0746655-6c86-46e8-9fa0-3fdc9fc77da6" providerId="ADAL" clId="{4E480DD1-6EB6-40E9-AA5D-F0885641F18B}" dt="2022-11-26T08:55:22.926" v="3869" actId="20577"/>
          <ac:spMkLst>
            <pc:docMk/>
            <pc:sldMk cId="3760464738" sldId="2146849628"/>
            <ac:spMk id="2" creationId="{85FD8769-5441-431A-B995-6C0CE946DF05}"/>
          </ac:spMkLst>
        </pc:spChg>
        <pc:spChg chg="del">
          <ac:chgData name="Lars Boe Riber" userId="a0746655-6c86-46e8-9fa0-3fdc9fc77da6" providerId="ADAL" clId="{4E480DD1-6EB6-40E9-AA5D-F0885641F18B}" dt="2022-11-26T08:55:20.166" v="3859" actId="478"/>
          <ac:spMkLst>
            <pc:docMk/>
            <pc:sldMk cId="3760464738" sldId="2146849628"/>
            <ac:spMk id="3" creationId="{0D2A498D-C45C-4543-A47C-50D585B72F1B}"/>
          </ac:spMkLst>
        </pc:spChg>
        <pc:spChg chg="add mod">
          <ac:chgData name="Lars Boe Riber" userId="a0746655-6c86-46e8-9fa0-3fdc9fc77da6" providerId="ADAL" clId="{4E480DD1-6EB6-40E9-AA5D-F0885641F18B}" dt="2022-11-26T08:55:24.419" v="3870"/>
          <ac:spMkLst>
            <pc:docMk/>
            <pc:sldMk cId="3760464738" sldId="2146849628"/>
            <ac:spMk id="5" creationId="{B49DD8F5-D2C8-4225-8F58-A2EED30C3D12}"/>
          </ac:spMkLst>
        </pc:spChg>
        <pc:spChg chg="add mod">
          <ac:chgData name="Lars Boe Riber" userId="a0746655-6c86-46e8-9fa0-3fdc9fc77da6" providerId="ADAL" clId="{4E480DD1-6EB6-40E9-AA5D-F0885641F18B}" dt="2022-11-26T08:55:24.419" v="3870"/>
          <ac:spMkLst>
            <pc:docMk/>
            <pc:sldMk cId="3760464738" sldId="2146849628"/>
            <ac:spMk id="6" creationId="{73D48CA3-B5C3-41F7-A8A9-B1FC5D2D9780}"/>
          </ac:spMkLst>
        </pc:spChg>
        <pc:spChg chg="add mod">
          <ac:chgData name="Lars Boe Riber" userId="a0746655-6c86-46e8-9fa0-3fdc9fc77da6" providerId="ADAL" clId="{4E480DD1-6EB6-40E9-AA5D-F0885641F18B}" dt="2022-11-26T08:55:24.419" v="3870"/>
          <ac:spMkLst>
            <pc:docMk/>
            <pc:sldMk cId="3760464738" sldId="2146849628"/>
            <ac:spMk id="7" creationId="{0E78B83B-992F-4BA7-95BA-00909EFD629F}"/>
          </ac:spMkLst>
        </pc:spChg>
        <pc:spChg chg="add mod">
          <ac:chgData name="Lars Boe Riber" userId="a0746655-6c86-46e8-9fa0-3fdc9fc77da6" providerId="ADAL" clId="{4E480DD1-6EB6-40E9-AA5D-F0885641F18B}" dt="2022-11-26T08:55:24.419" v="3870"/>
          <ac:spMkLst>
            <pc:docMk/>
            <pc:sldMk cId="3760464738" sldId="2146849628"/>
            <ac:spMk id="8" creationId="{319FBD76-CAD1-4BBB-8B3F-CEA185F98B4F}"/>
          </ac:spMkLst>
        </pc:spChg>
        <pc:spChg chg="add mod">
          <ac:chgData name="Lars Boe Riber" userId="a0746655-6c86-46e8-9fa0-3fdc9fc77da6" providerId="ADAL" clId="{4E480DD1-6EB6-40E9-AA5D-F0885641F18B}" dt="2022-11-26T08:55:24.419" v="3870"/>
          <ac:spMkLst>
            <pc:docMk/>
            <pc:sldMk cId="3760464738" sldId="2146849628"/>
            <ac:spMk id="9" creationId="{735C49B0-59A7-40AC-A843-AFE925E65506}"/>
          </ac:spMkLst>
        </pc:spChg>
        <pc:spChg chg="add mod">
          <ac:chgData name="Lars Boe Riber" userId="a0746655-6c86-46e8-9fa0-3fdc9fc77da6" providerId="ADAL" clId="{4E480DD1-6EB6-40E9-AA5D-F0885641F18B}" dt="2022-11-29T07:50:32.216" v="3896" actId="20577"/>
          <ac:spMkLst>
            <pc:docMk/>
            <pc:sldMk cId="3760464738" sldId="2146849628"/>
            <ac:spMk id="12" creationId="{B07E00B5-A654-42B9-ABB5-B7C1556AC950}"/>
          </ac:spMkLst>
        </pc:spChg>
        <pc:spChg chg="add mod">
          <ac:chgData name="Lars Boe Riber" userId="a0746655-6c86-46e8-9fa0-3fdc9fc77da6" providerId="ADAL" clId="{4E480DD1-6EB6-40E9-AA5D-F0885641F18B}" dt="2022-11-29T07:50:24.944" v="3892" actId="20577"/>
          <ac:spMkLst>
            <pc:docMk/>
            <pc:sldMk cId="3760464738" sldId="2146849628"/>
            <ac:spMk id="13" creationId="{D526DAE8-C7A9-43B2-AC59-87950CB67581}"/>
          </ac:spMkLst>
        </pc:spChg>
        <pc:picChg chg="add mod">
          <ac:chgData name="Lars Boe Riber" userId="a0746655-6c86-46e8-9fa0-3fdc9fc77da6" providerId="ADAL" clId="{4E480DD1-6EB6-40E9-AA5D-F0885641F18B}" dt="2022-11-26T08:55:24.419" v="3870"/>
          <ac:picMkLst>
            <pc:docMk/>
            <pc:sldMk cId="3760464738" sldId="2146849628"/>
            <ac:picMk id="10" creationId="{E2940BC4-6885-4C2A-802C-479769B5DAC3}"/>
          </ac:picMkLst>
        </pc:picChg>
        <pc:picChg chg="add mod">
          <ac:chgData name="Lars Boe Riber" userId="a0746655-6c86-46e8-9fa0-3fdc9fc77da6" providerId="ADAL" clId="{4E480DD1-6EB6-40E9-AA5D-F0885641F18B}" dt="2022-11-26T08:55:24.419" v="3870"/>
          <ac:picMkLst>
            <pc:docMk/>
            <pc:sldMk cId="3760464738" sldId="2146849628"/>
            <ac:picMk id="11" creationId="{60562E89-E517-429B-8A50-199EB2AA1CB0}"/>
          </ac:picMkLst>
        </pc:picChg>
      </pc:sldChg>
      <pc:sldChg chg="new del">
        <pc:chgData name="Lars Boe Riber" userId="a0746655-6c86-46e8-9fa0-3fdc9fc77da6" providerId="ADAL" clId="{4E480DD1-6EB6-40E9-AA5D-F0885641F18B}" dt="2022-11-18T10:57:41.573" v="2692" actId="47"/>
        <pc:sldMkLst>
          <pc:docMk/>
          <pc:sldMk cId="4268041783" sldId="2146849628"/>
        </pc:sldMkLst>
      </pc:sldChg>
      <pc:sldChg chg="modSp add mod">
        <pc:chgData name="Lars Boe Riber" userId="a0746655-6c86-46e8-9fa0-3fdc9fc77da6" providerId="ADAL" clId="{4E480DD1-6EB6-40E9-AA5D-F0885641F18B}" dt="2022-11-26T08:58:10.894" v="3877" actId="207"/>
        <pc:sldMkLst>
          <pc:docMk/>
          <pc:sldMk cId="3133882663" sldId="2146849629"/>
        </pc:sldMkLst>
        <pc:spChg chg="mod">
          <ac:chgData name="Lars Boe Riber" userId="a0746655-6c86-46e8-9fa0-3fdc9fc77da6" providerId="ADAL" clId="{4E480DD1-6EB6-40E9-AA5D-F0885641F18B}" dt="2022-11-26T08:56:47.427" v="3875"/>
          <ac:spMkLst>
            <pc:docMk/>
            <pc:sldMk cId="3133882663" sldId="2146849629"/>
            <ac:spMk id="37" creationId="{1CAF4A50-053F-4CA7-B389-DE91934D11BB}"/>
          </ac:spMkLst>
        </pc:spChg>
        <pc:spChg chg="mod">
          <ac:chgData name="Lars Boe Riber" userId="a0746655-6c86-46e8-9fa0-3fdc9fc77da6" providerId="ADAL" clId="{4E480DD1-6EB6-40E9-AA5D-F0885641F18B}" dt="2022-11-26T08:58:10.894" v="3877" actId="207"/>
          <ac:spMkLst>
            <pc:docMk/>
            <pc:sldMk cId="3133882663" sldId="2146849629"/>
            <ac:spMk id="38" creationId="{CE1B5D5F-FAA5-4D1E-963A-1EB455C4238F}"/>
          </ac:spMkLst>
        </pc:spChg>
      </pc:sldChg>
      <pc:sldChg chg="add">
        <pc:chgData name="Lars Boe Riber" userId="a0746655-6c86-46e8-9fa0-3fdc9fc77da6" providerId="ADAL" clId="{4E480DD1-6EB6-40E9-AA5D-F0885641F18B}" dt="2022-11-26T08:59:55.650" v="3884"/>
        <pc:sldMkLst>
          <pc:docMk/>
          <pc:sldMk cId="1095206891" sldId="2146849632"/>
        </pc:sldMkLst>
      </pc:sldChg>
      <pc:sldMasterChg chg="modSp mod modSldLayout">
        <pc:chgData name="Lars Boe Riber" userId="a0746655-6c86-46e8-9fa0-3fdc9fc77da6" providerId="ADAL" clId="{4E480DD1-6EB6-40E9-AA5D-F0885641F18B}" dt="2022-11-18T10:27:09.811" v="2408" actId="790"/>
        <pc:sldMasterMkLst>
          <pc:docMk/>
          <pc:sldMasterMk cId="180999990" sldId="2147483648"/>
        </pc:sldMasterMkLst>
        <pc:spChg chg="mod">
          <ac:chgData name="Lars Boe Riber" userId="a0746655-6c86-46e8-9fa0-3fdc9fc77da6" providerId="ADAL" clId="{4E480DD1-6EB6-40E9-AA5D-F0885641F18B}" dt="2022-11-18T10:27:07.331" v="81" actId="790"/>
          <ac:spMkLst>
            <pc:docMk/>
            <pc:sldMasterMk cId="180999990" sldId="2147483648"/>
            <ac:spMk id="2" creationId="{0643F1B6-0743-4D14-8B95-B030120DE5D1}"/>
          </ac:spMkLst>
        </pc:spChg>
        <pc:spChg chg="mod">
          <ac:chgData name="Lars Boe Riber" userId="a0746655-6c86-46e8-9fa0-3fdc9fc77da6" providerId="ADAL" clId="{4E480DD1-6EB6-40E9-AA5D-F0885641F18B}" dt="2022-11-18T10:27:07.328" v="79" actId="790"/>
          <ac:spMkLst>
            <pc:docMk/>
            <pc:sldMasterMk cId="180999990" sldId="2147483648"/>
            <ac:spMk id="3" creationId="{00000000-0000-0000-0000-000000000000}"/>
          </ac:spMkLst>
        </pc:spChg>
        <pc:spChg chg="mod">
          <ac:chgData name="Lars Boe Riber" userId="a0746655-6c86-46e8-9fa0-3fdc9fc77da6" providerId="ADAL" clId="{4E480DD1-6EB6-40E9-AA5D-F0885641F18B}" dt="2022-11-18T10:27:07.308" v="67" actId="790"/>
          <ac:spMkLst>
            <pc:docMk/>
            <pc:sldMasterMk cId="180999990" sldId="2147483648"/>
            <ac:spMk id="4" creationId="{01B9A0B6-FAB9-47A4-9AD8-E4A32831A03D}"/>
          </ac:spMkLst>
        </pc:spChg>
        <pc:spChg chg="mod">
          <ac:chgData name="Lars Boe Riber" userId="a0746655-6c86-46e8-9fa0-3fdc9fc77da6" providerId="ADAL" clId="{4E480DD1-6EB6-40E9-AA5D-F0885641F18B}" dt="2022-11-18T10:27:07.311" v="69" actId="790"/>
          <ac:spMkLst>
            <pc:docMk/>
            <pc:sldMasterMk cId="180999990" sldId="2147483648"/>
            <ac:spMk id="7" creationId="{C9392247-CE23-49BB-A39E-64C7575BE478}"/>
          </ac:spMkLst>
        </pc:spChg>
        <pc:spChg chg="mod">
          <ac:chgData name="Lars Boe Riber" userId="a0746655-6c86-46e8-9fa0-3fdc9fc77da6" providerId="ADAL" clId="{4E480DD1-6EB6-40E9-AA5D-F0885641F18B}" dt="2022-11-18T10:27:07.332" v="82" actId="790"/>
          <ac:spMkLst>
            <pc:docMk/>
            <pc:sldMasterMk cId="180999990" sldId="2147483648"/>
            <ac:spMk id="8" creationId="{69460BDC-2796-43E8-A075-B3BFBC3B28E3}"/>
          </ac:spMkLst>
        </pc:spChg>
        <pc:spChg chg="mod">
          <ac:chgData name="Lars Boe Riber" userId="a0746655-6c86-46e8-9fa0-3fdc9fc77da6" providerId="ADAL" clId="{4E480DD1-6EB6-40E9-AA5D-F0885641F18B}" dt="2022-11-18T10:27:07.336" v="84" actId="790"/>
          <ac:spMkLst>
            <pc:docMk/>
            <pc:sldMasterMk cId="180999990" sldId="2147483648"/>
            <ac:spMk id="9" creationId="{5942516E-ED5A-4F68-B285-E8D0CC42F948}"/>
          </ac:spMkLst>
        </pc:spChg>
        <pc:spChg chg="mod">
          <ac:chgData name="Lars Boe Riber" userId="a0746655-6c86-46e8-9fa0-3fdc9fc77da6" providerId="ADAL" clId="{4E480DD1-6EB6-40E9-AA5D-F0885641F18B}" dt="2022-11-18T10:27:07.278" v="52" actId="790"/>
          <ac:spMkLst>
            <pc:docMk/>
            <pc:sldMasterMk cId="180999990" sldId="2147483648"/>
            <ac:spMk id="11" creationId="{879F99D4-F67E-4434-8A77-73CFD8194BE7}"/>
          </ac:spMkLst>
        </pc:spChg>
        <pc:spChg chg="mod">
          <ac:chgData name="Lars Boe Riber" userId="a0746655-6c86-46e8-9fa0-3fdc9fc77da6" providerId="ADAL" clId="{4E480DD1-6EB6-40E9-AA5D-F0885641F18B}" dt="2022-11-18T10:27:07.283" v="53" actId="790"/>
          <ac:spMkLst>
            <pc:docMk/>
            <pc:sldMasterMk cId="180999990" sldId="2147483648"/>
            <ac:spMk id="12" creationId="{7B2247C1-8999-4428-B39C-99101426123D}"/>
          </ac:spMkLst>
        </pc:spChg>
        <pc:spChg chg="mod">
          <ac:chgData name="Lars Boe Riber" userId="a0746655-6c86-46e8-9fa0-3fdc9fc77da6" providerId="ADAL" clId="{4E480DD1-6EB6-40E9-AA5D-F0885641F18B}" dt="2022-11-18T10:27:07.284" v="54" actId="790"/>
          <ac:spMkLst>
            <pc:docMk/>
            <pc:sldMasterMk cId="180999990" sldId="2147483648"/>
            <ac:spMk id="13" creationId="{01125219-FD9A-41B2-B1E3-EAB13584C8B0}"/>
          </ac:spMkLst>
        </pc:spChg>
        <pc:spChg chg="mod">
          <ac:chgData name="Lars Boe Riber" userId="a0746655-6c86-46e8-9fa0-3fdc9fc77da6" providerId="ADAL" clId="{4E480DD1-6EB6-40E9-AA5D-F0885641F18B}" dt="2022-11-18T10:27:07.285" v="55" actId="790"/>
          <ac:spMkLst>
            <pc:docMk/>
            <pc:sldMasterMk cId="180999990" sldId="2147483648"/>
            <ac:spMk id="14" creationId="{9916D790-5B35-4F06-B6DB-EC1E2EB169A5}"/>
          </ac:spMkLst>
        </pc:spChg>
        <pc:spChg chg="mod">
          <ac:chgData name="Lars Boe Riber" userId="a0746655-6c86-46e8-9fa0-3fdc9fc77da6" providerId="ADAL" clId="{4E480DD1-6EB6-40E9-AA5D-F0885641F18B}" dt="2022-11-18T10:27:07.286" v="56" actId="790"/>
          <ac:spMkLst>
            <pc:docMk/>
            <pc:sldMasterMk cId="180999990" sldId="2147483648"/>
            <ac:spMk id="15" creationId="{BDCB2FC5-A2F6-4A4F-84AA-43534FE975BF}"/>
          </ac:spMkLst>
        </pc:spChg>
        <pc:spChg chg="mod">
          <ac:chgData name="Lars Boe Riber" userId="a0746655-6c86-46e8-9fa0-3fdc9fc77da6" providerId="ADAL" clId="{4E480DD1-6EB6-40E9-AA5D-F0885641F18B}" dt="2022-11-18T10:27:07.288" v="57" actId="790"/>
          <ac:spMkLst>
            <pc:docMk/>
            <pc:sldMasterMk cId="180999990" sldId="2147483648"/>
            <ac:spMk id="16" creationId="{365EB2D0-7A80-405D-B665-12F8D4CC5F63}"/>
          </ac:spMkLst>
        </pc:spChg>
        <pc:spChg chg="mod">
          <ac:chgData name="Lars Boe Riber" userId="a0746655-6c86-46e8-9fa0-3fdc9fc77da6" providerId="ADAL" clId="{4E480DD1-6EB6-40E9-AA5D-F0885641F18B}" dt="2022-11-18T10:27:07.289" v="58" actId="790"/>
          <ac:spMkLst>
            <pc:docMk/>
            <pc:sldMasterMk cId="180999990" sldId="2147483648"/>
            <ac:spMk id="17" creationId="{4E2768B5-D959-48CB-BDED-4EAD8F5FF0AD}"/>
          </ac:spMkLst>
        </pc:spChg>
        <pc:spChg chg="mod">
          <ac:chgData name="Lars Boe Riber" userId="a0746655-6c86-46e8-9fa0-3fdc9fc77da6" providerId="ADAL" clId="{4E480DD1-6EB6-40E9-AA5D-F0885641F18B}" dt="2022-11-18T10:27:07.289" v="59" actId="790"/>
          <ac:spMkLst>
            <pc:docMk/>
            <pc:sldMasterMk cId="180999990" sldId="2147483648"/>
            <ac:spMk id="18" creationId="{CEE85FF8-3F3E-4005-8518-F5A205F1651A}"/>
          </ac:spMkLst>
        </pc:spChg>
        <pc:spChg chg="mod">
          <ac:chgData name="Lars Boe Riber" userId="a0746655-6c86-46e8-9fa0-3fdc9fc77da6" providerId="ADAL" clId="{4E480DD1-6EB6-40E9-AA5D-F0885641F18B}" dt="2022-11-18T10:27:07.290" v="60" actId="790"/>
          <ac:spMkLst>
            <pc:docMk/>
            <pc:sldMasterMk cId="180999990" sldId="2147483648"/>
            <ac:spMk id="19" creationId="{339F7EBC-85F9-49AF-A359-590F00976AFB}"/>
          </ac:spMkLst>
        </pc:spChg>
        <pc:spChg chg="mod">
          <ac:chgData name="Lars Boe Riber" userId="a0746655-6c86-46e8-9fa0-3fdc9fc77da6" providerId="ADAL" clId="{4E480DD1-6EB6-40E9-AA5D-F0885641F18B}" dt="2022-11-18T10:27:07.291" v="61" actId="790"/>
          <ac:spMkLst>
            <pc:docMk/>
            <pc:sldMasterMk cId="180999990" sldId="2147483648"/>
            <ac:spMk id="20" creationId="{17F1FA3E-E852-433E-9D2C-2852FFC2D8B6}"/>
          </ac:spMkLst>
        </pc:spChg>
        <pc:spChg chg="mod">
          <ac:chgData name="Lars Boe Riber" userId="a0746655-6c86-46e8-9fa0-3fdc9fc77da6" providerId="ADAL" clId="{4E480DD1-6EB6-40E9-AA5D-F0885641F18B}" dt="2022-11-18T10:27:07.292" v="62" actId="790"/>
          <ac:spMkLst>
            <pc:docMk/>
            <pc:sldMasterMk cId="180999990" sldId="2147483648"/>
            <ac:spMk id="21" creationId="{52443D88-E494-49A4-9054-8E60E8F2A85E}"/>
          </ac:spMkLst>
        </pc:spChg>
        <pc:spChg chg="mod">
          <ac:chgData name="Lars Boe Riber" userId="a0746655-6c86-46e8-9fa0-3fdc9fc77da6" providerId="ADAL" clId="{4E480DD1-6EB6-40E9-AA5D-F0885641F18B}" dt="2022-11-18T10:27:07.293" v="63" actId="790"/>
          <ac:spMkLst>
            <pc:docMk/>
            <pc:sldMasterMk cId="180999990" sldId="2147483648"/>
            <ac:spMk id="22" creationId="{A83D840B-83FD-46BD-BEA5-2505FBE2EFF8}"/>
          </ac:spMkLst>
        </pc:spChg>
        <pc:spChg chg="mod">
          <ac:chgData name="Lars Boe Riber" userId="a0746655-6c86-46e8-9fa0-3fdc9fc77da6" providerId="ADAL" clId="{4E480DD1-6EB6-40E9-AA5D-F0885641F18B}" dt="2022-11-18T10:27:07.294" v="64" actId="790"/>
          <ac:spMkLst>
            <pc:docMk/>
            <pc:sldMasterMk cId="180999990" sldId="2147483648"/>
            <ac:spMk id="23" creationId="{3ABC8FB8-5C7D-4EA0-B3F8-180CCCB2B78F}"/>
          </ac:spMkLst>
        </pc:spChg>
        <pc:spChg chg="mod">
          <ac:chgData name="Lars Boe Riber" userId="a0746655-6c86-46e8-9fa0-3fdc9fc77da6" providerId="ADAL" clId="{4E480DD1-6EB6-40E9-AA5D-F0885641F18B}" dt="2022-11-18T10:27:07.294" v="65" actId="790"/>
          <ac:spMkLst>
            <pc:docMk/>
            <pc:sldMasterMk cId="180999990" sldId="2147483648"/>
            <ac:spMk id="24" creationId="{2A6E85EE-3577-48A9-A89C-EA48B414776F}"/>
          </ac:spMkLst>
        </pc:spChg>
        <pc:sldLayoutChg chg="modSp mod">
          <pc:chgData name="Lars Boe Riber" userId="a0746655-6c86-46e8-9fa0-3fdc9fc77da6" providerId="ADAL" clId="{4E480DD1-6EB6-40E9-AA5D-F0885641F18B}" dt="2022-11-18T10:27:08.321" v="1216" actId="790"/>
          <pc:sldLayoutMkLst>
            <pc:docMk/>
            <pc:sldMasterMk cId="180999990" sldId="2147483648"/>
            <pc:sldLayoutMk cId="422711174" sldId="2147483649"/>
          </pc:sldLayoutMkLst>
          <pc:spChg chg="mod">
            <ac:chgData name="Lars Boe Riber" userId="a0746655-6c86-46e8-9fa0-3fdc9fc77da6" providerId="ADAL" clId="{4E480DD1-6EB6-40E9-AA5D-F0885641F18B}" dt="2022-11-18T10:27:08.321" v="1216" actId="790"/>
            <ac:spMkLst>
              <pc:docMk/>
              <pc:sldMasterMk cId="180999990" sldId="2147483648"/>
              <pc:sldLayoutMk cId="422711174" sldId="2147483649"/>
              <ac:spMk id="2" creationId="{00000000-0000-0000-0000-000000000000}"/>
            </ac:spMkLst>
          </pc:spChg>
          <pc:spChg chg="mod">
            <ac:chgData name="Lars Boe Riber" userId="a0746655-6c86-46e8-9fa0-3fdc9fc77da6" providerId="ADAL" clId="{4E480DD1-6EB6-40E9-AA5D-F0885641F18B}" dt="2022-11-18T10:27:08.316" v="1212" actId="790"/>
            <ac:spMkLst>
              <pc:docMk/>
              <pc:sldMasterMk cId="180999990" sldId="2147483648"/>
              <pc:sldLayoutMk cId="422711174" sldId="2147483649"/>
              <ac:spMk id="9" creationId="{22F6F34B-A8D0-4DB2-A40E-DF14A9DD8EC5}"/>
            </ac:spMkLst>
          </pc:spChg>
          <pc:spChg chg="mod">
            <ac:chgData name="Lars Boe Riber" userId="a0746655-6c86-46e8-9fa0-3fdc9fc77da6" providerId="ADAL" clId="{4E480DD1-6EB6-40E9-AA5D-F0885641F18B}" dt="2022-11-18T10:27:08.312" v="1208" actId="790"/>
            <ac:spMkLst>
              <pc:docMk/>
              <pc:sldMasterMk cId="180999990" sldId="2147483648"/>
              <pc:sldLayoutMk cId="422711174" sldId="2147483649"/>
              <ac:spMk id="10" creationId="{19E8C21D-363E-4C29-BCB1-2C67A41A6B1A}"/>
            </ac:spMkLst>
          </pc:spChg>
          <pc:spChg chg="mod">
            <ac:chgData name="Lars Boe Riber" userId="a0746655-6c86-46e8-9fa0-3fdc9fc77da6" providerId="ADAL" clId="{4E480DD1-6EB6-40E9-AA5D-F0885641F18B}" dt="2022-11-18T10:27:08.313" v="1209" actId="790"/>
            <ac:spMkLst>
              <pc:docMk/>
              <pc:sldMasterMk cId="180999990" sldId="2147483648"/>
              <pc:sldLayoutMk cId="422711174" sldId="2147483649"/>
              <ac:spMk id="11" creationId="{6DB35B2F-204D-4092-A860-94E70637BD46}"/>
            </ac:spMkLst>
          </pc:spChg>
          <pc:spChg chg="mod">
            <ac:chgData name="Lars Boe Riber" userId="a0746655-6c86-46e8-9fa0-3fdc9fc77da6" providerId="ADAL" clId="{4E480DD1-6EB6-40E9-AA5D-F0885641F18B}" dt="2022-11-18T10:27:08.315" v="1211" actId="790"/>
            <ac:spMkLst>
              <pc:docMk/>
              <pc:sldMasterMk cId="180999990" sldId="2147483648"/>
              <pc:sldLayoutMk cId="422711174" sldId="2147483649"/>
              <ac:spMk id="12" creationId="{1BEB41F5-194C-405C-8EDC-8C5E550FE046}"/>
            </ac:spMkLst>
          </pc:spChg>
          <pc:spChg chg="mod">
            <ac:chgData name="Lars Boe Riber" userId="a0746655-6c86-46e8-9fa0-3fdc9fc77da6" providerId="ADAL" clId="{4E480DD1-6EB6-40E9-AA5D-F0885641F18B}" dt="2022-11-18T10:27:08.320" v="1214" actId="790"/>
            <ac:spMkLst>
              <pc:docMk/>
              <pc:sldMasterMk cId="180999990" sldId="2147483648"/>
              <pc:sldLayoutMk cId="422711174" sldId="2147483649"/>
              <ac:spMk id="15" creationId="{F5DCE21D-C322-4B21-A60A-71E6E2C54DDC}"/>
            </ac:spMkLst>
          </pc:spChg>
        </pc:sldLayoutChg>
        <pc:sldLayoutChg chg="modSp mod">
          <pc:chgData name="Lars Boe Riber" userId="a0746655-6c86-46e8-9fa0-3fdc9fc77da6" providerId="ADAL" clId="{4E480DD1-6EB6-40E9-AA5D-F0885641F18B}" dt="2022-11-18T10:27:08.332" v="1228" actId="790"/>
          <pc:sldLayoutMkLst>
            <pc:docMk/>
            <pc:sldMasterMk cId="180999990" sldId="2147483648"/>
            <pc:sldLayoutMk cId="435628648" sldId="2147483650"/>
          </pc:sldLayoutMkLst>
          <pc:spChg chg="mod">
            <ac:chgData name="Lars Boe Riber" userId="a0746655-6c86-46e8-9fa0-3fdc9fc77da6" providerId="ADAL" clId="{4E480DD1-6EB6-40E9-AA5D-F0885641F18B}" dt="2022-11-18T10:27:08.329" v="1226" actId="790"/>
            <ac:spMkLst>
              <pc:docMk/>
              <pc:sldMasterMk cId="180999990" sldId="2147483648"/>
              <pc:sldLayoutMk cId="435628648" sldId="2147483650"/>
              <ac:spMk id="2" creationId="{00000000-0000-0000-0000-000000000000}"/>
            </ac:spMkLst>
          </pc:spChg>
          <pc:spChg chg="mod">
            <ac:chgData name="Lars Boe Riber" userId="a0746655-6c86-46e8-9fa0-3fdc9fc77da6" providerId="ADAL" clId="{4E480DD1-6EB6-40E9-AA5D-F0885641F18B}" dt="2022-11-18T10:27:08.326" v="1222" actId="790"/>
            <ac:spMkLst>
              <pc:docMk/>
              <pc:sldMasterMk cId="180999990" sldId="2147483648"/>
              <pc:sldLayoutMk cId="435628648" sldId="2147483650"/>
              <ac:spMk id="9" creationId="{22F6F34B-A8D0-4DB2-A40E-DF14A9DD8EC5}"/>
            </ac:spMkLst>
          </pc:spChg>
          <pc:spChg chg="mod">
            <ac:chgData name="Lars Boe Riber" userId="a0746655-6c86-46e8-9fa0-3fdc9fc77da6" providerId="ADAL" clId="{4E480DD1-6EB6-40E9-AA5D-F0885641F18B}" dt="2022-11-18T10:27:08.323" v="1218" actId="790"/>
            <ac:spMkLst>
              <pc:docMk/>
              <pc:sldMasterMk cId="180999990" sldId="2147483648"/>
              <pc:sldLayoutMk cId="435628648" sldId="2147483650"/>
              <ac:spMk id="10" creationId="{19E8C21D-363E-4C29-BCB1-2C67A41A6B1A}"/>
            </ac:spMkLst>
          </pc:spChg>
          <pc:spChg chg="mod">
            <ac:chgData name="Lars Boe Riber" userId="a0746655-6c86-46e8-9fa0-3fdc9fc77da6" providerId="ADAL" clId="{4E480DD1-6EB6-40E9-AA5D-F0885641F18B}" dt="2022-11-18T10:27:08.324" v="1219" actId="790"/>
            <ac:spMkLst>
              <pc:docMk/>
              <pc:sldMasterMk cId="180999990" sldId="2147483648"/>
              <pc:sldLayoutMk cId="435628648" sldId="2147483650"/>
              <ac:spMk id="11" creationId="{6DB35B2F-204D-4092-A860-94E70637BD46}"/>
            </ac:spMkLst>
          </pc:spChg>
          <pc:spChg chg="mod">
            <ac:chgData name="Lars Boe Riber" userId="a0746655-6c86-46e8-9fa0-3fdc9fc77da6" providerId="ADAL" clId="{4E480DD1-6EB6-40E9-AA5D-F0885641F18B}" dt="2022-11-18T10:27:08.326" v="1221" actId="790"/>
            <ac:spMkLst>
              <pc:docMk/>
              <pc:sldMasterMk cId="180999990" sldId="2147483648"/>
              <pc:sldLayoutMk cId="435628648" sldId="2147483650"/>
              <ac:spMk id="12" creationId="{1BEB41F5-194C-405C-8EDC-8C5E550FE046}"/>
            </ac:spMkLst>
          </pc:spChg>
          <pc:spChg chg="mod">
            <ac:chgData name="Lars Boe Riber" userId="a0746655-6c86-46e8-9fa0-3fdc9fc77da6" providerId="ADAL" clId="{4E480DD1-6EB6-40E9-AA5D-F0885641F18B}" dt="2022-11-18T10:27:08.332" v="1228" actId="790"/>
            <ac:spMkLst>
              <pc:docMk/>
              <pc:sldMasterMk cId="180999990" sldId="2147483648"/>
              <pc:sldLayoutMk cId="435628648" sldId="2147483650"/>
              <ac:spMk id="13" creationId="{FE897BB9-C0DA-41AA-90EC-DB8C5FCE355C}"/>
            </ac:spMkLst>
          </pc:spChg>
          <pc:spChg chg="mod">
            <ac:chgData name="Lars Boe Riber" userId="a0746655-6c86-46e8-9fa0-3fdc9fc77da6" providerId="ADAL" clId="{4E480DD1-6EB6-40E9-AA5D-F0885641F18B}" dt="2022-11-18T10:27:08.328" v="1224" actId="790"/>
            <ac:spMkLst>
              <pc:docMk/>
              <pc:sldMasterMk cId="180999990" sldId="2147483648"/>
              <pc:sldLayoutMk cId="435628648" sldId="2147483650"/>
              <ac:spMk id="17" creationId="{66F7659C-7B1E-49FB-B560-86891DD5634F}"/>
            </ac:spMkLst>
          </pc:spChg>
        </pc:sldLayoutChg>
        <pc:sldLayoutChg chg="modSp mod">
          <pc:chgData name="Lars Boe Riber" userId="a0746655-6c86-46e8-9fa0-3fdc9fc77da6" providerId="ADAL" clId="{4E480DD1-6EB6-40E9-AA5D-F0885641F18B}" dt="2022-11-18T10:27:08.346" v="1240" actId="790"/>
          <pc:sldLayoutMkLst>
            <pc:docMk/>
            <pc:sldMasterMk cId="180999990" sldId="2147483648"/>
            <pc:sldLayoutMk cId="576671673" sldId="2147483651"/>
          </pc:sldLayoutMkLst>
          <pc:spChg chg="mod">
            <ac:chgData name="Lars Boe Riber" userId="a0746655-6c86-46e8-9fa0-3fdc9fc77da6" providerId="ADAL" clId="{4E480DD1-6EB6-40E9-AA5D-F0885641F18B}" dt="2022-11-18T10:27:08.344" v="1238" actId="790"/>
            <ac:spMkLst>
              <pc:docMk/>
              <pc:sldMasterMk cId="180999990" sldId="2147483648"/>
              <pc:sldLayoutMk cId="576671673" sldId="2147483651"/>
              <ac:spMk id="2" creationId="{00000000-0000-0000-0000-000000000000}"/>
            </ac:spMkLst>
          </pc:spChg>
          <pc:spChg chg="mod">
            <ac:chgData name="Lars Boe Riber" userId="a0746655-6c86-46e8-9fa0-3fdc9fc77da6" providerId="ADAL" clId="{4E480DD1-6EB6-40E9-AA5D-F0885641F18B}" dt="2022-11-18T10:27:08.340" v="1234" actId="790"/>
            <ac:spMkLst>
              <pc:docMk/>
              <pc:sldMasterMk cId="180999990" sldId="2147483648"/>
              <pc:sldLayoutMk cId="576671673" sldId="2147483651"/>
              <ac:spMk id="9" creationId="{22F6F34B-A8D0-4DB2-A40E-DF14A9DD8EC5}"/>
            </ac:spMkLst>
          </pc:spChg>
          <pc:spChg chg="mod">
            <ac:chgData name="Lars Boe Riber" userId="a0746655-6c86-46e8-9fa0-3fdc9fc77da6" providerId="ADAL" clId="{4E480DD1-6EB6-40E9-AA5D-F0885641F18B}" dt="2022-11-18T10:27:08.336" v="1230" actId="790"/>
            <ac:spMkLst>
              <pc:docMk/>
              <pc:sldMasterMk cId="180999990" sldId="2147483648"/>
              <pc:sldLayoutMk cId="576671673" sldId="2147483651"/>
              <ac:spMk id="10" creationId="{19E8C21D-363E-4C29-BCB1-2C67A41A6B1A}"/>
            </ac:spMkLst>
          </pc:spChg>
          <pc:spChg chg="mod">
            <ac:chgData name="Lars Boe Riber" userId="a0746655-6c86-46e8-9fa0-3fdc9fc77da6" providerId="ADAL" clId="{4E480DD1-6EB6-40E9-AA5D-F0885641F18B}" dt="2022-11-18T10:27:08.337" v="1231" actId="790"/>
            <ac:spMkLst>
              <pc:docMk/>
              <pc:sldMasterMk cId="180999990" sldId="2147483648"/>
              <pc:sldLayoutMk cId="576671673" sldId="2147483651"/>
              <ac:spMk id="11" creationId="{6DB35B2F-204D-4092-A860-94E70637BD46}"/>
            </ac:spMkLst>
          </pc:spChg>
          <pc:spChg chg="mod">
            <ac:chgData name="Lars Boe Riber" userId="a0746655-6c86-46e8-9fa0-3fdc9fc77da6" providerId="ADAL" clId="{4E480DD1-6EB6-40E9-AA5D-F0885641F18B}" dt="2022-11-18T10:27:08.339" v="1233" actId="790"/>
            <ac:spMkLst>
              <pc:docMk/>
              <pc:sldMasterMk cId="180999990" sldId="2147483648"/>
              <pc:sldLayoutMk cId="576671673" sldId="2147483651"/>
              <ac:spMk id="12" creationId="{1BEB41F5-194C-405C-8EDC-8C5E550FE046}"/>
            </ac:spMkLst>
          </pc:spChg>
          <pc:spChg chg="mod">
            <ac:chgData name="Lars Boe Riber" userId="a0746655-6c86-46e8-9fa0-3fdc9fc77da6" providerId="ADAL" clId="{4E480DD1-6EB6-40E9-AA5D-F0885641F18B}" dt="2022-11-18T10:27:08.346" v="1240" actId="790"/>
            <ac:spMkLst>
              <pc:docMk/>
              <pc:sldMasterMk cId="180999990" sldId="2147483648"/>
              <pc:sldLayoutMk cId="576671673" sldId="2147483651"/>
              <ac:spMk id="24" creationId="{D4561A69-5067-410B-91C5-BE4B74B22D09}"/>
            </ac:spMkLst>
          </pc:spChg>
          <pc:spChg chg="mod">
            <ac:chgData name="Lars Boe Riber" userId="a0746655-6c86-46e8-9fa0-3fdc9fc77da6" providerId="ADAL" clId="{4E480DD1-6EB6-40E9-AA5D-F0885641F18B}" dt="2022-11-18T10:27:08.342" v="1236" actId="790"/>
            <ac:spMkLst>
              <pc:docMk/>
              <pc:sldMasterMk cId="180999990" sldId="2147483648"/>
              <pc:sldLayoutMk cId="576671673" sldId="2147483651"/>
              <ac:spMk id="25" creationId="{B1AB11E3-DCD9-468D-AF31-A1154B63730A}"/>
            </ac:spMkLst>
          </pc:spChg>
        </pc:sldLayoutChg>
        <pc:sldLayoutChg chg="modSp mod">
          <pc:chgData name="Lars Boe Riber" userId="a0746655-6c86-46e8-9fa0-3fdc9fc77da6" providerId="ADAL" clId="{4E480DD1-6EB6-40E9-AA5D-F0885641F18B}" dt="2022-11-18T10:27:08.360" v="1252" actId="790"/>
          <pc:sldLayoutMkLst>
            <pc:docMk/>
            <pc:sldMasterMk cId="180999990" sldId="2147483648"/>
            <pc:sldLayoutMk cId="3474321074" sldId="2147483652"/>
          </pc:sldLayoutMkLst>
          <pc:spChg chg="mod">
            <ac:chgData name="Lars Boe Riber" userId="a0746655-6c86-46e8-9fa0-3fdc9fc77da6" providerId="ADAL" clId="{4E480DD1-6EB6-40E9-AA5D-F0885641F18B}" dt="2022-11-18T10:27:08.358" v="1250" actId="790"/>
            <ac:spMkLst>
              <pc:docMk/>
              <pc:sldMasterMk cId="180999990" sldId="2147483648"/>
              <pc:sldLayoutMk cId="3474321074" sldId="2147483652"/>
              <ac:spMk id="2" creationId="{00000000-0000-0000-0000-000000000000}"/>
            </ac:spMkLst>
          </pc:spChg>
          <pc:spChg chg="mod">
            <ac:chgData name="Lars Boe Riber" userId="a0746655-6c86-46e8-9fa0-3fdc9fc77da6" providerId="ADAL" clId="{4E480DD1-6EB6-40E9-AA5D-F0885641F18B}" dt="2022-11-18T10:27:08.354" v="1246" actId="790"/>
            <ac:spMkLst>
              <pc:docMk/>
              <pc:sldMasterMk cId="180999990" sldId="2147483648"/>
              <pc:sldLayoutMk cId="3474321074" sldId="2147483652"/>
              <ac:spMk id="9" creationId="{22F6F34B-A8D0-4DB2-A40E-DF14A9DD8EC5}"/>
            </ac:spMkLst>
          </pc:spChg>
          <pc:spChg chg="mod">
            <ac:chgData name="Lars Boe Riber" userId="a0746655-6c86-46e8-9fa0-3fdc9fc77da6" providerId="ADAL" clId="{4E480DD1-6EB6-40E9-AA5D-F0885641F18B}" dt="2022-11-18T10:27:08.349" v="1242" actId="790"/>
            <ac:spMkLst>
              <pc:docMk/>
              <pc:sldMasterMk cId="180999990" sldId="2147483648"/>
              <pc:sldLayoutMk cId="3474321074" sldId="2147483652"/>
              <ac:spMk id="10" creationId="{19E8C21D-363E-4C29-BCB1-2C67A41A6B1A}"/>
            </ac:spMkLst>
          </pc:spChg>
          <pc:spChg chg="mod">
            <ac:chgData name="Lars Boe Riber" userId="a0746655-6c86-46e8-9fa0-3fdc9fc77da6" providerId="ADAL" clId="{4E480DD1-6EB6-40E9-AA5D-F0885641F18B}" dt="2022-11-18T10:27:08.350" v="1243" actId="790"/>
            <ac:spMkLst>
              <pc:docMk/>
              <pc:sldMasterMk cId="180999990" sldId="2147483648"/>
              <pc:sldLayoutMk cId="3474321074" sldId="2147483652"/>
              <ac:spMk id="11" creationId="{6DB35B2F-204D-4092-A860-94E70637BD46}"/>
            </ac:spMkLst>
          </pc:spChg>
          <pc:spChg chg="mod">
            <ac:chgData name="Lars Boe Riber" userId="a0746655-6c86-46e8-9fa0-3fdc9fc77da6" providerId="ADAL" clId="{4E480DD1-6EB6-40E9-AA5D-F0885641F18B}" dt="2022-11-18T10:27:08.353" v="1245" actId="790"/>
            <ac:spMkLst>
              <pc:docMk/>
              <pc:sldMasterMk cId="180999990" sldId="2147483648"/>
              <pc:sldLayoutMk cId="3474321074" sldId="2147483652"/>
              <ac:spMk id="12" creationId="{1BEB41F5-194C-405C-8EDC-8C5E550FE046}"/>
            </ac:spMkLst>
          </pc:spChg>
          <pc:spChg chg="mod">
            <ac:chgData name="Lars Boe Riber" userId="a0746655-6c86-46e8-9fa0-3fdc9fc77da6" providerId="ADAL" clId="{4E480DD1-6EB6-40E9-AA5D-F0885641F18B}" dt="2022-11-18T10:27:08.360" v="1252" actId="790"/>
            <ac:spMkLst>
              <pc:docMk/>
              <pc:sldMasterMk cId="180999990" sldId="2147483648"/>
              <pc:sldLayoutMk cId="3474321074" sldId="2147483652"/>
              <ac:spMk id="13" creationId="{FE897BB9-C0DA-41AA-90EC-DB8C5FCE355C}"/>
            </ac:spMkLst>
          </pc:spChg>
          <pc:spChg chg="mod">
            <ac:chgData name="Lars Boe Riber" userId="a0746655-6c86-46e8-9fa0-3fdc9fc77da6" providerId="ADAL" clId="{4E480DD1-6EB6-40E9-AA5D-F0885641F18B}" dt="2022-11-18T10:27:08.356" v="1248" actId="790"/>
            <ac:spMkLst>
              <pc:docMk/>
              <pc:sldMasterMk cId="180999990" sldId="2147483648"/>
              <pc:sldLayoutMk cId="3474321074" sldId="2147483652"/>
              <ac:spMk id="17" creationId="{9392B3FA-4A45-49A0-A3FB-2000E37DA94F}"/>
            </ac:spMkLst>
          </pc:spChg>
        </pc:sldLayoutChg>
        <pc:sldLayoutChg chg="modSp mod">
          <pc:chgData name="Lars Boe Riber" userId="a0746655-6c86-46e8-9fa0-3fdc9fc77da6" providerId="ADAL" clId="{4E480DD1-6EB6-40E9-AA5D-F0885641F18B}" dt="2022-11-18T10:27:08.376" v="1268" actId="790"/>
          <pc:sldLayoutMkLst>
            <pc:docMk/>
            <pc:sldMasterMk cId="180999990" sldId="2147483648"/>
            <pc:sldLayoutMk cId="4285753852" sldId="2147483653"/>
          </pc:sldLayoutMkLst>
          <pc:spChg chg="mod">
            <ac:chgData name="Lars Boe Riber" userId="a0746655-6c86-46e8-9fa0-3fdc9fc77da6" providerId="ADAL" clId="{4E480DD1-6EB6-40E9-AA5D-F0885641F18B}" dt="2022-11-18T10:27:08.373" v="1264" actId="790"/>
            <ac:spMkLst>
              <pc:docMk/>
              <pc:sldMasterMk cId="180999990" sldId="2147483648"/>
              <pc:sldLayoutMk cId="4285753852" sldId="2147483653"/>
              <ac:spMk id="2" creationId="{00000000-0000-0000-0000-000000000000}"/>
            </ac:spMkLst>
          </pc:spChg>
          <pc:spChg chg="mod">
            <ac:chgData name="Lars Boe Riber" userId="a0746655-6c86-46e8-9fa0-3fdc9fc77da6" providerId="ADAL" clId="{4E480DD1-6EB6-40E9-AA5D-F0885641F18B}" dt="2022-11-18T10:27:08.374" v="1266" actId="790"/>
            <ac:spMkLst>
              <pc:docMk/>
              <pc:sldMasterMk cId="180999990" sldId="2147483648"/>
              <pc:sldLayoutMk cId="4285753852" sldId="2147483653"/>
              <ac:spMk id="3" creationId="{00000000-0000-0000-0000-000000000000}"/>
            </ac:spMkLst>
          </pc:spChg>
          <pc:spChg chg="mod">
            <ac:chgData name="Lars Boe Riber" userId="a0746655-6c86-46e8-9fa0-3fdc9fc77da6" providerId="ADAL" clId="{4E480DD1-6EB6-40E9-AA5D-F0885641F18B}" dt="2022-11-18T10:27:08.376" v="1268" actId="790"/>
            <ac:spMkLst>
              <pc:docMk/>
              <pc:sldMasterMk cId="180999990" sldId="2147483648"/>
              <pc:sldLayoutMk cId="4285753852" sldId="2147483653"/>
              <ac:spMk id="8" creationId="{1D5CAD49-96B5-43EE-877D-1641596EA587}"/>
            </ac:spMkLst>
          </pc:spChg>
          <pc:spChg chg="mod">
            <ac:chgData name="Lars Boe Riber" userId="a0746655-6c86-46e8-9fa0-3fdc9fc77da6" providerId="ADAL" clId="{4E480DD1-6EB6-40E9-AA5D-F0885641F18B}" dt="2022-11-18T10:27:08.367" v="1258" actId="790"/>
            <ac:spMkLst>
              <pc:docMk/>
              <pc:sldMasterMk cId="180999990" sldId="2147483648"/>
              <pc:sldLayoutMk cId="4285753852" sldId="2147483653"/>
              <ac:spMk id="9" creationId="{22F6F34B-A8D0-4DB2-A40E-DF14A9DD8EC5}"/>
            </ac:spMkLst>
          </pc:spChg>
          <pc:spChg chg="mod">
            <ac:chgData name="Lars Boe Riber" userId="a0746655-6c86-46e8-9fa0-3fdc9fc77da6" providerId="ADAL" clId="{4E480DD1-6EB6-40E9-AA5D-F0885641F18B}" dt="2022-11-18T10:27:08.363" v="1254" actId="790"/>
            <ac:spMkLst>
              <pc:docMk/>
              <pc:sldMasterMk cId="180999990" sldId="2147483648"/>
              <pc:sldLayoutMk cId="4285753852" sldId="2147483653"/>
              <ac:spMk id="10" creationId="{19E8C21D-363E-4C29-BCB1-2C67A41A6B1A}"/>
            </ac:spMkLst>
          </pc:spChg>
          <pc:spChg chg="mod">
            <ac:chgData name="Lars Boe Riber" userId="a0746655-6c86-46e8-9fa0-3fdc9fc77da6" providerId="ADAL" clId="{4E480DD1-6EB6-40E9-AA5D-F0885641F18B}" dt="2022-11-18T10:27:08.364" v="1255" actId="790"/>
            <ac:spMkLst>
              <pc:docMk/>
              <pc:sldMasterMk cId="180999990" sldId="2147483648"/>
              <pc:sldLayoutMk cId="4285753852" sldId="2147483653"/>
              <ac:spMk id="11" creationId="{6DB35B2F-204D-4092-A860-94E70637BD46}"/>
            </ac:spMkLst>
          </pc:spChg>
          <pc:spChg chg="mod">
            <ac:chgData name="Lars Boe Riber" userId="a0746655-6c86-46e8-9fa0-3fdc9fc77da6" providerId="ADAL" clId="{4E480DD1-6EB6-40E9-AA5D-F0885641F18B}" dt="2022-11-18T10:27:08.366" v="1257" actId="790"/>
            <ac:spMkLst>
              <pc:docMk/>
              <pc:sldMasterMk cId="180999990" sldId="2147483648"/>
              <pc:sldLayoutMk cId="4285753852" sldId="2147483653"/>
              <ac:spMk id="12" creationId="{1BEB41F5-194C-405C-8EDC-8C5E550FE046}"/>
            </ac:spMkLst>
          </pc:spChg>
          <pc:spChg chg="mod">
            <ac:chgData name="Lars Boe Riber" userId="a0746655-6c86-46e8-9fa0-3fdc9fc77da6" providerId="ADAL" clId="{4E480DD1-6EB6-40E9-AA5D-F0885641F18B}" dt="2022-11-18T10:27:08.369" v="1260" actId="790"/>
            <ac:spMkLst>
              <pc:docMk/>
              <pc:sldMasterMk cId="180999990" sldId="2147483648"/>
              <pc:sldLayoutMk cId="4285753852" sldId="2147483653"/>
              <ac:spMk id="13" creationId="{28407CFA-12E8-4EE0-A351-546A2BCBA921}"/>
            </ac:spMkLst>
          </pc:spChg>
          <pc:spChg chg="mod">
            <ac:chgData name="Lars Boe Riber" userId="a0746655-6c86-46e8-9fa0-3fdc9fc77da6" providerId="ADAL" clId="{4E480DD1-6EB6-40E9-AA5D-F0885641F18B}" dt="2022-11-18T10:27:08.371" v="1262" actId="790"/>
            <ac:spMkLst>
              <pc:docMk/>
              <pc:sldMasterMk cId="180999990" sldId="2147483648"/>
              <pc:sldLayoutMk cId="4285753852" sldId="2147483653"/>
              <ac:spMk id="14" creationId="{F1CD8122-E16A-4EEC-B42A-6AF75D666172}"/>
            </ac:spMkLst>
          </pc:spChg>
        </pc:sldLayoutChg>
        <pc:sldLayoutChg chg="modSp mod">
          <pc:chgData name="Lars Boe Riber" userId="a0746655-6c86-46e8-9fa0-3fdc9fc77da6" providerId="ADAL" clId="{4E480DD1-6EB6-40E9-AA5D-F0885641F18B}" dt="2022-11-18T10:27:08.392" v="1284" actId="790"/>
          <pc:sldLayoutMkLst>
            <pc:docMk/>
            <pc:sldMasterMk cId="180999990" sldId="2147483648"/>
            <pc:sldLayoutMk cId="4023518708" sldId="2147483654"/>
          </pc:sldLayoutMkLst>
          <pc:spChg chg="mod">
            <ac:chgData name="Lars Boe Riber" userId="a0746655-6c86-46e8-9fa0-3fdc9fc77da6" providerId="ADAL" clId="{4E480DD1-6EB6-40E9-AA5D-F0885641F18B}" dt="2022-11-18T10:27:08.388" v="1280" actId="790"/>
            <ac:spMkLst>
              <pc:docMk/>
              <pc:sldMasterMk cId="180999990" sldId="2147483648"/>
              <pc:sldLayoutMk cId="4023518708" sldId="2147483654"/>
              <ac:spMk id="2" creationId="{00000000-0000-0000-0000-000000000000}"/>
            </ac:spMkLst>
          </pc:spChg>
          <pc:spChg chg="mod">
            <ac:chgData name="Lars Boe Riber" userId="a0746655-6c86-46e8-9fa0-3fdc9fc77da6" providerId="ADAL" clId="{4E480DD1-6EB6-40E9-AA5D-F0885641F18B}" dt="2022-11-18T10:27:08.390" v="1282" actId="790"/>
            <ac:spMkLst>
              <pc:docMk/>
              <pc:sldMasterMk cId="180999990" sldId="2147483648"/>
              <pc:sldLayoutMk cId="4023518708" sldId="2147483654"/>
              <ac:spMk id="3" creationId="{00000000-0000-0000-0000-000000000000}"/>
            </ac:spMkLst>
          </pc:spChg>
          <pc:spChg chg="mod">
            <ac:chgData name="Lars Boe Riber" userId="a0746655-6c86-46e8-9fa0-3fdc9fc77da6" providerId="ADAL" clId="{4E480DD1-6EB6-40E9-AA5D-F0885641F18B}" dt="2022-11-18T10:27:08.392" v="1284" actId="790"/>
            <ac:spMkLst>
              <pc:docMk/>
              <pc:sldMasterMk cId="180999990" sldId="2147483648"/>
              <pc:sldLayoutMk cId="4023518708" sldId="2147483654"/>
              <ac:spMk id="8" creationId="{1D5CAD49-96B5-43EE-877D-1641596EA587}"/>
            </ac:spMkLst>
          </pc:spChg>
          <pc:spChg chg="mod">
            <ac:chgData name="Lars Boe Riber" userId="a0746655-6c86-46e8-9fa0-3fdc9fc77da6" providerId="ADAL" clId="{4E480DD1-6EB6-40E9-AA5D-F0885641F18B}" dt="2022-11-18T10:27:08.383" v="1274" actId="790"/>
            <ac:spMkLst>
              <pc:docMk/>
              <pc:sldMasterMk cId="180999990" sldId="2147483648"/>
              <pc:sldLayoutMk cId="4023518708" sldId="2147483654"/>
              <ac:spMk id="9" creationId="{22F6F34B-A8D0-4DB2-A40E-DF14A9DD8EC5}"/>
            </ac:spMkLst>
          </pc:spChg>
          <pc:spChg chg="mod">
            <ac:chgData name="Lars Boe Riber" userId="a0746655-6c86-46e8-9fa0-3fdc9fc77da6" providerId="ADAL" clId="{4E480DD1-6EB6-40E9-AA5D-F0885641F18B}" dt="2022-11-18T10:27:08.378" v="1270" actId="790"/>
            <ac:spMkLst>
              <pc:docMk/>
              <pc:sldMasterMk cId="180999990" sldId="2147483648"/>
              <pc:sldLayoutMk cId="4023518708" sldId="2147483654"/>
              <ac:spMk id="10" creationId="{19E8C21D-363E-4C29-BCB1-2C67A41A6B1A}"/>
            </ac:spMkLst>
          </pc:spChg>
          <pc:spChg chg="mod">
            <ac:chgData name="Lars Boe Riber" userId="a0746655-6c86-46e8-9fa0-3fdc9fc77da6" providerId="ADAL" clId="{4E480DD1-6EB6-40E9-AA5D-F0885641F18B}" dt="2022-11-18T10:27:08.379" v="1271" actId="790"/>
            <ac:spMkLst>
              <pc:docMk/>
              <pc:sldMasterMk cId="180999990" sldId="2147483648"/>
              <pc:sldLayoutMk cId="4023518708" sldId="2147483654"/>
              <ac:spMk id="11" creationId="{6DB35B2F-204D-4092-A860-94E70637BD46}"/>
            </ac:spMkLst>
          </pc:spChg>
          <pc:spChg chg="mod">
            <ac:chgData name="Lars Boe Riber" userId="a0746655-6c86-46e8-9fa0-3fdc9fc77da6" providerId="ADAL" clId="{4E480DD1-6EB6-40E9-AA5D-F0885641F18B}" dt="2022-11-18T10:27:08.382" v="1273" actId="790"/>
            <ac:spMkLst>
              <pc:docMk/>
              <pc:sldMasterMk cId="180999990" sldId="2147483648"/>
              <pc:sldLayoutMk cId="4023518708" sldId="2147483654"/>
              <ac:spMk id="12" creationId="{1BEB41F5-194C-405C-8EDC-8C5E550FE046}"/>
            </ac:spMkLst>
          </pc:spChg>
          <pc:spChg chg="mod">
            <ac:chgData name="Lars Boe Riber" userId="a0746655-6c86-46e8-9fa0-3fdc9fc77da6" providerId="ADAL" clId="{4E480DD1-6EB6-40E9-AA5D-F0885641F18B}" dt="2022-11-18T10:27:08.385" v="1276" actId="790"/>
            <ac:spMkLst>
              <pc:docMk/>
              <pc:sldMasterMk cId="180999990" sldId="2147483648"/>
              <pc:sldLayoutMk cId="4023518708" sldId="2147483654"/>
              <ac:spMk id="13" creationId="{28407CFA-12E8-4EE0-A351-546A2BCBA921}"/>
            </ac:spMkLst>
          </pc:spChg>
          <pc:spChg chg="mod">
            <ac:chgData name="Lars Boe Riber" userId="a0746655-6c86-46e8-9fa0-3fdc9fc77da6" providerId="ADAL" clId="{4E480DD1-6EB6-40E9-AA5D-F0885641F18B}" dt="2022-11-18T10:27:08.386" v="1278" actId="790"/>
            <ac:spMkLst>
              <pc:docMk/>
              <pc:sldMasterMk cId="180999990" sldId="2147483648"/>
              <pc:sldLayoutMk cId="4023518708" sldId="2147483654"/>
              <ac:spMk id="14" creationId="{E32549A6-0448-4926-86D9-B6AD75A15ECB}"/>
            </ac:spMkLst>
          </pc:spChg>
        </pc:sldLayoutChg>
        <pc:sldLayoutChg chg="modSp mod">
          <pc:chgData name="Lars Boe Riber" userId="a0746655-6c86-46e8-9fa0-3fdc9fc77da6" providerId="ADAL" clId="{4E480DD1-6EB6-40E9-AA5D-F0885641F18B}" dt="2022-11-18T10:27:08.404" v="1296" actId="790"/>
          <pc:sldLayoutMkLst>
            <pc:docMk/>
            <pc:sldMasterMk cId="180999990" sldId="2147483648"/>
            <pc:sldLayoutMk cId="3098817132" sldId="2147483655"/>
          </pc:sldLayoutMkLst>
          <pc:spChg chg="mod">
            <ac:chgData name="Lars Boe Riber" userId="a0746655-6c86-46e8-9fa0-3fdc9fc77da6" providerId="ADAL" clId="{4E480DD1-6EB6-40E9-AA5D-F0885641F18B}" dt="2022-11-18T10:27:08.401" v="1292" actId="790"/>
            <ac:spMkLst>
              <pc:docMk/>
              <pc:sldMasterMk cId="180999990" sldId="2147483648"/>
              <pc:sldLayoutMk cId="3098817132" sldId="2147483655"/>
              <ac:spMk id="2" creationId="{00000000-0000-0000-0000-000000000000}"/>
            </ac:spMkLst>
          </pc:spChg>
          <pc:spChg chg="mod">
            <ac:chgData name="Lars Boe Riber" userId="a0746655-6c86-46e8-9fa0-3fdc9fc77da6" providerId="ADAL" clId="{4E480DD1-6EB6-40E9-AA5D-F0885641F18B}" dt="2022-11-18T10:27:08.403" v="1294" actId="790"/>
            <ac:spMkLst>
              <pc:docMk/>
              <pc:sldMasterMk cId="180999990" sldId="2147483648"/>
              <pc:sldLayoutMk cId="3098817132" sldId="2147483655"/>
              <ac:spMk id="3" creationId="{00000000-0000-0000-0000-000000000000}"/>
            </ac:spMkLst>
          </pc:spChg>
          <pc:spChg chg="mod">
            <ac:chgData name="Lars Boe Riber" userId="a0746655-6c86-46e8-9fa0-3fdc9fc77da6" providerId="ADAL" clId="{4E480DD1-6EB6-40E9-AA5D-F0885641F18B}" dt="2022-11-18T10:27:08.404" v="1296" actId="790"/>
            <ac:spMkLst>
              <pc:docMk/>
              <pc:sldMasterMk cId="180999990" sldId="2147483648"/>
              <pc:sldLayoutMk cId="3098817132" sldId="2147483655"/>
              <ac:spMk id="8" creationId="{1D5CAD49-96B5-43EE-877D-1641596EA587}"/>
            </ac:spMkLst>
          </pc:spChg>
          <pc:spChg chg="mod">
            <ac:chgData name="Lars Boe Riber" userId="a0746655-6c86-46e8-9fa0-3fdc9fc77da6" providerId="ADAL" clId="{4E480DD1-6EB6-40E9-AA5D-F0885641F18B}" dt="2022-11-18T10:27:08.399" v="1290" actId="790"/>
            <ac:spMkLst>
              <pc:docMk/>
              <pc:sldMasterMk cId="180999990" sldId="2147483648"/>
              <pc:sldLayoutMk cId="3098817132" sldId="2147483655"/>
              <ac:spMk id="9" creationId="{22F6F34B-A8D0-4DB2-A40E-DF14A9DD8EC5}"/>
            </ac:spMkLst>
          </pc:spChg>
          <pc:spChg chg="mod">
            <ac:chgData name="Lars Boe Riber" userId="a0746655-6c86-46e8-9fa0-3fdc9fc77da6" providerId="ADAL" clId="{4E480DD1-6EB6-40E9-AA5D-F0885641F18B}" dt="2022-11-18T10:27:08.395" v="1286" actId="790"/>
            <ac:spMkLst>
              <pc:docMk/>
              <pc:sldMasterMk cId="180999990" sldId="2147483648"/>
              <pc:sldLayoutMk cId="3098817132" sldId="2147483655"/>
              <ac:spMk id="10" creationId="{19E8C21D-363E-4C29-BCB1-2C67A41A6B1A}"/>
            </ac:spMkLst>
          </pc:spChg>
          <pc:spChg chg="mod">
            <ac:chgData name="Lars Boe Riber" userId="a0746655-6c86-46e8-9fa0-3fdc9fc77da6" providerId="ADAL" clId="{4E480DD1-6EB6-40E9-AA5D-F0885641F18B}" dt="2022-11-18T10:27:08.396" v="1287" actId="790"/>
            <ac:spMkLst>
              <pc:docMk/>
              <pc:sldMasterMk cId="180999990" sldId="2147483648"/>
              <pc:sldLayoutMk cId="3098817132" sldId="2147483655"/>
              <ac:spMk id="11" creationId="{6DB35B2F-204D-4092-A860-94E70637BD46}"/>
            </ac:spMkLst>
          </pc:spChg>
          <pc:spChg chg="mod">
            <ac:chgData name="Lars Boe Riber" userId="a0746655-6c86-46e8-9fa0-3fdc9fc77da6" providerId="ADAL" clId="{4E480DD1-6EB6-40E9-AA5D-F0885641F18B}" dt="2022-11-18T10:27:08.398" v="1289" actId="790"/>
            <ac:spMkLst>
              <pc:docMk/>
              <pc:sldMasterMk cId="180999990" sldId="2147483648"/>
              <pc:sldLayoutMk cId="3098817132" sldId="2147483655"/>
              <ac:spMk id="12" creationId="{1BEB41F5-194C-405C-8EDC-8C5E550FE046}"/>
            </ac:spMkLst>
          </pc:spChg>
        </pc:sldLayoutChg>
        <pc:sldLayoutChg chg="modSp mod">
          <pc:chgData name="Lars Boe Riber" userId="a0746655-6c86-46e8-9fa0-3fdc9fc77da6" providerId="ADAL" clId="{4E480DD1-6EB6-40E9-AA5D-F0885641F18B}" dt="2022-11-18T10:27:08.425" v="1313" actId="790"/>
          <pc:sldLayoutMkLst>
            <pc:docMk/>
            <pc:sldMasterMk cId="180999990" sldId="2147483648"/>
            <pc:sldLayoutMk cId="2947025494" sldId="2147483656"/>
          </pc:sldLayoutMkLst>
          <pc:spChg chg="mod">
            <ac:chgData name="Lars Boe Riber" userId="a0746655-6c86-46e8-9fa0-3fdc9fc77da6" providerId="ADAL" clId="{4E480DD1-6EB6-40E9-AA5D-F0885641F18B}" dt="2022-11-18T10:27:08.406" v="1298" actId="790"/>
            <ac:spMkLst>
              <pc:docMk/>
              <pc:sldMasterMk cId="180999990" sldId="2147483648"/>
              <pc:sldLayoutMk cId="2947025494" sldId="2147483656"/>
              <ac:spMk id="2" creationId="{00000000-0000-0000-0000-000000000000}"/>
            </ac:spMkLst>
          </pc:spChg>
          <pc:spChg chg="mod">
            <ac:chgData name="Lars Boe Riber" userId="a0746655-6c86-46e8-9fa0-3fdc9fc77da6" providerId="ADAL" clId="{4E480DD1-6EB6-40E9-AA5D-F0885641F18B}" dt="2022-11-18T10:27:08.422" v="1310" actId="790"/>
            <ac:spMkLst>
              <pc:docMk/>
              <pc:sldMasterMk cId="180999990" sldId="2147483648"/>
              <pc:sldLayoutMk cId="2947025494" sldId="2147483656"/>
              <ac:spMk id="3" creationId="{F7006308-6883-44E5-8AC1-4EFA41DAE419}"/>
            </ac:spMkLst>
          </pc:spChg>
          <pc:spChg chg="mod">
            <ac:chgData name="Lars Boe Riber" userId="a0746655-6c86-46e8-9fa0-3fdc9fc77da6" providerId="ADAL" clId="{4E480DD1-6EB6-40E9-AA5D-F0885641F18B}" dt="2022-11-18T10:27:08.423" v="1311" actId="790"/>
            <ac:spMkLst>
              <pc:docMk/>
              <pc:sldMasterMk cId="180999990" sldId="2147483648"/>
              <pc:sldLayoutMk cId="2947025494" sldId="2147483656"/>
              <ac:spMk id="4" creationId="{8978EA59-B5DA-44FE-A987-F0BBFEED3A52}"/>
            </ac:spMkLst>
          </pc:spChg>
          <pc:spChg chg="mod">
            <ac:chgData name="Lars Boe Riber" userId="a0746655-6c86-46e8-9fa0-3fdc9fc77da6" providerId="ADAL" clId="{4E480DD1-6EB6-40E9-AA5D-F0885641F18B}" dt="2022-11-18T10:27:08.425" v="1313" actId="790"/>
            <ac:spMkLst>
              <pc:docMk/>
              <pc:sldMasterMk cId="180999990" sldId="2147483648"/>
              <pc:sldLayoutMk cId="2947025494" sldId="2147483656"/>
              <ac:spMk id="5" creationId="{BC410AEC-4403-4C48-A85B-AE4CFE4111AC}"/>
            </ac:spMkLst>
          </pc:spChg>
          <pc:spChg chg="mod">
            <ac:chgData name="Lars Boe Riber" userId="a0746655-6c86-46e8-9fa0-3fdc9fc77da6" providerId="ADAL" clId="{4E480DD1-6EB6-40E9-AA5D-F0885641F18B}" dt="2022-11-18T10:27:08.420" v="1308" actId="790"/>
            <ac:spMkLst>
              <pc:docMk/>
              <pc:sldMasterMk cId="180999990" sldId="2147483648"/>
              <pc:sldLayoutMk cId="2947025494" sldId="2147483656"/>
              <ac:spMk id="7" creationId="{00000000-0000-0000-0000-000000000000}"/>
            </ac:spMkLst>
          </pc:spChg>
        </pc:sldLayoutChg>
        <pc:sldLayoutChg chg="modSp mod">
          <pc:chgData name="Lars Boe Riber" userId="a0746655-6c86-46e8-9fa0-3fdc9fc77da6" providerId="ADAL" clId="{4E480DD1-6EB6-40E9-AA5D-F0885641F18B}" dt="2022-11-18T10:27:08.450" v="1333" actId="790"/>
          <pc:sldLayoutMkLst>
            <pc:docMk/>
            <pc:sldMasterMk cId="180999990" sldId="2147483648"/>
            <pc:sldLayoutMk cId="1811271279" sldId="2147483657"/>
          </pc:sldLayoutMkLst>
          <pc:spChg chg="mod">
            <ac:chgData name="Lars Boe Riber" userId="a0746655-6c86-46e8-9fa0-3fdc9fc77da6" providerId="ADAL" clId="{4E480DD1-6EB6-40E9-AA5D-F0885641F18B}" dt="2022-11-18T10:27:08.428" v="1316" actId="790"/>
            <ac:spMkLst>
              <pc:docMk/>
              <pc:sldMasterMk cId="180999990" sldId="2147483648"/>
              <pc:sldLayoutMk cId="1811271279" sldId="2147483657"/>
              <ac:spMk id="2" creationId="{00000000-0000-0000-0000-000000000000}"/>
            </ac:spMkLst>
          </pc:spChg>
          <pc:spChg chg="mod">
            <ac:chgData name="Lars Boe Riber" userId="a0746655-6c86-46e8-9fa0-3fdc9fc77da6" providerId="ADAL" clId="{4E480DD1-6EB6-40E9-AA5D-F0885641F18B}" dt="2022-11-18T10:27:08.445" v="1328" actId="790"/>
            <ac:spMkLst>
              <pc:docMk/>
              <pc:sldMasterMk cId="180999990" sldId="2147483648"/>
              <pc:sldLayoutMk cId="1811271279" sldId="2147483657"/>
              <ac:spMk id="3" creationId="{F7006308-6883-44E5-8AC1-4EFA41DAE419}"/>
            </ac:spMkLst>
          </pc:spChg>
          <pc:spChg chg="mod">
            <ac:chgData name="Lars Boe Riber" userId="a0746655-6c86-46e8-9fa0-3fdc9fc77da6" providerId="ADAL" clId="{4E480DD1-6EB6-40E9-AA5D-F0885641F18B}" dt="2022-11-18T10:27:08.446" v="1329" actId="790"/>
            <ac:spMkLst>
              <pc:docMk/>
              <pc:sldMasterMk cId="180999990" sldId="2147483648"/>
              <pc:sldLayoutMk cId="1811271279" sldId="2147483657"/>
              <ac:spMk id="4" creationId="{8978EA59-B5DA-44FE-A987-F0BBFEED3A52}"/>
            </ac:spMkLst>
          </pc:spChg>
          <pc:spChg chg="mod">
            <ac:chgData name="Lars Boe Riber" userId="a0746655-6c86-46e8-9fa0-3fdc9fc77da6" providerId="ADAL" clId="{4E480DD1-6EB6-40E9-AA5D-F0885641F18B}" dt="2022-11-18T10:27:08.448" v="1331" actId="790"/>
            <ac:spMkLst>
              <pc:docMk/>
              <pc:sldMasterMk cId="180999990" sldId="2147483648"/>
              <pc:sldLayoutMk cId="1811271279" sldId="2147483657"/>
              <ac:spMk id="5" creationId="{BC410AEC-4403-4C48-A85B-AE4CFE4111AC}"/>
            </ac:spMkLst>
          </pc:spChg>
          <pc:spChg chg="mod">
            <ac:chgData name="Lars Boe Riber" userId="a0746655-6c86-46e8-9fa0-3fdc9fc77da6" providerId="ADAL" clId="{4E480DD1-6EB6-40E9-AA5D-F0885641F18B}" dt="2022-11-18T10:27:08.443" v="1326" actId="790"/>
            <ac:spMkLst>
              <pc:docMk/>
              <pc:sldMasterMk cId="180999990" sldId="2147483648"/>
              <pc:sldLayoutMk cId="1811271279" sldId="2147483657"/>
              <ac:spMk id="7" creationId="{00000000-0000-0000-0000-000000000000}"/>
            </ac:spMkLst>
          </pc:spChg>
          <pc:spChg chg="mod">
            <ac:chgData name="Lars Boe Riber" userId="a0746655-6c86-46e8-9fa0-3fdc9fc77da6" providerId="ADAL" clId="{4E480DD1-6EB6-40E9-AA5D-F0885641F18B}" dt="2022-11-18T10:27:08.426" v="1314" actId="790"/>
            <ac:spMkLst>
              <pc:docMk/>
              <pc:sldMasterMk cId="180999990" sldId="2147483648"/>
              <pc:sldLayoutMk cId="1811271279" sldId="2147483657"/>
              <ac:spMk id="8" creationId="{78ACD53B-260B-4FF0-BE81-47ED68F9F470}"/>
            </ac:spMkLst>
          </pc:spChg>
          <pc:spChg chg="mod">
            <ac:chgData name="Lars Boe Riber" userId="a0746655-6c86-46e8-9fa0-3fdc9fc77da6" providerId="ADAL" clId="{4E480DD1-6EB6-40E9-AA5D-F0885641F18B}" dt="2022-11-18T10:27:08.450" v="1333" actId="790"/>
            <ac:spMkLst>
              <pc:docMk/>
              <pc:sldMasterMk cId="180999990" sldId="2147483648"/>
              <pc:sldLayoutMk cId="1811271279" sldId="2147483657"/>
              <ac:spMk id="9" creationId="{BCDDD54F-FD08-428B-BC60-617D3FA993D5}"/>
            </ac:spMkLst>
          </pc:spChg>
        </pc:sldLayoutChg>
        <pc:sldLayoutChg chg="modSp mod">
          <pc:chgData name="Lars Boe Riber" userId="a0746655-6c86-46e8-9fa0-3fdc9fc77da6" providerId="ADAL" clId="{4E480DD1-6EB6-40E9-AA5D-F0885641F18B}" dt="2022-11-18T10:27:08.473" v="1350" actId="790"/>
          <pc:sldLayoutMkLst>
            <pc:docMk/>
            <pc:sldMasterMk cId="180999990" sldId="2147483648"/>
            <pc:sldLayoutMk cId="1801837105" sldId="2147483658"/>
          </pc:sldLayoutMkLst>
          <pc:spChg chg="mod">
            <ac:chgData name="Lars Boe Riber" userId="a0746655-6c86-46e8-9fa0-3fdc9fc77da6" providerId="ADAL" clId="{4E480DD1-6EB6-40E9-AA5D-F0885641F18B}" dt="2022-11-18T10:27:08.452" v="1335" actId="790"/>
            <ac:spMkLst>
              <pc:docMk/>
              <pc:sldMasterMk cId="180999990" sldId="2147483648"/>
              <pc:sldLayoutMk cId="1801837105" sldId="2147483658"/>
              <ac:spMk id="2" creationId="{00000000-0000-0000-0000-000000000000}"/>
            </ac:spMkLst>
          </pc:spChg>
          <pc:spChg chg="mod">
            <ac:chgData name="Lars Boe Riber" userId="a0746655-6c86-46e8-9fa0-3fdc9fc77da6" providerId="ADAL" clId="{4E480DD1-6EB6-40E9-AA5D-F0885641F18B}" dt="2022-11-18T10:27:08.468" v="1345" actId="790"/>
            <ac:spMkLst>
              <pc:docMk/>
              <pc:sldMasterMk cId="180999990" sldId="2147483648"/>
              <pc:sldLayoutMk cId="1801837105" sldId="2147483658"/>
              <ac:spMk id="3" creationId="{00000000-0000-0000-0000-000000000000}"/>
            </ac:spMkLst>
          </pc:spChg>
          <pc:spChg chg="mod">
            <ac:chgData name="Lars Boe Riber" userId="a0746655-6c86-46e8-9fa0-3fdc9fc77da6" providerId="ADAL" clId="{4E480DD1-6EB6-40E9-AA5D-F0885641F18B}" dt="2022-11-18T10:27:08.470" v="1347" actId="790"/>
            <ac:spMkLst>
              <pc:docMk/>
              <pc:sldMasterMk cId="180999990" sldId="2147483648"/>
              <pc:sldLayoutMk cId="1801837105" sldId="2147483658"/>
              <ac:spMk id="4" creationId="{C1ACC7FD-8EF4-43FC-BAB3-47E907F17871}"/>
            </ac:spMkLst>
          </pc:spChg>
          <pc:spChg chg="mod">
            <ac:chgData name="Lars Boe Riber" userId="a0746655-6c86-46e8-9fa0-3fdc9fc77da6" providerId="ADAL" clId="{4E480DD1-6EB6-40E9-AA5D-F0885641F18B}" dt="2022-11-18T10:27:08.471" v="1348" actId="790"/>
            <ac:spMkLst>
              <pc:docMk/>
              <pc:sldMasterMk cId="180999990" sldId="2147483648"/>
              <pc:sldLayoutMk cId="1801837105" sldId="2147483658"/>
              <ac:spMk id="5" creationId="{084C6AF5-5886-488E-94AF-540306D52116}"/>
            </ac:spMkLst>
          </pc:spChg>
          <pc:spChg chg="mod">
            <ac:chgData name="Lars Boe Riber" userId="a0746655-6c86-46e8-9fa0-3fdc9fc77da6" providerId="ADAL" clId="{4E480DD1-6EB6-40E9-AA5D-F0885641F18B}" dt="2022-11-18T10:27:08.473" v="1350" actId="790"/>
            <ac:spMkLst>
              <pc:docMk/>
              <pc:sldMasterMk cId="180999990" sldId="2147483648"/>
              <pc:sldLayoutMk cId="1801837105" sldId="2147483658"/>
              <ac:spMk id="6" creationId="{34A05638-6A02-4F90-BE63-DA3C1ABD6852}"/>
            </ac:spMkLst>
          </pc:spChg>
        </pc:sldLayoutChg>
        <pc:sldLayoutChg chg="modSp mod">
          <pc:chgData name="Lars Boe Riber" userId="a0746655-6c86-46e8-9fa0-3fdc9fc77da6" providerId="ADAL" clId="{4E480DD1-6EB6-40E9-AA5D-F0885641F18B}" dt="2022-11-18T10:27:08.511" v="1377" actId="790"/>
          <pc:sldLayoutMkLst>
            <pc:docMk/>
            <pc:sldMasterMk cId="180999990" sldId="2147483648"/>
            <pc:sldLayoutMk cId="2887015281" sldId="2147483659"/>
          </pc:sldLayoutMkLst>
          <pc:spChg chg="mod">
            <ac:chgData name="Lars Boe Riber" userId="a0746655-6c86-46e8-9fa0-3fdc9fc77da6" providerId="ADAL" clId="{4E480DD1-6EB6-40E9-AA5D-F0885641F18B}" dt="2022-11-18T10:27:08.487" v="1360" actId="790"/>
            <ac:spMkLst>
              <pc:docMk/>
              <pc:sldMasterMk cId="180999990" sldId="2147483648"/>
              <pc:sldLayoutMk cId="2887015281" sldId="2147483659"/>
              <ac:spMk id="3" creationId="{00000000-0000-0000-0000-000000000000}"/>
            </ac:spMkLst>
          </pc:spChg>
          <pc:spChg chg="mod">
            <ac:chgData name="Lars Boe Riber" userId="a0746655-6c86-46e8-9fa0-3fdc9fc77da6" providerId="ADAL" clId="{4E480DD1-6EB6-40E9-AA5D-F0885641F18B}" dt="2022-11-18T10:27:08.511" v="1377" actId="790"/>
            <ac:spMkLst>
              <pc:docMk/>
              <pc:sldMasterMk cId="180999990" sldId="2147483648"/>
              <pc:sldLayoutMk cId="2887015281" sldId="2147483659"/>
              <ac:spMk id="4" creationId="{84077399-E20C-4E2D-ABA6-E98BC4B1451C}"/>
            </ac:spMkLst>
          </pc:spChg>
          <pc:spChg chg="mod">
            <ac:chgData name="Lars Boe Riber" userId="a0746655-6c86-46e8-9fa0-3fdc9fc77da6" providerId="ADAL" clId="{4E480DD1-6EB6-40E9-AA5D-F0885641F18B}" dt="2022-11-18T10:27:08.506" v="1372" actId="790"/>
            <ac:spMkLst>
              <pc:docMk/>
              <pc:sldMasterMk cId="180999990" sldId="2147483648"/>
              <pc:sldLayoutMk cId="2887015281" sldId="2147483659"/>
              <ac:spMk id="6" creationId="{F54D13B6-5D47-4342-AE7D-6E53AE9D62A4}"/>
            </ac:spMkLst>
          </pc:spChg>
          <pc:spChg chg="mod">
            <ac:chgData name="Lars Boe Riber" userId="a0746655-6c86-46e8-9fa0-3fdc9fc77da6" providerId="ADAL" clId="{4E480DD1-6EB6-40E9-AA5D-F0885641F18B}" dt="2022-11-18T10:27:08.504" v="1370" actId="790"/>
            <ac:spMkLst>
              <pc:docMk/>
              <pc:sldMasterMk cId="180999990" sldId="2147483648"/>
              <pc:sldLayoutMk cId="2887015281" sldId="2147483659"/>
              <ac:spMk id="7" creationId="{17CE2ECF-AF40-4809-BD16-DFC59D53926E}"/>
            </ac:spMkLst>
          </pc:spChg>
          <pc:spChg chg="mod">
            <ac:chgData name="Lars Boe Riber" userId="a0746655-6c86-46e8-9fa0-3fdc9fc77da6" providerId="ADAL" clId="{4E480DD1-6EB6-40E9-AA5D-F0885641F18B}" dt="2022-11-18T10:27:08.507" v="1373" actId="790"/>
            <ac:spMkLst>
              <pc:docMk/>
              <pc:sldMasterMk cId="180999990" sldId="2147483648"/>
              <pc:sldLayoutMk cId="2887015281" sldId="2147483659"/>
              <ac:spMk id="12" creationId="{04AC3241-D38F-486C-A52D-8F4AF51C70A7}"/>
            </ac:spMkLst>
          </pc:spChg>
          <pc:spChg chg="mod">
            <ac:chgData name="Lars Boe Riber" userId="a0746655-6c86-46e8-9fa0-3fdc9fc77da6" providerId="ADAL" clId="{4E480DD1-6EB6-40E9-AA5D-F0885641F18B}" dt="2022-11-18T10:27:08.509" v="1375" actId="790"/>
            <ac:spMkLst>
              <pc:docMk/>
              <pc:sldMasterMk cId="180999990" sldId="2147483648"/>
              <pc:sldLayoutMk cId="2887015281" sldId="2147483659"/>
              <ac:spMk id="13" creationId="{BFA9F9E2-0E4E-4885-BB6E-89C9B4A00F5C}"/>
            </ac:spMkLst>
          </pc:spChg>
        </pc:sldLayoutChg>
        <pc:sldLayoutChg chg="modSp mod">
          <pc:chgData name="Lars Boe Riber" userId="a0746655-6c86-46e8-9fa0-3fdc9fc77da6" providerId="ADAL" clId="{4E480DD1-6EB6-40E9-AA5D-F0885641F18B}" dt="2022-11-18T10:27:08.547" v="1404" actId="790"/>
          <pc:sldLayoutMkLst>
            <pc:docMk/>
            <pc:sldMasterMk cId="180999990" sldId="2147483648"/>
            <pc:sldLayoutMk cId="3039157876" sldId="2147483660"/>
          </pc:sldLayoutMkLst>
          <pc:spChg chg="mod">
            <ac:chgData name="Lars Boe Riber" userId="a0746655-6c86-46e8-9fa0-3fdc9fc77da6" providerId="ADAL" clId="{4E480DD1-6EB6-40E9-AA5D-F0885641F18B}" dt="2022-11-18T10:27:08.526" v="1387" actId="790"/>
            <ac:spMkLst>
              <pc:docMk/>
              <pc:sldMasterMk cId="180999990" sldId="2147483648"/>
              <pc:sldLayoutMk cId="3039157876" sldId="2147483660"/>
              <ac:spMk id="3" creationId="{00000000-0000-0000-0000-000000000000}"/>
            </ac:spMkLst>
          </pc:spChg>
          <pc:spChg chg="mod">
            <ac:chgData name="Lars Boe Riber" userId="a0746655-6c86-46e8-9fa0-3fdc9fc77da6" providerId="ADAL" clId="{4E480DD1-6EB6-40E9-AA5D-F0885641F18B}" dt="2022-11-18T10:27:08.547" v="1404" actId="790"/>
            <ac:spMkLst>
              <pc:docMk/>
              <pc:sldMasterMk cId="180999990" sldId="2147483648"/>
              <pc:sldLayoutMk cId="3039157876" sldId="2147483660"/>
              <ac:spMk id="4" creationId="{EE224427-B940-40D0-B905-8D8D27971032}"/>
            </ac:spMkLst>
          </pc:spChg>
          <pc:spChg chg="mod">
            <ac:chgData name="Lars Boe Riber" userId="a0746655-6c86-46e8-9fa0-3fdc9fc77da6" providerId="ADAL" clId="{4E480DD1-6EB6-40E9-AA5D-F0885641F18B}" dt="2022-11-18T10:27:08.542" v="1399" actId="790"/>
            <ac:spMkLst>
              <pc:docMk/>
              <pc:sldMasterMk cId="180999990" sldId="2147483648"/>
              <pc:sldLayoutMk cId="3039157876" sldId="2147483660"/>
              <ac:spMk id="6" creationId="{F54D13B6-5D47-4342-AE7D-6E53AE9D62A4}"/>
            </ac:spMkLst>
          </pc:spChg>
          <pc:spChg chg="mod">
            <ac:chgData name="Lars Boe Riber" userId="a0746655-6c86-46e8-9fa0-3fdc9fc77da6" providerId="ADAL" clId="{4E480DD1-6EB6-40E9-AA5D-F0885641F18B}" dt="2022-11-18T10:27:08.540" v="1397" actId="790"/>
            <ac:spMkLst>
              <pc:docMk/>
              <pc:sldMasterMk cId="180999990" sldId="2147483648"/>
              <pc:sldLayoutMk cId="3039157876" sldId="2147483660"/>
              <ac:spMk id="7" creationId="{17CE2ECF-AF40-4809-BD16-DFC59D53926E}"/>
            </ac:spMkLst>
          </pc:spChg>
          <pc:spChg chg="mod">
            <ac:chgData name="Lars Boe Riber" userId="a0746655-6c86-46e8-9fa0-3fdc9fc77da6" providerId="ADAL" clId="{4E480DD1-6EB6-40E9-AA5D-F0885641F18B}" dt="2022-11-18T10:27:08.543" v="1400" actId="790"/>
            <ac:spMkLst>
              <pc:docMk/>
              <pc:sldMasterMk cId="180999990" sldId="2147483648"/>
              <pc:sldLayoutMk cId="3039157876" sldId="2147483660"/>
              <ac:spMk id="12" creationId="{04AC3241-D38F-486C-A52D-8F4AF51C70A7}"/>
            </ac:spMkLst>
          </pc:spChg>
          <pc:spChg chg="mod">
            <ac:chgData name="Lars Boe Riber" userId="a0746655-6c86-46e8-9fa0-3fdc9fc77da6" providerId="ADAL" clId="{4E480DD1-6EB6-40E9-AA5D-F0885641F18B}" dt="2022-11-18T10:27:08.545" v="1402" actId="790"/>
            <ac:spMkLst>
              <pc:docMk/>
              <pc:sldMasterMk cId="180999990" sldId="2147483648"/>
              <pc:sldLayoutMk cId="3039157876" sldId="2147483660"/>
              <ac:spMk id="13" creationId="{BFA9F9E2-0E4E-4885-BB6E-89C9B4A00F5C}"/>
            </ac:spMkLst>
          </pc:spChg>
        </pc:sldLayoutChg>
        <pc:sldLayoutChg chg="modSp mod">
          <pc:chgData name="Lars Boe Riber" userId="a0746655-6c86-46e8-9fa0-3fdc9fc77da6" providerId="ADAL" clId="{4E480DD1-6EB6-40E9-AA5D-F0885641F18B}" dt="2022-11-18T10:27:08.583" v="1431" actId="790"/>
          <pc:sldLayoutMkLst>
            <pc:docMk/>
            <pc:sldMasterMk cId="180999990" sldId="2147483648"/>
            <pc:sldLayoutMk cId="4234044073" sldId="2147483661"/>
          </pc:sldLayoutMkLst>
          <pc:spChg chg="mod">
            <ac:chgData name="Lars Boe Riber" userId="a0746655-6c86-46e8-9fa0-3fdc9fc77da6" providerId="ADAL" clId="{4E480DD1-6EB6-40E9-AA5D-F0885641F18B}" dt="2022-11-18T10:27:08.561" v="1414" actId="790"/>
            <ac:spMkLst>
              <pc:docMk/>
              <pc:sldMasterMk cId="180999990" sldId="2147483648"/>
              <pc:sldLayoutMk cId="4234044073" sldId="2147483661"/>
              <ac:spMk id="3" creationId="{00000000-0000-0000-0000-000000000000}"/>
            </ac:spMkLst>
          </pc:spChg>
          <pc:spChg chg="mod">
            <ac:chgData name="Lars Boe Riber" userId="a0746655-6c86-46e8-9fa0-3fdc9fc77da6" providerId="ADAL" clId="{4E480DD1-6EB6-40E9-AA5D-F0885641F18B}" dt="2022-11-18T10:27:08.583" v="1431" actId="790"/>
            <ac:spMkLst>
              <pc:docMk/>
              <pc:sldMasterMk cId="180999990" sldId="2147483648"/>
              <pc:sldLayoutMk cId="4234044073" sldId="2147483661"/>
              <ac:spMk id="4" creationId="{B1B64688-EF18-4F0E-8937-7DCB334BAC85}"/>
            </ac:spMkLst>
          </pc:spChg>
          <pc:spChg chg="mod">
            <ac:chgData name="Lars Boe Riber" userId="a0746655-6c86-46e8-9fa0-3fdc9fc77da6" providerId="ADAL" clId="{4E480DD1-6EB6-40E9-AA5D-F0885641F18B}" dt="2022-11-18T10:27:08.578" v="1426" actId="790"/>
            <ac:spMkLst>
              <pc:docMk/>
              <pc:sldMasterMk cId="180999990" sldId="2147483648"/>
              <pc:sldLayoutMk cId="4234044073" sldId="2147483661"/>
              <ac:spMk id="6" creationId="{F54D13B6-5D47-4342-AE7D-6E53AE9D62A4}"/>
            </ac:spMkLst>
          </pc:spChg>
          <pc:spChg chg="mod">
            <ac:chgData name="Lars Boe Riber" userId="a0746655-6c86-46e8-9fa0-3fdc9fc77da6" providerId="ADAL" clId="{4E480DD1-6EB6-40E9-AA5D-F0885641F18B}" dt="2022-11-18T10:27:08.576" v="1424" actId="790"/>
            <ac:spMkLst>
              <pc:docMk/>
              <pc:sldMasterMk cId="180999990" sldId="2147483648"/>
              <pc:sldLayoutMk cId="4234044073" sldId="2147483661"/>
              <ac:spMk id="7" creationId="{17CE2ECF-AF40-4809-BD16-DFC59D53926E}"/>
            </ac:spMkLst>
          </pc:spChg>
          <pc:spChg chg="mod">
            <ac:chgData name="Lars Boe Riber" userId="a0746655-6c86-46e8-9fa0-3fdc9fc77da6" providerId="ADAL" clId="{4E480DD1-6EB6-40E9-AA5D-F0885641F18B}" dt="2022-11-18T10:27:08.579" v="1427" actId="790"/>
            <ac:spMkLst>
              <pc:docMk/>
              <pc:sldMasterMk cId="180999990" sldId="2147483648"/>
              <pc:sldLayoutMk cId="4234044073" sldId="2147483661"/>
              <ac:spMk id="12" creationId="{04AC3241-D38F-486C-A52D-8F4AF51C70A7}"/>
            </ac:spMkLst>
          </pc:spChg>
          <pc:spChg chg="mod">
            <ac:chgData name="Lars Boe Riber" userId="a0746655-6c86-46e8-9fa0-3fdc9fc77da6" providerId="ADAL" clId="{4E480DD1-6EB6-40E9-AA5D-F0885641F18B}" dt="2022-11-18T10:27:08.581" v="1429" actId="790"/>
            <ac:spMkLst>
              <pc:docMk/>
              <pc:sldMasterMk cId="180999990" sldId="2147483648"/>
              <pc:sldLayoutMk cId="4234044073" sldId="2147483661"/>
              <ac:spMk id="13" creationId="{BFA9F9E2-0E4E-4885-BB6E-89C9B4A00F5C}"/>
            </ac:spMkLst>
          </pc:spChg>
        </pc:sldLayoutChg>
        <pc:sldLayoutChg chg="modSp mod">
          <pc:chgData name="Lars Boe Riber" userId="a0746655-6c86-46e8-9fa0-3fdc9fc77da6" providerId="ADAL" clId="{4E480DD1-6EB6-40E9-AA5D-F0885641F18B}" dt="2022-11-18T10:27:08.610" v="1450" actId="790"/>
          <pc:sldLayoutMkLst>
            <pc:docMk/>
            <pc:sldMasterMk cId="180999990" sldId="2147483648"/>
            <pc:sldLayoutMk cId="726481537" sldId="2147483662"/>
          </pc:sldLayoutMkLst>
          <pc:spChg chg="mod">
            <ac:chgData name="Lars Boe Riber" userId="a0746655-6c86-46e8-9fa0-3fdc9fc77da6" providerId="ADAL" clId="{4E480DD1-6EB6-40E9-AA5D-F0885641F18B}" dt="2022-11-18T10:27:08.601" v="1441" actId="790"/>
            <ac:spMkLst>
              <pc:docMk/>
              <pc:sldMasterMk cId="180999990" sldId="2147483648"/>
              <pc:sldLayoutMk cId="726481537" sldId="2147483662"/>
              <ac:spMk id="3" creationId="{00000000-0000-0000-0000-000000000000}"/>
            </ac:spMkLst>
          </pc:spChg>
          <pc:spChg chg="mod">
            <ac:chgData name="Lars Boe Riber" userId="a0746655-6c86-46e8-9fa0-3fdc9fc77da6" providerId="ADAL" clId="{4E480DD1-6EB6-40E9-AA5D-F0885641F18B}" dt="2022-11-18T10:27:08.605" v="1445" actId="790"/>
            <ac:spMkLst>
              <pc:docMk/>
              <pc:sldMasterMk cId="180999990" sldId="2147483648"/>
              <pc:sldLayoutMk cId="726481537" sldId="2147483662"/>
              <ac:spMk id="4" creationId="{BBE84024-A9C5-4508-AFCD-8D104EF76416}"/>
            </ac:spMkLst>
          </pc:spChg>
          <pc:spChg chg="mod">
            <ac:chgData name="Lars Boe Riber" userId="a0746655-6c86-46e8-9fa0-3fdc9fc77da6" providerId="ADAL" clId="{4E480DD1-6EB6-40E9-AA5D-F0885641F18B}" dt="2022-11-18T10:27:08.606" v="1446" actId="790"/>
            <ac:spMkLst>
              <pc:docMk/>
              <pc:sldMasterMk cId="180999990" sldId="2147483648"/>
              <pc:sldLayoutMk cId="726481537" sldId="2147483662"/>
              <ac:spMk id="5" creationId="{EB0B2F8F-9F9B-42D4-A558-CAD2544BFEDB}"/>
            </ac:spMkLst>
          </pc:spChg>
          <pc:spChg chg="mod">
            <ac:chgData name="Lars Boe Riber" userId="a0746655-6c86-46e8-9fa0-3fdc9fc77da6" providerId="ADAL" clId="{4E480DD1-6EB6-40E9-AA5D-F0885641F18B}" dt="2022-11-18T10:27:08.608" v="1448" actId="790"/>
            <ac:spMkLst>
              <pc:docMk/>
              <pc:sldMasterMk cId="180999990" sldId="2147483648"/>
              <pc:sldLayoutMk cId="726481537" sldId="2147483662"/>
              <ac:spMk id="6" creationId="{BE42A5FB-27BA-4F64-94C0-20040B8BCF35}"/>
            </ac:spMkLst>
          </pc:spChg>
          <pc:spChg chg="mod">
            <ac:chgData name="Lars Boe Riber" userId="a0746655-6c86-46e8-9fa0-3fdc9fc77da6" providerId="ADAL" clId="{4E480DD1-6EB6-40E9-AA5D-F0885641F18B}" dt="2022-11-18T10:27:08.603" v="1443" actId="790"/>
            <ac:spMkLst>
              <pc:docMk/>
              <pc:sldMasterMk cId="180999990" sldId="2147483648"/>
              <pc:sldLayoutMk cId="726481537" sldId="2147483662"/>
              <ac:spMk id="7" creationId="{C3740E63-FE5A-40EF-8F52-2CDC77D09BCF}"/>
            </ac:spMkLst>
          </pc:spChg>
          <pc:spChg chg="mod">
            <ac:chgData name="Lars Boe Riber" userId="a0746655-6c86-46e8-9fa0-3fdc9fc77da6" providerId="ADAL" clId="{4E480DD1-6EB6-40E9-AA5D-F0885641F18B}" dt="2022-11-18T10:27:08.610" v="1450" actId="790"/>
            <ac:spMkLst>
              <pc:docMk/>
              <pc:sldMasterMk cId="180999990" sldId="2147483648"/>
              <pc:sldLayoutMk cId="726481537" sldId="2147483662"/>
              <ac:spMk id="8" creationId="{2537FCD8-5A4A-4089-A17B-F334A5974EF8}"/>
            </ac:spMkLst>
          </pc:spChg>
        </pc:sldLayoutChg>
        <pc:sldLayoutChg chg="modSp mod">
          <pc:chgData name="Lars Boe Riber" userId="a0746655-6c86-46e8-9fa0-3fdc9fc77da6" providerId="ADAL" clId="{4E480DD1-6EB6-40E9-AA5D-F0885641F18B}" dt="2022-11-18T10:27:08.661" v="1487" actId="790"/>
          <pc:sldLayoutMkLst>
            <pc:docMk/>
            <pc:sldMasterMk cId="180999990" sldId="2147483648"/>
            <pc:sldLayoutMk cId="82475010" sldId="2147483663"/>
          </pc:sldLayoutMkLst>
          <pc:spChg chg="mod">
            <ac:chgData name="Lars Boe Riber" userId="a0746655-6c86-46e8-9fa0-3fdc9fc77da6" providerId="ADAL" clId="{4E480DD1-6EB6-40E9-AA5D-F0885641F18B}" dt="2022-11-18T10:27:08.661" v="1487" actId="790"/>
            <ac:spMkLst>
              <pc:docMk/>
              <pc:sldMasterMk cId="180999990" sldId="2147483648"/>
              <pc:sldLayoutMk cId="82475010" sldId="2147483663"/>
              <ac:spMk id="2" creationId="{E3CB6F92-9067-4F04-94D8-F7763241FA62}"/>
            </ac:spMkLst>
          </pc:spChg>
          <pc:spChg chg="mod">
            <ac:chgData name="Lars Boe Riber" userId="a0746655-6c86-46e8-9fa0-3fdc9fc77da6" providerId="ADAL" clId="{4E480DD1-6EB6-40E9-AA5D-F0885641F18B}" dt="2022-11-18T10:27:08.623" v="1460" actId="790"/>
            <ac:spMkLst>
              <pc:docMk/>
              <pc:sldMasterMk cId="180999990" sldId="2147483648"/>
              <pc:sldLayoutMk cId="82475010" sldId="2147483663"/>
              <ac:spMk id="3" creationId="{00000000-0000-0000-0000-000000000000}"/>
            </ac:spMkLst>
          </pc:spChg>
          <pc:spChg chg="mod">
            <ac:chgData name="Lars Boe Riber" userId="a0746655-6c86-46e8-9fa0-3fdc9fc77da6" providerId="ADAL" clId="{4E480DD1-6EB6-40E9-AA5D-F0885641F18B}" dt="2022-11-18T10:27:08.656" v="1482" actId="790"/>
            <ac:spMkLst>
              <pc:docMk/>
              <pc:sldMasterMk cId="180999990" sldId="2147483648"/>
              <pc:sldLayoutMk cId="82475010" sldId="2147483663"/>
              <ac:spMk id="5" creationId="{22B89D45-376E-4BB4-AF66-EBFB8157555C}"/>
            </ac:spMkLst>
          </pc:spChg>
          <pc:spChg chg="mod">
            <ac:chgData name="Lars Boe Riber" userId="a0746655-6c86-46e8-9fa0-3fdc9fc77da6" providerId="ADAL" clId="{4E480DD1-6EB6-40E9-AA5D-F0885641F18B}" dt="2022-11-18T10:27:08.657" v="1483" actId="790"/>
            <ac:spMkLst>
              <pc:docMk/>
              <pc:sldMasterMk cId="180999990" sldId="2147483648"/>
              <pc:sldLayoutMk cId="82475010" sldId="2147483663"/>
              <ac:spMk id="6" creationId="{41DE4065-89C1-4F31-92C2-C722F8FDD561}"/>
            </ac:spMkLst>
          </pc:spChg>
          <pc:spChg chg="mod">
            <ac:chgData name="Lars Boe Riber" userId="a0746655-6c86-46e8-9fa0-3fdc9fc77da6" providerId="ADAL" clId="{4E480DD1-6EB6-40E9-AA5D-F0885641F18B}" dt="2022-11-18T10:27:08.639" v="1470" actId="790"/>
            <ac:spMkLst>
              <pc:docMk/>
              <pc:sldMasterMk cId="180999990" sldId="2147483648"/>
              <pc:sldLayoutMk cId="82475010" sldId="2147483663"/>
              <ac:spMk id="7" creationId="{17CE2ECF-AF40-4809-BD16-DFC59D53926E}"/>
            </ac:spMkLst>
          </pc:spChg>
          <pc:spChg chg="mod">
            <ac:chgData name="Lars Boe Riber" userId="a0746655-6c86-46e8-9fa0-3fdc9fc77da6" providerId="ADAL" clId="{4E480DD1-6EB6-40E9-AA5D-F0885641F18B}" dt="2022-11-18T10:27:08.654" v="1480" actId="790"/>
            <ac:spMkLst>
              <pc:docMk/>
              <pc:sldMasterMk cId="180999990" sldId="2147483648"/>
              <pc:sldLayoutMk cId="82475010" sldId="2147483663"/>
              <ac:spMk id="8" creationId="{9A42D6F0-A4EA-4276-A4AC-9D1AB4342CE2}"/>
            </ac:spMkLst>
          </pc:spChg>
          <pc:spChg chg="mod">
            <ac:chgData name="Lars Boe Riber" userId="a0746655-6c86-46e8-9fa0-3fdc9fc77da6" providerId="ADAL" clId="{4E480DD1-6EB6-40E9-AA5D-F0885641F18B}" dt="2022-11-18T10:27:08.659" v="1485" actId="790"/>
            <ac:spMkLst>
              <pc:docMk/>
              <pc:sldMasterMk cId="180999990" sldId="2147483648"/>
              <pc:sldLayoutMk cId="82475010" sldId="2147483663"/>
              <ac:spMk id="15" creationId="{2CBF5B00-B445-4B0E-8583-A5FF5F82E34D}"/>
            </ac:spMkLst>
          </pc:spChg>
        </pc:sldLayoutChg>
        <pc:sldLayoutChg chg="modSp mod">
          <pc:chgData name="Lars Boe Riber" userId="a0746655-6c86-46e8-9fa0-3fdc9fc77da6" providerId="ADAL" clId="{4E480DD1-6EB6-40E9-AA5D-F0885641F18B}" dt="2022-11-18T10:27:08.730" v="1534" actId="790"/>
          <pc:sldLayoutMkLst>
            <pc:docMk/>
            <pc:sldMasterMk cId="180999990" sldId="2147483648"/>
            <pc:sldLayoutMk cId="3261030656" sldId="2147483664"/>
          </pc:sldLayoutMkLst>
          <pc:spChg chg="mod">
            <ac:chgData name="Lars Boe Riber" userId="a0746655-6c86-46e8-9fa0-3fdc9fc77da6" providerId="ADAL" clId="{4E480DD1-6EB6-40E9-AA5D-F0885641F18B}" dt="2022-11-18T10:27:08.730" v="1534" actId="790"/>
            <ac:spMkLst>
              <pc:docMk/>
              <pc:sldMasterMk cId="180999990" sldId="2147483648"/>
              <pc:sldLayoutMk cId="3261030656" sldId="2147483664"/>
              <ac:spMk id="2" creationId="{7FEBD53E-C155-468A-BF38-271FB0741E31}"/>
            </ac:spMkLst>
          </pc:spChg>
          <pc:spChg chg="mod">
            <ac:chgData name="Lars Boe Riber" userId="a0746655-6c86-46e8-9fa0-3fdc9fc77da6" providerId="ADAL" clId="{4E480DD1-6EB6-40E9-AA5D-F0885641F18B}" dt="2022-11-18T10:27:08.676" v="1497" actId="790"/>
            <ac:spMkLst>
              <pc:docMk/>
              <pc:sldMasterMk cId="180999990" sldId="2147483648"/>
              <pc:sldLayoutMk cId="3261030656" sldId="2147483664"/>
              <ac:spMk id="3" creationId="{00000000-0000-0000-0000-000000000000}"/>
            </ac:spMkLst>
          </pc:spChg>
          <pc:spChg chg="mod">
            <ac:chgData name="Lars Boe Riber" userId="a0746655-6c86-46e8-9fa0-3fdc9fc77da6" providerId="ADAL" clId="{4E480DD1-6EB6-40E9-AA5D-F0885641F18B}" dt="2022-11-18T10:27:08.725" v="1529" actId="790"/>
            <ac:spMkLst>
              <pc:docMk/>
              <pc:sldMasterMk cId="180999990" sldId="2147483648"/>
              <pc:sldLayoutMk cId="3261030656" sldId="2147483664"/>
              <ac:spMk id="5" creationId="{22B89D45-376E-4BB4-AF66-EBFB8157555C}"/>
            </ac:spMkLst>
          </pc:spChg>
          <pc:spChg chg="mod">
            <ac:chgData name="Lars Boe Riber" userId="a0746655-6c86-46e8-9fa0-3fdc9fc77da6" providerId="ADAL" clId="{4E480DD1-6EB6-40E9-AA5D-F0885641F18B}" dt="2022-11-18T10:27:08.726" v="1530" actId="790"/>
            <ac:spMkLst>
              <pc:docMk/>
              <pc:sldMasterMk cId="180999990" sldId="2147483648"/>
              <pc:sldLayoutMk cId="3261030656" sldId="2147483664"/>
              <ac:spMk id="6" creationId="{41DE4065-89C1-4F31-92C2-C722F8FDD561}"/>
            </ac:spMkLst>
          </pc:spChg>
          <pc:spChg chg="mod">
            <ac:chgData name="Lars Boe Riber" userId="a0746655-6c86-46e8-9fa0-3fdc9fc77da6" providerId="ADAL" clId="{4E480DD1-6EB6-40E9-AA5D-F0885641F18B}" dt="2022-11-18T10:27:08.691" v="1507" actId="790"/>
            <ac:spMkLst>
              <pc:docMk/>
              <pc:sldMasterMk cId="180999990" sldId="2147483648"/>
              <pc:sldLayoutMk cId="3261030656" sldId="2147483664"/>
              <ac:spMk id="7" creationId="{17CE2ECF-AF40-4809-BD16-DFC59D53926E}"/>
            </ac:spMkLst>
          </pc:spChg>
          <pc:spChg chg="mod">
            <ac:chgData name="Lars Boe Riber" userId="a0746655-6c86-46e8-9fa0-3fdc9fc77da6" providerId="ADAL" clId="{4E480DD1-6EB6-40E9-AA5D-F0885641F18B}" dt="2022-11-18T10:27:08.705" v="1517" actId="790"/>
            <ac:spMkLst>
              <pc:docMk/>
              <pc:sldMasterMk cId="180999990" sldId="2147483648"/>
              <pc:sldLayoutMk cId="3261030656" sldId="2147483664"/>
              <ac:spMk id="8" creationId="{9A42D6F0-A4EA-4276-A4AC-9D1AB4342CE2}"/>
            </ac:spMkLst>
          </pc:spChg>
          <pc:spChg chg="mod">
            <ac:chgData name="Lars Boe Riber" userId="a0746655-6c86-46e8-9fa0-3fdc9fc77da6" providerId="ADAL" clId="{4E480DD1-6EB6-40E9-AA5D-F0885641F18B}" dt="2022-11-18T10:27:08.723" v="1527" actId="790"/>
            <ac:spMkLst>
              <pc:docMk/>
              <pc:sldMasterMk cId="180999990" sldId="2147483648"/>
              <pc:sldLayoutMk cId="3261030656" sldId="2147483664"/>
              <ac:spMk id="12" creationId="{9C11E749-AE1E-4399-8F9B-3CD1A336BEF6}"/>
            </ac:spMkLst>
          </pc:spChg>
          <pc:spChg chg="mod">
            <ac:chgData name="Lars Boe Riber" userId="a0746655-6c86-46e8-9fa0-3fdc9fc77da6" providerId="ADAL" clId="{4E480DD1-6EB6-40E9-AA5D-F0885641F18B}" dt="2022-11-18T10:27:08.729" v="1532" actId="790"/>
            <ac:spMkLst>
              <pc:docMk/>
              <pc:sldMasterMk cId="180999990" sldId="2147483648"/>
              <pc:sldLayoutMk cId="3261030656" sldId="2147483664"/>
              <ac:spMk id="15" creationId="{2CBF5B00-B445-4B0E-8583-A5FF5F82E34D}"/>
            </ac:spMkLst>
          </pc:spChg>
        </pc:sldLayoutChg>
        <pc:sldLayoutChg chg="modSp mod">
          <pc:chgData name="Lars Boe Riber" userId="a0746655-6c86-46e8-9fa0-3fdc9fc77da6" providerId="ADAL" clId="{4E480DD1-6EB6-40E9-AA5D-F0885641F18B}" dt="2022-11-18T10:27:08.779" v="1573" actId="790"/>
          <pc:sldLayoutMkLst>
            <pc:docMk/>
            <pc:sldMasterMk cId="180999990" sldId="2147483648"/>
            <pc:sldLayoutMk cId="3367168505" sldId="2147483665"/>
          </pc:sldLayoutMkLst>
          <pc:spChg chg="mod">
            <ac:chgData name="Lars Boe Riber" userId="a0746655-6c86-46e8-9fa0-3fdc9fc77da6" providerId="ADAL" clId="{4E480DD1-6EB6-40E9-AA5D-F0885641F18B}" dt="2022-11-18T10:27:08.779" v="1573" actId="790"/>
            <ac:spMkLst>
              <pc:docMk/>
              <pc:sldMasterMk cId="180999990" sldId="2147483648"/>
              <pc:sldLayoutMk cId="3367168505" sldId="2147483665"/>
              <ac:spMk id="2" creationId="{1B37A819-D59E-4FB0-B4D8-4B50F3690A51}"/>
            </ac:spMkLst>
          </pc:spChg>
          <pc:spChg chg="mod">
            <ac:chgData name="Lars Boe Riber" userId="a0746655-6c86-46e8-9fa0-3fdc9fc77da6" providerId="ADAL" clId="{4E480DD1-6EB6-40E9-AA5D-F0885641F18B}" dt="2022-11-18T10:27:08.774" v="1568" actId="790"/>
            <ac:spMkLst>
              <pc:docMk/>
              <pc:sldMasterMk cId="180999990" sldId="2147483648"/>
              <pc:sldLayoutMk cId="3367168505" sldId="2147483665"/>
              <ac:spMk id="5" creationId="{22B89D45-376E-4BB4-AF66-EBFB8157555C}"/>
            </ac:spMkLst>
          </pc:spChg>
          <pc:spChg chg="mod">
            <ac:chgData name="Lars Boe Riber" userId="a0746655-6c86-46e8-9fa0-3fdc9fc77da6" providerId="ADAL" clId="{4E480DD1-6EB6-40E9-AA5D-F0885641F18B}" dt="2022-11-18T10:27:08.775" v="1569" actId="790"/>
            <ac:spMkLst>
              <pc:docMk/>
              <pc:sldMasterMk cId="180999990" sldId="2147483648"/>
              <pc:sldLayoutMk cId="3367168505" sldId="2147483665"/>
              <ac:spMk id="6" creationId="{41DE4065-89C1-4F31-92C2-C722F8FDD561}"/>
            </ac:spMkLst>
          </pc:spChg>
          <pc:spChg chg="mod">
            <ac:chgData name="Lars Boe Riber" userId="a0746655-6c86-46e8-9fa0-3fdc9fc77da6" providerId="ADAL" clId="{4E480DD1-6EB6-40E9-AA5D-F0885641F18B}" dt="2022-11-18T10:27:08.739" v="1540" actId="790"/>
            <ac:spMkLst>
              <pc:docMk/>
              <pc:sldMasterMk cId="180999990" sldId="2147483648"/>
              <pc:sldLayoutMk cId="3367168505" sldId="2147483665"/>
              <ac:spMk id="9" creationId="{5DE9F99B-72CE-4388-A07E-16E4FCA34B02}"/>
            </ac:spMkLst>
          </pc:spChg>
          <pc:spChg chg="mod">
            <ac:chgData name="Lars Boe Riber" userId="a0746655-6c86-46e8-9fa0-3fdc9fc77da6" providerId="ADAL" clId="{4E480DD1-6EB6-40E9-AA5D-F0885641F18B}" dt="2022-11-18T10:27:08.777" v="1571" actId="790"/>
            <ac:spMkLst>
              <pc:docMk/>
              <pc:sldMasterMk cId="180999990" sldId="2147483648"/>
              <pc:sldLayoutMk cId="3367168505" sldId="2147483665"/>
              <ac:spMk id="15" creationId="{2CBF5B00-B445-4B0E-8583-A5FF5F82E34D}"/>
            </ac:spMkLst>
          </pc:spChg>
          <pc:spChg chg="mod">
            <ac:chgData name="Lars Boe Riber" userId="a0746655-6c86-46e8-9fa0-3fdc9fc77da6" providerId="ADAL" clId="{4E480DD1-6EB6-40E9-AA5D-F0885641F18B}" dt="2022-11-18T10:27:08.747" v="1546" actId="790"/>
            <ac:spMkLst>
              <pc:docMk/>
              <pc:sldMasterMk cId="180999990" sldId="2147483648"/>
              <pc:sldLayoutMk cId="3367168505" sldId="2147483665"/>
              <ac:spMk id="18" creationId="{F984BEEF-AC3D-4E0F-9E5A-7B1D1E9410B1}"/>
            </ac:spMkLst>
          </pc:spChg>
          <pc:spChg chg="mod">
            <ac:chgData name="Lars Boe Riber" userId="a0746655-6c86-46e8-9fa0-3fdc9fc77da6" providerId="ADAL" clId="{4E480DD1-6EB6-40E9-AA5D-F0885641F18B}" dt="2022-11-18T10:27:08.755" v="1552" actId="790"/>
            <ac:spMkLst>
              <pc:docMk/>
              <pc:sldMasterMk cId="180999990" sldId="2147483648"/>
              <pc:sldLayoutMk cId="3367168505" sldId="2147483665"/>
              <ac:spMk id="19" creationId="{CE32555A-FE40-40E8-A71D-91AFA7E977FC}"/>
            </ac:spMkLst>
          </pc:spChg>
          <pc:spChg chg="mod">
            <ac:chgData name="Lars Boe Riber" userId="a0746655-6c86-46e8-9fa0-3fdc9fc77da6" providerId="ADAL" clId="{4E480DD1-6EB6-40E9-AA5D-F0885641F18B}" dt="2022-11-18T10:27:08.764" v="1558" actId="790"/>
            <ac:spMkLst>
              <pc:docMk/>
              <pc:sldMasterMk cId="180999990" sldId="2147483648"/>
              <pc:sldLayoutMk cId="3367168505" sldId="2147483665"/>
              <ac:spMk id="20" creationId="{F3477BD4-C018-4A4A-A1E7-1BDA53EDD048}"/>
            </ac:spMkLst>
          </pc:spChg>
          <pc:spChg chg="mod">
            <ac:chgData name="Lars Boe Riber" userId="a0746655-6c86-46e8-9fa0-3fdc9fc77da6" providerId="ADAL" clId="{4E480DD1-6EB6-40E9-AA5D-F0885641F18B}" dt="2022-11-18T10:27:08.766" v="1560" actId="790"/>
            <ac:spMkLst>
              <pc:docMk/>
              <pc:sldMasterMk cId="180999990" sldId="2147483648"/>
              <pc:sldLayoutMk cId="3367168505" sldId="2147483665"/>
              <ac:spMk id="21" creationId="{E78D1B62-08BD-49AB-8756-078500D81791}"/>
            </ac:spMkLst>
          </pc:spChg>
          <pc:spChg chg="mod">
            <ac:chgData name="Lars Boe Riber" userId="a0746655-6c86-46e8-9fa0-3fdc9fc77da6" providerId="ADAL" clId="{4E480DD1-6EB6-40E9-AA5D-F0885641F18B}" dt="2022-11-18T10:27:08.769" v="1562" actId="790"/>
            <ac:spMkLst>
              <pc:docMk/>
              <pc:sldMasterMk cId="180999990" sldId="2147483648"/>
              <pc:sldLayoutMk cId="3367168505" sldId="2147483665"/>
              <ac:spMk id="22" creationId="{27E426B3-007C-4DCD-B395-04C274D48424}"/>
            </ac:spMkLst>
          </pc:spChg>
          <pc:spChg chg="mod">
            <ac:chgData name="Lars Boe Riber" userId="a0746655-6c86-46e8-9fa0-3fdc9fc77da6" providerId="ADAL" clId="{4E480DD1-6EB6-40E9-AA5D-F0885641F18B}" dt="2022-11-18T10:27:08.770" v="1564" actId="790"/>
            <ac:spMkLst>
              <pc:docMk/>
              <pc:sldMasterMk cId="180999990" sldId="2147483648"/>
              <pc:sldLayoutMk cId="3367168505" sldId="2147483665"/>
              <ac:spMk id="23" creationId="{D826721D-67F8-4284-AA9F-4B3CCE1F525B}"/>
            </ac:spMkLst>
          </pc:spChg>
          <pc:spChg chg="mod">
            <ac:chgData name="Lars Boe Riber" userId="a0746655-6c86-46e8-9fa0-3fdc9fc77da6" providerId="ADAL" clId="{4E480DD1-6EB6-40E9-AA5D-F0885641F18B}" dt="2022-11-18T10:27:08.772" v="1566" actId="790"/>
            <ac:spMkLst>
              <pc:docMk/>
              <pc:sldMasterMk cId="180999990" sldId="2147483648"/>
              <pc:sldLayoutMk cId="3367168505" sldId="2147483665"/>
              <ac:spMk id="24" creationId="{11DEFE19-EE06-43A9-A968-EE248DB75F74}"/>
            </ac:spMkLst>
          </pc:spChg>
        </pc:sldLayoutChg>
        <pc:sldLayoutChg chg="modSp mod">
          <pc:chgData name="Lars Boe Riber" userId="a0746655-6c86-46e8-9fa0-3fdc9fc77da6" providerId="ADAL" clId="{4E480DD1-6EB6-40E9-AA5D-F0885641F18B}" dt="2022-11-18T10:27:08.816" v="1601" actId="790"/>
          <pc:sldLayoutMkLst>
            <pc:docMk/>
            <pc:sldMasterMk cId="180999990" sldId="2147483648"/>
            <pc:sldLayoutMk cId="702620898" sldId="2147483666"/>
          </pc:sldLayoutMkLst>
          <pc:spChg chg="mod">
            <ac:chgData name="Lars Boe Riber" userId="a0746655-6c86-46e8-9fa0-3fdc9fc77da6" providerId="ADAL" clId="{4E480DD1-6EB6-40E9-AA5D-F0885641F18B}" dt="2022-11-18T10:27:08.794" v="1584" actId="790"/>
            <ac:spMkLst>
              <pc:docMk/>
              <pc:sldMasterMk cId="180999990" sldId="2147483648"/>
              <pc:sldLayoutMk cId="702620898" sldId="2147483666"/>
              <ac:spMk id="3" creationId="{00000000-0000-0000-0000-000000000000}"/>
            </ac:spMkLst>
          </pc:spChg>
          <pc:spChg chg="mod">
            <ac:chgData name="Lars Boe Riber" userId="a0746655-6c86-46e8-9fa0-3fdc9fc77da6" providerId="ADAL" clId="{4E480DD1-6EB6-40E9-AA5D-F0885641F18B}" dt="2022-11-18T10:27:08.816" v="1601" actId="790"/>
            <ac:spMkLst>
              <pc:docMk/>
              <pc:sldMasterMk cId="180999990" sldId="2147483648"/>
              <pc:sldLayoutMk cId="702620898" sldId="2147483666"/>
              <ac:spMk id="4" creationId="{02E1FB56-AB97-4B01-A917-7353F3799443}"/>
            </ac:spMkLst>
          </pc:spChg>
          <pc:spChg chg="mod">
            <ac:chgData name="Lars Boe Riber" userId="a0746655-6c86-46e8-9fa0-3fdc9fc77da6" providerId="ADAL" clId="{4E480DD1-6EB6-40E9-AA5D-F0885641F18B}" dt="2022-11-18T10:27:08.811" v="1596" actId="790"/>
            <ac:spMkLst>
              <pc:docMk/>
              <pc:sldMasterMk cId="180999990" sldId="2147483648"/>
              <pc:sldLayoutMk cId="702620898" sldId="2147483666"/>
              <ac:spMk id="6" creationId="{F54D13B6-5D47-4342-AE7D-6E53AE9D62A4}"/>
            </ac:spMkLst>
          </pc:spChg>
          <pc:spChg chg="mod">
            <ac:chgData name="Lars Boe Riber" userId="a0746655-6c86-46e8-9fa0-3fdc9fc77da6" providerId="ADAL" clId="{4E480DD1-6EB6-40E9-AA5D-F0885641F18B}" dt="2022-11-18T10:27:08.809" v="1594" actId="790"/>
            <ac:spMkLst>
              <pc:docMk/>
              <pc:sldMasterMk cId="180999990" sldId="2147483648"/>
              <pc:sldLayoutMk cId="702620898" sldId="2147483666"/>
              <ac:spMk id="7" creationId="{17CE2ECF-AF40-4809-BD16-DFC59D53926E}"/>
            </ac:spMkLst>
          </pc:spChg>
          <pc:spChg chg="mod">
            <ac:chgData name="Lars Boe Riber" userId="a0746655-6c86-46e8-9fa0-3fdc9fc77da6" providerId="ADAL" clId="{4E480DD1-6EB6-40E9-AA5D-F0885641F18B}" dt="2022-11-18T10:27:08.780" v="1574" actId="790"/>
            <ac:spMkLst>
              <pc:docMk/>
              <pc:sldMasterMk cId="180999990" sldId="2147483648"/>
              <pc:sldLayoutMk cId="702620898" sldId="2147483666"/>
              <ac:spMk id="10" creationId="{5B4101BC-2F6D-4C7D-BAF1-B5E98F520306}"/>
            </ac:spMkLst>
          </pc:spChg>
          <pc:spChg chg="mod">
            <ac:chgData name="Lars Boe Riber" userId="a0746655-6c86-46e8-9fa0-3fdc9fc77da6" providerId="ADAL" clId="{4E480DD1-6EB6-40E9-AA5D-F0885641F18B}" dt="2022-11-18T10:27:08.812" v="1597" actId="790"/>
            <ac:spMkLst>
              <pc:docMk/>
              <pc:sldMasterMk cId="180999990" sldId="2147483648"/>
              <pc:sldLayoutMk cId="702620898" sldId="2147483666"/>
              <ac:spMk id="12" creationId="{04AC3241-D38F-486C-A52D-8F4AF51C70A7}"/>
            </ac:spMkLst>
          </pc:spChg>
          <pc:spChg chg="mod">
            <ac:chgData name="Lars Boe Riber" userId="a0746655-6c86-46e8-9fa0-3fdc9fc77da6" providerId="ADAL" clId="{4E480DD1-6EB6-40E9-AA5D-F0885641F18B}" dt="2022-11-18T10:27:08.814" v="1599" actId="790"/>
            <ac:spMkLst>
              <pc:docMk/>
              <pc:sldMasterMk cId="180999990" sldId="2147483648"/>
              <pc:sldLayoutMk cId="702620898" sldId="2147483666"/>
              <ac:spMk id="13" creationId="{BFA9F9E2-0E4E-4885-BB6E-89C9B4A00F5C}"/>
            </ac:spMkLst>
          </pc:spChg>
        </pc:sldLayoutChg>
        <pc:sldLayoutChg chg="modSp mod">
          <pc:chgData name="Lars Boe Riber" userId="a0746655-6c86-46e8-9fa0-3fdc9fc77da6" providerId="ADAL" clId="{4E480DD1-6EB6-40E9-AA5D-F0885641F18B}" dt="2022-11-18T10:27:08.855" v="1631" actId="790"/>
          <pc:sldLayoutMkLst>
            <pc:docMk/>
            <pc:sldMasterMk cId="180999990" sldId="2147483648"/>
            <pc:sldLayoutMk cId="3996963546" sldId="2147483667"/>
          </pc:sldLayoutMkLst>
          <pc:spChg chg="mod">
            <ac:chgData name="Lars Boe Riber" userId="a0746655-6c86-46e8-9fa0-3fdc9fc77da6" providerId="ADAL" clId="{4E480DD1-6EB6-40E9-AA5D-F0885641F18B}" dt="2022-11-18T10:27:08.819" v="1604" actId="790"/>
            <ac:spMkLst>
              <pc:docMk/>
              <pc:sldMasterMk cId="180999990" sldId="2147483648"/>
              <pc:sldLayoutMk cId="3996963546" sldId="2147483667"/>
              <ac:spMk id="2" creationId="{00000000-0000-0000-0000-000000000000}"/>
            </ac:spMkLst>
          </pc:spChg>
          <pc:spChg chg="mod">
            <ac:chgData name="Lars Boe Riber" userId="a0746655-6c86-46e8-9fa0-3fdc9fc77da6" providerId="ADAL" clId="{4E480DD1-6EB6-40E9-AA5D-F0885641F18B}" dt="2022-11-18T10:27:08.833" v="1614" actId="790"/>
            <ac:spMkLst>
              <pc:docMk/>
              <pc:sldMasterMk cId="180999990" sldId="2147483648"/>
              <pc:sldLayoutMk cId="3996963546" sldId="2147483667"/>
              <ac:spMk id="3" creationId="{00000000-0000-0000-0000-000000000000}"/>
            </ac:spMkLst>
          </pc:spChg>
          <pc:spChg chg="mod">
            <ac:chgData name="Lars Boe Riber" userId="a0746655-6c86-46e8-9fa0-3fdc9fc77da6" providerId="ADAL" clId="{4E480DD1-6EB6-40E9-AA5D-F0885641F18B}" dt="2022-11-18T10:27:08.850" v="1626" actId="790"/>
            <ac:spMkLst>
              <pc:docMk/>
              <pc:sldMasterMk cId="180999990" sldId="2147483648"/>
              <pc:sldLayoutMk cId="3996963546" sldId="2147483667"/>
              <ac:spMk id="6" creationId="{E19C5DF7-AA05-44B8-878C-85AD93C7ED30}"/>
            </ac:spMkLst>
          </pc:spChg>
          <pc:spChg chg="mod">
            <ac:chgData name="Lars Boe Riber" userId="a0746655-6c86-46e8-9fa0-3fdc9fc77da6" providerId="ADAL" clId="{4E480DD1-6EB6-40E9-AA5D-F0885641F18B}" dt="2022-11-18T10:27:08.848" v="1624" actId="790"/>
            <ac:spMkLst>
              <pc:docMk/>
              <pc:sldMasterMk cId="180999990" sldId="2147483648"/>
              <pc:sldLayoutMk cId="3996963546" sldId="2147483667"/>
              <ac:spMk id="7" creationId="{17CE2ECF-AF40-4809-BD16-DFC59D53926E}"/>
            </ac:spMkLst>
          </pc:spChg>
          <pc:spChg chg="mod">
            <ac:chgData name="Lars Boe Riber" userId="a0746655-6c86-46e8-9fa0-3fdc9fc77da6" providerId="ADAL" clId="{4E480DD1-6EB6-40E9-AA5D-F0885641F18B}" dt="2022-11-18T10:27:08.851" v="1627" actId="790"/>
            <ac:spMkLst>
              <pc:docMk/>
              <pc:sldMasterMk cId="180999990" sldId="2147483648"/>
              <pc:sldLayoutMk cId="3996963546" sldId="2147483667"/>
              <ac:spMk id="9" creationId="{B44664D2-EB52-4A0B-B455-1050F47E9E8C}"/>
            </ac:spMkLst>
          </pc:spChg>
          <pc:spChg chg="mod">
            <ac:chgData name="Lars Boe Riber" userId="a0746655-6c86-46e8-9fa0-3fdc9fc77da6" providerId="ADAL" clId="{4E480DD1-6EB6-40E9-AA5D-F0885641F18B}" dt="2022-11-18T10:27:08.817" v="1602" actId="790"/>
            <ac:spMkLst>
              <pc:docMk/>
              <pc:sldMasterMk cId="180999990" sldId="2147483648"/>
              <pc:sldLayoutMk cId="3996963546" sldId="2147483667"/>
              <ac:spMk id="10" creationId="{5B4101BC-2F6D-4C7D-BAF1-B5E98F520306}"/>
            </ac:spMkLst>
          </pc:spChg>
          <pc:spChg chg="mod">
            <ac:chgData name="Lars Boe Riber" userId="a0746655-6c86-46e8-9fa0-3fdc9fc77da6" providerId="ADAL" clId="{4E480DD1-6EB6-40E9-AA5D-F0885641F18B}" dt="2022-11-18T10:27:08.853" v="1629" actId="790"/>
            <ac:spMkLst>
              <pc:docMk/>
              <pc:sldMasterMk cId="180999990" sldId="2147483648"/>
              <pc:sldLayoutMk cId="3996963546" sldId="2147483667"/>
              <ac:spMk id="11" creationId="{7C95586C-4D9B-49BB-B75A-228B73D2F86D}"/>
            </ac:spMkLst>
          </pc:spChg>
          <pc:spChg chg="mod">
            <ac:chgData name="Lars Boe Riber" userId="a0746655-6c86-46e8-9fa0-3fdc9fc77da6" providerId="ADAL" clId="{4E480DD1-6EB6-40E9-AA5D-F0885641F18B}" dt="2022-11-18T10:27:08.855" v="1631" actId="790"/>
            <ac:spMkLst>
              <pc:docMk/>
              <pc:sldMasterMk cId="180999990" sldId="2147483648"/>
              <pc:sldLayoutMk cId="3996963546" sldId="2147483667"/>
              <ac:spMk id="13" creationId="{09BBAAE4-B138-434A-AB2B-8751F2BDF242}"/>
            </ac:spMkLst>
          </pc:spChg>
        </pc:sldLayoutChg>
        <pc:sldLayoutChg chg="modSp mod">
          <pc:chgData name="Lars Boe Riber" userId="a0746655-6c86-46e8-9fa0-3fdc9fc77da6" providerId="ADAL" clId="{4E480DD1-6EB6-40E9-AA5D-F0885641F18B}" dt="2022-11-18T10:27:08.906" v="1669" actId="790"/>
          <pc:sldLayoutMkLst>
            <pc:docMk/>
            <pc:sldMasterMk cId="180999990" sldId="2147483648"/>
            <pc:sldLayoutMk cId="574162775" sldId="2147483668"/>
          </pc:sldLayoutMkLst>
          <pc:spChg chg="mod">
            <ac:chgData name="Lars Boe Riber" userId="a0746655-6c86-46e8-9fa0-3fdc9fc77da6" providerId="ADAL" clId="{4E480DD1-6EB6-40E9-AA5D-F0885641F18B}" dt="2022-11-18T10:27:08.870" v="1642" actId="790"/>
            <ac:spMkLst>
              <pc:docMk/>
              <pc:sldMasterMk cId="180999990" sldId="2147483648"/>
              <pc:sldLayoutMk cId="574162775" sldId="2147483668"/>
              <ac:spMk id="3" creationId="{00000000-0000-0000-0000-000000000000}"/>
            </ac:spMkLst>
          </pc:spChg>
          <pc:spChg chg="mod">
            <ac:chgData name="Lars Boe Riber" userId="a0746655-6c86-46e8-9fa0-3fdc9fc77da6" providerId="ADAL" clId="{4E480DD1-6EB6-40E9-AA5D-F0885641F18B}" dt="2022-11-18T10:27:08.906" v="1669" actId="790"/>
            <ac:spMkLst>
              <pc:docMk/>
              <pc:sldMasterMk cId="180999990" sldId="2147483648"/>
              <pc:sldLayoutMk cId="574162775" sldId="2147483668"/>
              <ac:spMk id="4" creationId="{FDB260E7-5145-4D60-B0FD-D666309BC821}"/>
            </ac:spMkLst>
          </pc:spChg>
          <pc:spChg chg="mod">
            <ac:chgData name="Lars Boe Riber" userId="a0746655-6c86-46e8-9fa0-3fdc9fc77da6" providerId="ADAL" clId="{4E480DD1-6EB6-40E9-AA5D-F0885641F18B}" dt="2022-11-18T10:27:08.902" v="1664" actId="790"/>
            <ac:spMkLst>
              <pc:docMk/>
              <pc:sldMasterMk cId="180999990" sldId="2147483648"/>
              <pc:sldLayoutMk cId="574162775" sldId="2147483668"/>
              <ac:spMk id="6" creationId="{F54D13B6-5D47-4342-AE7D-6E53AE9D62A4}"/>
            </ac:spMkLst>
          </pc:spChg>
          <pc:spChg chg="mod">
            <ac:chgData name="Lars Boe Riber" userId="a0746655-6c86-46e8-9fa0-3fdc9fc77da6" providerId="ADAL" clId="{4E480DD1-6EB6-40E9-AA5D-F0885641F18B}" dt="2022-11-18T10:27:08.899" v="1662" actId="790"/>
            <ac:spMkLst>
              <pc:docMk/>
              <pc:sldMasterMk cId="180999990" sldId="2147483648"/>
              <pc:sldLayoutMk cId="574162775" sldId="2147483668"/>
              <ac:spMk id="7" creationId="{17CE2ECF-AF40-4809-BD16-DFC59D53926E}"/>
            </ac:spMkLst>
          </pc:spChg>
          <pc:spChg chg="mod">
            <ac:chgData name="Lars Boe Riber" userId="a0746655-6c86-46e8-9fa0-3fdc9fc77da6" providerId="ADAL" clId="{4E480DD1-6EB6-40E9-AA5D-F0885641F18B}" dt="2022-11-18T10:27:08.856" v="1632" actId="790"/>
            <ac:spMkLst>
              <pc:docMk/>
              <pc:sldMasterMk cId="180999990" sldId="2147483648"/>
              <pc:sldLayoutMk cId="574162775" sldId="2147483668"/>
              <ac:spMk id="10" creationId="{5B4101BC-2F6D-4C7D-BAF1-B5E98F520306}"/>
            </ac:spMkLst>
          </pc:spChg>
          <pc:spChg chg="mod">
            <ac:chgData name="Lars Boe Riber" userId="a0746655-6c86-46e8-9fa0-3fdc9fc77da6" providerId="ADAL" clId="{4E480DD1-6EB6-40E9-AA5D-F0885641F18B}" dt="2022-11-18T10:27:08.885" v="1652" actId="790"/>
            <ac:spMkLst>
              <pc:docMk/>
              <pc:sldMasterMk cId="180999990" sldId="2147483648"/>
              <pc:sldLayoutMk cId="574162775" sldId="2147483668"/>
              <ac:spMk id="11" creationId="{A5573133-6D27-4CF6-9680-4BBF4FB964AB}"/>
            </ac:spMkLst>
          </pc:spChg>
          <pc:spChg chg="mod">
            <ac:chgData name="Lars Boe Riber" userId="a0746655-6c86-46e8-9fa0-3fdc9fc77da6" providerId="ADAL" clId="{4E480DD1-6EB6-40E9-AA5D-F0885641F18B}" dt="2022-11-18T10:27:08.903" v="1665" actId="790"/>
            <ac:spMkLst>
              <pc:docMk/>
              <pc:sldMasterMk cId="180999990" sldId="2147483648"/>
              <pc:sldLayoutMk cId="574162775" sldId="2147483668"/>
              <ac:spMk id="12" creationId="{04AC3241-D38F-486C-A52D-8F4AF51C70A7}"/>
            </ac:spMkLst>
          </pc:spChg>
          <pc:spChg chg="mod">
            <ac:chgData name="Lars Boe Riber" userId="a0746655-6c86-46e8-9fa0-3fdc9fc77da6" providerId="ADAL" clId="{4E480DD1-6EB6-40E9-AA5D-F0885641F18B}" dt="2022-11-18T10:27:08.904" v="1667" actId="790"/>
            <ac:spMkLst>
              <pc:docMk/>
              <pc:sldMasterMk cId="180999990" sldId="2147483648"/>
              <pc:sldLayoutMk cId="574162775" sldId="2147483668"/>
              <ac:spMk id="13" creationId="{BFA9F9E2-0E4E-4885-BB6E-89C9B4A00F5C}"/>
            </ac:spMkLst>
          </pc:spChg>
        </pc:sldLayoutChg>
        <pc:sldLayoutChg chg="modSp mod">
          <pc:chgData name="Lars Boe Riber" userId="a0746655-6c86-46e8-9fa0-3fdc9fc77da6" providerId="ADAL" clId="{4E480DD1-6EB6-40E9-AA5D-F0885641F18B}" dt="2022-11-18T10:27:08.960" v="1709" actId="790"/>
          <pc:sldLayoutMkLst>
            <pc:docMk/>
            <pc:sldMasterMk cId="180999990" sldId="2147483648"/>
            <pc:sldLayoutMk cId="3553665518" sldId="2147483669"/>
          </pc:sldLayoutMkLst>
          <pc:spChg chg="mod">
            <ac:chgData name="Lars Boe Riber" userId="a0746655-6c86-46e8-9fa0-3fdc9fc77da6" providerId="ADAL" clId="{4E480DD1-6EB6-40E9-AA5D-F0885641F18B}" dt="2022-11-18T10:27:08.909" v="1672" actId="790"/>
            <ac:spMkLst>
              <pc:docMk/>
              <pc:sldMasterMk cId="180999990" sldId="2147483648"/>
              <pc:sldLayoutMk cId="3553665518" sldId="2147483669"/>
              <ac:spMk id="2" creationId="{00000000-0000-0000-0000-000000000000}"/>
            </ac:spMkLst>
          </pc:spChg>
          <pc:spChg chg="mod">
            <ac:chgData name="Lars Boe Riber" userId="a0746655-6c86-46e8-9fa0-3fdc9fc77da6" providerId="ADAL" clId="{4E480DD1-6EB6-40E9-AA5D-F0885641F18B}" dt="2022-11-18T10:27:08.923" v="1682" actId="790"/>
            <ac:spMkLst>
              <pc:docMk/>
              <pc:sldMasterMk cId="180999990" sldId="2147483648"/>
              <pc:sldLayoutMk cId="3553665518" sldId="2147483669"/>
              <ac:spMk id="3" creationId="{00000000-0000-0000-0000-000000000000}"/>
            </ac:spMkLst>
          </pc:spChg>
          <pc:spChg chg="mod">
            <ac:chgData name="Lars Boe Riber" userId="a0746655-6c86-46e8-9fa0-3fdc9fc77da6" providerId="ADAL" clId="{4E480DD1-6EB6-40E9-AA5D-F0885641F18B}" dt="2022-11-18T10:27:08.955" v="1704" actId="790"/>
            <ac:spMkLst>
              <pc:docMk/>
              <pc:sldMasterMk cId="180999990" sldId="2147483648"/>
              <pc:sldLayoutMk cId="3553665518" sldId="2147483669"/>
              <ac:spMk id="6" creationId="{CAAB6B10-3B1D-4A83-ABAF-2B5A7A4DE682}"/>
            </ac:spMkLst>
          </pc:spChg>
          <pc:spChg chg="mod">
            <ac:chgData name="Lars Boe Riber" userId="a0746655-6c86-46e8-9fa0-3fdc9fc77da6" providerId="ADAL" clId="{4E480DD1-6EB6-40E9-AA5D-F0885641F18B}" dt="2022-11-18T10:27:08.938" v="1692" actId="790"/>
            <ac:spMkLst>
              <pc:docMk/>
              <pc:sldMasterMk cId="180999990" sldId="2147483648"/>
              <pc:sldLayoutMk cId="3553665518" sldId="2147483669"/>
              <ac:spMk id="7" creationId="{17CE2ECF-AF40-4809-BD16-DFC59D53926E}"/>
            </ac:spMkLst>
          </pc:spChg>
          <pc:spChg chg="mod">
            <ac:chgData name="Lars Boe Riber" userId="a0746655-6c86-46e8-9fa0-3fdc9fc77da6" providerId="ADAL" clId="{4E480DD1-6EB6-40E9-AA5D-F0885641F18B}" dt="2022-11-18T10:27:08.956" v="1705" actId="790"/>
            <ac:spMkLst>
              <pc:docMk/>
              <pc:sldMasterMk cId="180999990" sldId="2147483648"/>
              <pc:sldLayoutMk cId="3553665518" sldId="2147483669"/>
              <ac:spMk id="9" creationId="{F90EB1FC-C5EB-4C51-82E0-EA7BDC127E14}"/>
            </ac:spMkLst>
          </pc:spChg>
          <pc:spChg chg="mod">
            <ac:chgData name="Lars Boe Riber" userId="a0746655-6c86-46e8-9fa0-3fdc9fc77da6" providerId="ADAL" clId="{4E480DD1-6EB6-40E9-AA5D-F0885641F18B}" dt="2022-11-18T10:27:08.907" v="1670" actId="790"/>
            <ac:spMkLst>
              <pc:docMk/>
              <pc:sldMasterMk cId="180999990" sldId="2147483648"/>
              <pc:sldLayoutMk cId="3553665518" sldId="2147483669"/>
              <ac:spMk id="10" creationId="{5B4101BC-2F6D-4C7D-BAF1-B5E98F520306}"/>
            </ac:spMkLst>
          </pc:spChg>
          <pc:spChg chg="mod">
            <ac:chgData name="Lars Boe Riber" userId="a0746655-6c86-46e8-9fa0-3fdc9fc77da6" providerId="ADAL" clId="{4E480DD1-6EB6-40E9-AA5D-F0885641F18B}" dt="2022-11-18T10:27:08.953" v="1702" actId="790"/>
            <ac:spMkLst>
              <pc:docMk/>
              <pc:sldMasterMk cId="180999990" sldId="2147483648"/>
              <pc:sldLayoutMk cId="3553665518" sldId="2147483669"/>
              <ac:spMk id="11" creationId="{A5573133-6D27-4CF6-9680-4BBF4FB964AB}"/>
            </ac:spMkLst>
          </pc:spChg>
          <pc:spChg chg="mod">
            <ac:chgData name="Lars Boe Riber" userId="a0746655-6c86-46e8-9fa0-3fdc9fc77da6" providerId="ADAL" clId="{4E480DD1-6EB6-40E9-AA5D-F0885641F18B}" dt="2022-11-18T10:27:08.958" v="1707" actId="790"/>
            <ac:spMkLst>
              <pc:docMk/>
              <pc:sldMasterMk cId="180999990" sldId="2147483648"/>
              <pc:sldLayoutMk cId="3553665518" sldId="2147483669"/>
              <ac:spMk id="12" creationId="{9B3EF062-88CB-43A8-9F24-FA8FE9948D5A}"/>
            </ac:spMkLst>
          </pc:spChg>
          <pc:spChg chg="mod">
            <ac:chgData name="Lars Boe Riber" userId="a0746655-6c86-46e8-9fa0-3fdc9fc77da6" providerId="ADAL" clId="{4E480DD1-6EB6-40E9-AA5D-F0885641F18B}" dt="2022-11-18T10:27:08.960" v="1709" actId="790"/>
            <ac:spMkLst>
              <pc:docMk/>
              <pc:sldMasterMk cId="180999990" sldId="2147483648"/>
              <pc:sldLayoutMk cId="3553665518" sldId="2147483669"/>
              <ac:spMk id="15" creationId="{1107FA97-AB49-4F73-B2DC-C8F68A25BF4B}"/>
            </ac:spMkLst>
          </pc:spChg>
        </pc:sldLayoutChg>
        <pc:sldLayoutChg chg="modSp mod">
          <pc:chgData name="Lars Boe Riber" userId="a0746655-6c86-46e8-9fa0-3fdc9fc77da6" providerId="ADAL" clId="{4E480DD1-6EB6-40E9-AA5D-F0885641F18B}" dt="2022-11-18T10:27:09.006" v="1737" actId="790"/>
          <pc:sldLayoutMkLst>
            <pc:docMk/>
            <pc:sldMasterMk cId="180999990" sldId="2147483648"/>
            <pc:sldLayoutMk cId="3502322527" sldId="2147483670"/>
          </pc:sldLayoutMkLst>
          <pc:spChg chg="mod">
            <ac:chgData name="Lars Boe Riber" userId="a0746655-6c86-46e8-9fa0-3fdc9fc77da6" providerId="ADAL" clId="{4E480DD1-6EB6-40E9-AA5D-F0885641F18B}" dt="2022-11-18T10:27:08.962" v="1712" actId="790"/>
            <ac:spMkLst>
              <pc:docMk/>
              <pc:sldMasterMk cId="180999990" sldId="2147483648"/>
              <pc:sldLayoutMk cId="3502322527" sldId="2147483670"/>
              <ac:spMk id="2" creationId="{00000000-0000-0000-0000-000000000000}"/>
            </ac:spMkLst>
          </pc:spChg>
          <pc:spChg chg="mod">
            <ac:chgData name="Lars Boe Riber" userId="a0746655-6c86-46e8-9fa0-3fdc9fc77da6" providerId="ADAL" clId="{4E480DD1-6EB6-40E9-AA5D-F0885641F18B}" dt="2022-11-18T10:27:08.984" v="1722" actId="790"/>
            <ac:spMkLst>
              <pc:docMk/>
              <pc:sldMasterMk cId="180999990" sldId="2147483648"/>
              <pc:sldLayoutMk cId="3502322527" sldId="2147483670"/>
              <ac:spMk id="3" creationId="{00000000-0000-0000-0000-000000000000}"/>
            </ac:spMkLst>
          </pc:spChg>
          <pc:spChg chg="mod">
            <ac:chgData name="Lars Boe Riber" userId="a0746655-6c86-46e8-9fa0-3fdc9fc77da6" providerId="ADAL" clId="{4E480DD1-6EB6-40E9-AA5D-F0885641F18B}" dt="2022-11-18T10:27:09.004" v="1734" actId="790"/>
            <ac:spMkLst>
              <pc:docMk/>
              <pc:sldMasterMk cId="180999990" sldId="2147483648"/>
              <pc:sldLayoutMk cId="3502322527" sldId="2147483670"/>
              <ac:spMk id="4" creationId="{E5BF0EDC-1BA0-46A5-AFF6-FF8FC3548247}"/>
            </ac:spMkLst>
          </pc:spChg>
          <pc:spChg chg="mod">
            <ac:chgData name="Lars Boe Riber" userId="a0746655-6c86-46e8-9fa0-3fdc9fc77da6" providerId="ADAL" clId="{4E480DD1-6EB6-40E9-AA5D-F0885641F18B}" dt="2022-11-18T10:27:09.005" v="1735" actId="790"/>
            <ac:spMkLst>
              <pc:docMk/>
              <pc:sldMasterMk cId="180999990" sldId="2147483648"/>
              <pc:sldLayoutMk cId="3502322527" sldId="2147483670"/>
              <ac:spMk id="5" creationId="{FCBB3993-746A-4812-B604-1CB12E7AB3CD}"/>
            </ac:spMkLst>
          </pc:spChg>
          <pc:spChg chg="mod">
            <ac:chgData name="Lars Boe Riber" userId="a0746655-6c86-46e8-9fa0-3fdc9fc77da6" providerId="ADAL" clId="{4E480DD1-6EB6-40E9-AA5D-F0885641F18B}" dt="2022-11-18T10:27:09.002" v="1732" actId="790"/>
            <ac:spMkLst>
              <pc:docMk/>
              <pc:sldMasterMk cId="180999990" sldId="2147483648"/>
              <pc:sldLayoutMk cId="3502322527" sldId="2147483670"/>
              <ac:spMk id="7" creationId="{17CE2ECF-AF40-4809-BD16-DFC59D53926E}"/>
            </ac:spMkLst>
          </pc:spChg>
          <pc:spChg chg="mod">
            <ac:chgData name="Lars Boe Riber" userId="a0746655-6c86-46e8-9fa0-3fdc9fc77da6" providerId="ADAL" clId="{4E480DD1-6EB6-40E9-AA5D-F0885641F18B}" dt="2022-11-18T10:27:09.006" v="1737" actId="790"/>
            <ac:spMkLst>
              <pc:docMk/>
              <pc:sldMasterMk cId="180999990" sldId="2147483648"/>
              <pc:sldLayoutMk cId="3502322527" sldId="2147483670"/>
              <ac:spMk id="8" creationId="{31446710-E8D4-486F-90DE-EC9771FBA22F}"/>
            </ac:spMkLst>
          </pc:spChg>
          <pc:spChg chg="mod">
            <ac:chgData name="Lars Boe Riber" userId="a0746655-6c86-46e8-9fa0-3fdc9fc77da6" providerId="ADAL" clId="{4E480DD1-6EB6-40E9-AA5D-F0885641F18B}" dt="2022-11-18T10:27:08.961" v="1710" actId="790"/>
            <ac:spMkLst>
              <pc:docMk/>
              <pc:sldMasterMk cId="180999990" sldId="2147483648"/>
              <pc:sldLayoutMk cId="3502322527" sldId="2147483670"/>
              <ac:spMk id="10" creationId="{5B4101BC-2F6D-4C7D-BAF1-B5E98F520306}"/>
            </ac:spMkLst>
          </pc:spChg>
        </pc:sldLayoutChg>
        <pc:sldLayoutChg chg="modSp mod">
          <pc:chgData name="Lars Boe Riber" userId="a0746655-6c86-46e8-9fa0-3fdc9fc77da6" providerId="ADAL" clId="{4E480DD1-6EB6-40E9-AA5D-F0885641F18B}" dt="2022-11-18T10:27:09.047" v="1767" actId="790"/>
          <pc:sldLayoutMkLst>
            <pc:docMk/>
            <pc:sldMasterMk cId="180999990" sldId="2147483648"/>
            <pc:sldLayoutMk cId="2793307938" sldId="2147483671"/>
          </pc:sldLayoutMkLst>
          <pc:spChg chg="mod">
            <ac:chgData name="Lars Boe Riber" userId="a0746655-6c86-46e8-9fa0-3fdc9fc77da6" providerId="ADAL" clId="{4E480DD1-6EB6-40E9-AA5D-F0885641F18B}" dt="2022-11-18T10:27:09.009" v="1740" actId="790"/>
            <ac:spMkLst>
              <pc:docMk/>
              <pc:sldMasterMk cId="180999990" sldId="2147483648"/>
              <pc:sldLayoutMk cId="2793307938" sldId="2147483671"/>
              <ac:spMk id="2" creationId="{00000000-0000-0000-0000-000000000000}"/>
            </ac:spMkLst>
          </pc:spChg>
          <pc:spChg chg="mod">
            <ac:chgData name="Lars Boe Riber" userId="a0746655-6c86-46e8-9fa0-3fdc9fc77da6" providerId="ADAL" clId="{4E480DD1-6EB6-40E9-AA5D-F0885641F18B}" dt="2022-11-18T10:27:09.024" v="1750" actId="790"/>
            <ac:spMkLst>
              <pc:docMk/>
              <pc:sldMasterMk cId="180999990" sldId="2147483648"/>
              <pc:sldLayoutMk cId="2793307938" sldId="2147483671"/>
              <ac:spMk id="3" creationId="{00000000-0000-0000-0000-000000000000}"/>
            </ac:spMkLst>
          </pc:spChg>
          <pc:spChg chg="mod">
            <ac:chgData name="Lars Boe Riber" userId="a0746655-6c86-46e8-9fa0-3fdc9fc77da6" providerId="ADAL" clId="{4E480DD1-6EB6-40E9-AA5D-F0885641F18B}" dt="2022-11-18T10:27:09.042" v="1762" actId="790"/>
            <ac:spMkLst>
              <pc:docMk/>
              <pc:sldMasterMk cId="180999990" sldId="2147483648"/>
              <pc:sldLayoutMk cId="2793307938" sldId="2147483671"/>
              <ac:spMk id="4" creationId="{C6047831-B728-45B5-9E64-16620CFD5791}"/>
            </ac:spMkLst>
          </pc:spChg>
          <pc:spChg chg="mod">
            <ac:chgData name="Lars Boe Riber" userId="a0746655-6c86-46e8-9fa0-3fdc9fc77da6" providerId="ADAL" clId="{4E480DD1-6EB6-40E9-AA5D-F0885641F18B}" dt="2022-11-18T10:27:09.043" v="1763" actId="790"/>
            <ac:spMkLst>
              <pc:docMk/>
              <pc:sldMasterMk cId="180999990" sldId="2147483648"/>
              <pc:sldLayoutMk cId="2793307938" sldId="2147483671"/>
              <ac:spMk id="5" creationId="{118EB497-E060-4BFF-B186-5D99D377E55E}"/>
            </ac:spMkLst>
          </pc:spChg>
          <pc:spChg chg="mod">
            <ac:chgData name="Lars Boe Riber" userId="a0746655-6c86-46e8-9fa0-3fdc9fc77da6" providerId="ADAL" clId="{4E480DD1-6EB6-40E9-AA5D-F0885641F18B}" dt="2022-11-18T10:27:09.039" v="1760" actId="790"/>
            <ac:spMkLst>
              <pc:docMk/>
              <pc:sldMasterMk cId="180999990" sldId="2147483648"/>
              <pc:sldLayoutMk cId="2793307938" sldId="2147483671"/>
              <ac:spMk id="7" creationId="{17CE2ECF-AF40-4809-BD16-DFC59D53926E}"/>
            </ac:spMkLst>
          </pc:spChg>
          <pc:spChg chg="mod">
            <ac:chgData name="Lars Boe Riber" userId="a0746655-6c86-46e8-9fa0-3fdc9fc77da6" providerId="ADAL" clId="{4E480DD1-6EB6-40E9-AA5D-F0885641F18B}" dt="2022-11-18T10:27:09.045" v="1765" actId="790"/>
            <ac:spMkLst>
              <pc:docMk/>
              <pc:sldMasterMk cId="180999990" sldId="2147483648"/>
              <pc:sldLayoutMk cId="2793307938" sldId="2147483671"/>
              <ac:spMk id="8" creationId="{66DF8674-639A-429C-8B67-B36876945C93}"/>
            </ac:spMkLst>
          </pc:spChg>
          <pc:spChg chg="mod">
            <ac:chgData name="Lars Boe Riber" userId="a0746655-6c86-46e8-9fa0-3fdc9fc77da6" providerId="ADAL" clId="{4E480DD1-6EB6-40E9-AA5D-F0885641F18B}" dt="2022-11-18T10:27:09.007" v="1738" actId="790"/>
            <ac:spMkLst>
              <pc:docMk/>
              <pc:sldMasterMk cId="180999990" sldId="2147483648"/>
              <pc:sldLayoutMk cId="2793307938" sldId="2147483671"/>
              <ac:spMk id="10" creationId="{5B4101BC-2F6D-4C7D-BAF1-B5E98F520306}"/>
            </ac:spMkLst>
          </pc:spChg>
          <pc:spChg chg="mod">
            <ac:chgData name="Lars Boe Riber" userId="a0746655-6c86-46e8-9fa0-3fdc9fc77da6" providerId="ADAL" clId="{4E480DD1-6EB6-40E9-AA5D-F0885641F18B}" dt="2022-11-18T10:27:09.047" v="1767" actId="790"/>
            <ac:spMkLst>
              <pc:docMk/>
              <pc:sldMasterMk cId="180999990" sldId="2147483648"/>
              <pc:sldLayoutMk cId="2793307938" sldId="2147483671"/>
              <ac:spMk id="12" creationId="{25BA861B-AC5B-40E5-BBC1-791F84A5A56F}"/>
            </ac:spMkLst>
          </pc:spChg>
        </pc:sldLayoutChg>
        <pc:sldLayoutChg chg="modSp mod">
          <pc:chgData name="Lars Boe Riber" userId="a0746655-6c86-46e8-9fa0-3fdc9fc77da6" providerId="ADAL" clId="{4E480DD1-6EB6-40E9-AA5D-F0885641F18B}" dt="2022-11-18T10:27:09.087" v="1795" actId="790"/>
          <pc:sldLayoutMkLst>
            <pc:docMk/>
            <pc:sldMasterMk cId="180999990" sldId="2147483648"/>
            <pc:sldLayoutMk cId="660054192" sldId="2147483672"/>
          </pc:sldLayoutMkLst>
          <pc:spChg chg="mod">
            <ac:chgData name="Lars Boe Riber" userId="a0746655-6c86-46e8-9fa0-3fdc9fc77da6" providerId="ADAL" clId="{4E480DD1-6EB6-40E9-AA5D-F0885641F18B}" dt="2022-11-18T10:27:09.049" v="1770" actId="790"/>
            <ac:spMkLst>
              <pc:docMk/>
              <pc:sldMasterMk cId="180999990" sldId="2147483648"/>
              <pc:sldLayoutMk cId="660054192" sldId="2147483672"/>
              <ac:spMk id="2" creationId="{00000000-0000-0000-0000-000000000000}"/>
            </ac:spMkLst>
          </pc:spChg>
          <pc:spChg chg="mod">
            <ac:chgData name="Lars Boe Riber" userId="a0746655-6c86-46e8-9fa0-3fdc9fc77da6" providerId="ADAL" clId="{4E480DD1-6EB6-40E9-AA5D-F0885641F18B}" dt="2022-11-18T10:27:09.066" v="1780" actId="790"/>
            <ac:spMkLst>
              <pc:docMk/>
              <pc:sldMasterMk cId="180999990" sldId="2147483648"/>
              <pc:sldLayoutMk cId="660054192" sldId="2147483672"/>
              <ac:spMk id="3" creationId="{00000000-0000-0000-0000-000000000000}"/>
            </ac:spMkLst>
          </pc:spChg>
          <pc:spChg chg="mod">
            <ac:chgData name="Lars Boe Riber" userId="a0746655-6c86-46e8-9fa0-3fdc9fc77da6" providerId="ADAL" clId="{4E480DD1-6EB6-40E9-AA5D-F0885641F18B}" dt="2022-11-18T10:27:09.084" v="1792" actId="790"/>
            <ac:spMkLst>
              <pc:docMk/>
              <pc:sldMasterMk cId="180999990" sldId="2147483648"/>
              <pc:sldLayoutMk cId="660054192" sldId="2147483672"/>
              <ac:spMk id="4" creationId="{E5BF0EDC-1BA0-46A5-AFF6-FF8FC3548247}"/>
            </ac:spMkLst>
          </pc:spChg>
          <pc:spChg chg="mod">
            <ac:chgData name="Lars Boe Riber" userId="a0746655-6c86-46e8-9fa0-3fdc9fc77da6" providerId="ADAL" clId="{4E480DD1-6EB6-40E9-AA5D-F0885641F18B}" dt="2022-11-18T10:27:09.085" v="1793" actId="790"/>
            <ac:spMkLst>
              <pc:docMk/>
              <pc:sldMasterMk cId="180999990" sldId="2147483648"/>
              <pc:sldLayoutMk cId="660054192" sldId="2147483672"/>
              <ac:spMk id="5" creationId="{FCBB3993-746A-4812-B604-1CB12E7AB3CD}"/>
            </ac:spMkLst>
          </pc:spChg>
          <pc:spChg chg="mod">
            <ac:chgData name="Lars Boe Riber" userId="a0746655-6c86-46e8-9fa0-3fdc9fc77da6" providerId="ADAL" clId="{4E480DD1-6EB6-40E9-AA5D-F0885641F18B}" dt="2022-11-18T10:27:09.082" v="1790" actId="790"/>
            <ac:spMkLst>
              <pc:docMk/>
              <pc:sldMasterMk cId="180999990" sldId="2147483648"/>
              <pc:sldLayoutMk cId="660054192" sldId="2147483672"/>
              <ac:spMk id="7" creationId="{17CE2ECF-AF40-4809-BD16-DFC59D53926E}"/>
            </ac:spMkLst>
          </pc:spChg>
          <pc:spChg chg="mod">
            <ac:chgData name="Lars Boe Riber" userId="a0746655-6c86-46e8-9fa0-3fdc9fc77da6" providerId="ADAL" clId="{4E480DD1-6EB6-40E9-AA5D-F0885641F18B}" dt="2022-11-18T10:27:09.087" v="1795" actId="790"/>
            <ac:spMkLst>
              <pc:docMk/>
              <pc:sldMasterMk cId="180999990" sldId="2147483648"/>
              <pc:sldLayoutMk cId="660054192" sldId="2147483672"/>
              <ac:spMk id="8" creationId="{31446710-E8D4-486F-90DE-EC9771FBA22F}"/>
            </ac:spMkLst>
          </pc:spChg>
          <pc:spChg chg="mod">
            <ac:chgData name="Lars Boe Riber" userId="a0746655-6c86-46e8-9fa0-3fdc9fc77da6" providerId="ADAL" clId="{4E480DD1-6EB6-40E9-AA5D-F0885641F18B}" dt="2022-11-18T10:27:09.048" v="1768" actId="790"/>
            <ac:spMkLst>
              <pc:docMk/>
              <pc:sldMasterMk cId="180999990" sldId="2147483648"/>
              <pc:sldLayoutMk cId="660054192" sldId="2147483672"/>
              <ac:spMk id="10" creationId="{5B4101BC-2F6D-4C7D-BAF1-B5E98F520306}"/>
            </ac:spMkLst>
          </pc:spChg>
        </pc:sldLayoutChg>
        <pc:sldLayoutChg chg="modSp mod">
          <pc:chgData name="Lars Boe Riber" userId="a0746655-6c86-46e8-9fa0-3fdc9fc77da6" providerId="ADAL" clId="{4E480DD1-6EB6-40E9-AA5D-F0885641F18B}" dt="2022-11-18T10:27:09.136" v="1833" actId="790"/>
          <pc:sldLayoutMkLst>
            <pc:docMk/>
            <pc:sldMasterMk cId="180999990" sldId="2147483648"/>
            <pc:sldLayoutMk cId="4166862169" sldId="2147483673"/>
          </pc:sldLayoutMkLst>
          <pc:spChg chg="mod">
            <ac:chgData name="Lars Boe Riber" userId="a0746655-6c86-46e8-9fa0-3fdc9fc77da6" providerId="ADAL" clId="{4E480DD1-6EB6-40E9-AA5D-F0885641F18B}" dt="2022-11-18T10:27:09.090" v="1798" actId="790"/>
            <ac:spMkLst>
              <pc:docMk/>
              <pc:sldMasterMk cId="180999990" sldId="2147483648"/>
              <pc:sldLayoutMk cId="4166862169" sldId="2147483673"/>
              <ac:spMk id="2" creationId="{00000000-0000-0000-0000-000000000000}"/>
            </ac:spMkLst>
          </pc:spChg>
          <pc:spChg chg="mod">
            <ac:chgData name="Lars Boe Riber" userId="a0746655-6c86-46e8-9fa0-3fdc9fc77da6" providerId="ADAL" clId="{4E480DD1-6EB6-40E9-AA5D-F0885641F18B}" dt="2022-11-18T10:27:09.105" v="1808" actId="790"/>
            <ac:spMkLst>
              <pc:docMk/>
              <pc:sldMasterMk cId="180999990" sldId="2147483648"/>
              <pc:sldLayoutMk cId="4166862169" sldId="2147483673"/>
              <ac:spMk id="3" creationId="{00000000-0000-0000-0000-000000000000}"/>
            </ac:spMkLst>
          </pc:spChg>
          <pc:spChg chg="mod">
            <ac:chgData name="Lars Boe Riber" userId="a0746655-6c86-46e8-9fa0-3fdc9fc77da6" providerId="ADAL" clId="{4E480DD1-6EB6-40E9-AA5D-F0885641F18B}" dt="2022-11-18T10:27:09.121" v="1820" actId="790"/>
            <ac:spMkLst>
              <pc:docMk/>
              <pc:sldMasterMk cId="180999990" sldId="2147483648"/>
              <pc:sldLayoutMk cId="4166862169" sldId="2147483673"/>
              <ac:spMk id="4" creationId="{E5BF0EDC-1BA0-46A5-AFF6-FF8FC3548247}"/>
            </ac:spMkLst>
          </pc:spChg>
          <pc:spChg chg="mod">
            <ac:chgData name="Lars Boe Riber" userId="a0746655-6c86-46e8-9fa0-3fdc9fc77da6" providerId="ADAL" clId="{4E480DD1-6EB6-40E9-AA5D-F0885641F18B}" dt="2022-11-18T10:27:09.122" v="1821" actId="790"/>
            <ac:spMkLst>
              <pc:docMk/>
              <pc:sldMasterMk cId="180999990" sldId="2147483648"/>
              <pc:sldLayoutMk cId="4166862169" sldId="2147483673"/>
              <ac:spMk id="5" creationId="{FCBB3993-746A-4812-B604-1CB12E7AB3CD}"/>
            </ac:spMkLst>
          </pc:spChg>
          <pc:spChg chg="mod">
            <ac:chgData name="Lars Boe Riber" userId="a0746655-6c86-46e8-9fa0-3fdc9fc77da6" providerId="ADAL" clId="{4E480DD1-6EB6-40E9-AA5D-F0885641F18B}" dt="2022-11-18T10:27:09.119" v="1818" actId="790"/>
            <ac:spMkLst>
              <pc:docMk/>
              <pc:sldMasterMk cId="180999990" sldId="2147483648"/>
              <pc:sldLayoutMk cId="4166862169" sldId="2147483673"/>
              <ac:spMk id="7" creationId="{17CE2ECF-AF40-4809-BD16-DFC59D53926E}"/>
            </ac:spMkLst>
          </pc:spChg>
          <pc:spChg chg="mod">
            <ac:chgData name="Lars Boe Riber" userId="a0746655-6c86-46e8-9fa0-3fdc9fc77da6" providerId="ADAL" clId="{4E480DD1-6EB6-40E9-AA5D-F0885641F18B}" dt="2022-11-18T10:27:09.124" v="1823" actId="790"/>
            <ac:spMkLst>
              <pc:docMk/>
              <pc:sldMasterMk cId="180999990" sldId="2147483648"/>
              <pc:sldLayoutMk cId="4166862169" sldId="2147483673"/>
              <ac:spMk id="8" creationId="{31446710-E8D4-486F-90DE-EC9771FBA22F}"/>
            </ac:spMkLst>
          </pc:spChg>
          <pc:spChg chg="mod">
            <ac:chgData name="Lars Boe Riber" userId="a0746655-6c86-46e8-9fa0-3fdc9fc77da6" providerId="ADAL" clId="{4E480DD1-6EB6-40E9-AA5D-F0885641F18B}" dt="2022-11-18T10:27:09.136" v="1833" actId="790"/>
            <ac:spMkLst>
              <pc:docMk/>
              <pc:sldMasterMk cId="180999990" sldId="2147483648"/>
              <pc:sldLayoutMk cId="4166862169" sldId="2147483673"/>
              <ac:spMk id="9" creationId="{DB50B2CC-7292-40E5-983B-8C9FE3719D3D}"/>
            </ac:spMkLst>
          </pc:spChg>
          <pc:spChg chg="mod">
            <ac:chgData name="Lars Boe Riber" userId="a0746655-6c86-46e8-9fa0-3fdc9fc77da6" providerId="ADAL" clId="{4E480DD1-6EB6-40E9-AA5D-F0885641F18B}" dt="2022-11-18T10:27:09.088" v="1796" actId="790"/>
            <ac:spMkLst>
              <pc:docMk/>
              <pc:sldMasterMk cId="180999990" sldId="2147483648"/>
              <pc:sldLayoutMk cId="4166862169" sldId="2147483673"/>
              <ac:spMk id="10" creationId="{5B4101BC-2F6D-4C7D-BAF1-B5E98F520306}"/>
            </ac:spMkLst>
          </pc:spChg>
        </pc:sldLayoutChg>
        <pc:sldLayoutChg chg="modSp mod">
          <pc:chgData name="Lars Boe Riber" userId="a0746655-6c86-46e8-9fa0-3fdc9fc77da6" providerId="ADAL" clId="{4E480DD1-6EB6-40E9-AA5D-F0885641F18B}" dt="2022-11-18T10:27:09.174" v="1861" actId="790"/>
          <pc:sldLayoutMkLst>
            <pc:docMk/>
            <pc:sldMasterMk cId="180999990" sldId="2147483648"/>
            <pc:sldLayoutMk cId="2474620005" sldId="2147483674"/>
          </pc:sldLayoutMkLst>
          <pc:spChg chg="mod">
            <ac:chgData name="Lars Boe Riber" userId="a0746655-6c86-46e8-9fa0-3fdc9fc77da6" providerId="ADAL" clId="{4E480DD1-6EB6-40E9-AA5D-F0885641F18B}" dt="2022-11-18T10:27:09.139" v="1836" actId="790"/>
            <ac:spMkLst>
              <pc:docMk/>
              <pc:sldMasterMk cId="180999990" sldId="2147483648"/>
              <pc:sldLayoutMk cId="2474620005" sldId="2147483674"/>
              <ac:spMk id="2" creationId="{00000000-0000-0000-0000-000000000000}"/>
            </ac:spMkLst>
          </pc:spChg>
          <pc:spChg chg="mod">
            <ac:chgData name="Lars Boe Riber" userId="a0746655-6c86-46e8-9fa0-3fdc9fc77da6" providerId="ADAL" clId="{4E480DD1-6EB6-40E9-AA5D-F0885641F18B}" dt="2022-11-18T10:27:09.156" v="1848" actId="790"/>
            <ac:spMkLst>
              <pc:docMk/>
              <pc:sldMasterMk cId="180999990" sldId="2147483648"/>
              <pc:sldLayoutMk cId="2474620005" sldId="2147483674"/>
              <ac:spMk id="4" creationId="{E5BF0EDC-1BA0-46A5-AFF6-FF8FC3548247}"/>
            </ac:spMkLst>
          </pc:spChg>
          <pc:spChg chg="mod">
            <ac:chgData name="Lars Boe Riber" userId="a0746655-6c86-46e8-9fa0-3fdc9fc77da6" providerId="ADAL" clId="{4E480DD1-6EB6-40E9-AA5D-F0885641F18B}" dt="2022-11-18T10:27:09.157" v="1849" actId="790"/>
            <ac:spMkLst>
              <pc:docMk/>
              <pc:sldMasterMk cId="180999990" sldId="2147483648"/>
              <pc:sldLayoutMk cId="2474620005" sldId="2147483674"/>
              <ac:spMk id="5" creationId="{FCBB3993-746A-4812-B604-1CB12E7AB3CD}"/>
            </ac:spMkLst>
          </pc:spChg>
          <pc:spChg chg="mod">
            <ac:chgData name="Lars Boe Riber" userId="a0746655-6c86-46e8-9fa0-3fdc9fc77da6" providerId="ADAL" clId="{4E480DD1-6EB6-40E9-AA5D-F0885641F18B}" dt="2022-11-18T10:27:09.153" v="1846" actId="790"/>
            <ac:spMkLst>
              <pc:docMk/>
              <pc:sldMasterMk cId="180999990" sldId="2147483648"/>
              <pc:sldLayoutMk cId="2474620005" sldId="2147483674"/>
              <ac:spMk id="7" creationId="{17CE2ECF-AF40-4809-BD16-DFC59D53926E}"/>
            </ac:spMkLst>
          </pc:spChg>
          <pc:spChg chg="mod">
            <ac:chgData name="Lars Boe Riber" userId="a0746655-6c86-46e8-9fa0-3fdc9fc77da6" providerId="ADAL" clId="{4E480DD1-6EB6-40E9-AA5D-F0885641F18B}" dt="2022-11-18T10:27:09.160" v="1851" actId="790"/>
            <ac:spMkLst>
              <pc:docMk/>
              <pc:sldMasterMk cId="180999990" sldId="2147483648"/>
              <pc:sldLayoutMk cId="2474620005" sldId="2147483674"/>
              <ac:spMk id="8" creationId="{31446710-E8D4-486F-90DE-EC9771FBA22F}"/>
            </ac:spMkLst>
          </pc:spChg>
          <pc:spChg chg="mod">
            <ac:chgData name="Lars Boe Riber" userId="a0746655-6c86-46e8-9fa0-3fdc9fc77da6" providerId="ADAL" clId="{4E480DD1-6EB6-40E9-AA5D-F0885641F18B}" dt="2022-11-18T10:27:09.174" v="1861" actId="790"/>
            <ac:spMkLst>
              <pc:docMk/>
              <pc:sldMasterMk cId="180999990" sldId="2147483648"/>
              <pc:sldLayoutMk cId="2474620005" sldId="2147483674"/>
              <ac:spMk id="9" creationId="{B44C8BD0-DD5C-4489-9629-555B91865A6E}"/>
            </ac:spMkLst>
          </pc:spChg>
          <pc:spChg chg="mod">
            <ac:chgData name="Lars Boe Riber" userId="a0746655-6c86-46e8-9fa0-3fdc9fc77da6" providerId="ADAL" clId="{4E480DD1-6EB6-40E9-AA5D-F0885641F18B}" dt="2022-11-18T10:27:09.137" v="1834" actId="790"/>
            <ac:spMkLst>
              <pc:docMk/>
              <pc:sldMasterMk cId="180999990" sldId="2147483648"/>
              <pc:sldLayoutMk cId="2474620005" sldId="2147483674"/>
              <ac:spMk id="10" creationId="{5B4101BC-2F6D-4C7D-BAF1-B5E98F520306}"/>
            </ac:spMkLst>
          </pc:spChg>
        </pc:sldLayoutChg>
        <pc:sldLayoutChg chg="modSp mod">
          <pc:chgData name="Lars Boe Riber" userId="a0746655-6c86-46e8-9fa0-3fdc9fc77da6" providerId="ADAL" clId="{4E480DD1-6EB6-40E9-AA5D-F0885641F18B}" dt="2022-11-18T10:27:09.222" v="1899" actId="790"/>
          <pc:sldLayoutMkLst>
            <pc:docMk/>
            <pc:sldMasterMk cId="180999990" sldId="2147483648"/>
            <pc:sldLayoutMk cId="3354830644" sldId="2147483675"/>
          </pc:sldLayoutMkLst>
          <pc:spChg chg="mod">
            <ac:chgData name="Lars Boe Riber" userId="a0746655-6c86-46e8-9fa0-3fdc9fc77da6" providerId="ADAL" clId="{4E480DD1-6EB6-40E9-AA5D-F0885641F18B}" dt="2022-11-18T10:27:09.176" v="1864" actId="790"/>
            <ac:spMkLst>
              <pc:docMk/>
              <pc:sldMasterMk cId="180999990" sldId="2147483648"/>
              <pc:sldLayoutMk cId="3354830644" sldId="2147483675"/>
              <ac:spMk id="2" creationId="{00000000-0000-0000-0000-000000000000}"/>
            </ac:spMkLst>
          </pc:spChg>
          <pc:spChg chg="mod">
            <ac:chgData name="Lars Boe Riber" userId="a0746655-6c86-46e8-9fa0-3fdc9fc77da6" providerId="ADAL" clId="{4E480DD1-6EB6-40E9-AA5D-F0885641F18B}" dt="2022-11-18T10:27:09.189" v="1874" actId="790"/>
            <ac:spMkLst>
              <pc:docMk/>
              <pc:sldMasterMk cId="180999990" sldId="2147483648"/>
              <pc:sldLayoutMk cId="3354830644" sldId="2147483675"/>
              <ac:spMk id="3" creationId="{00000000-0000-0000-0000-000000000000}"/>
            </ac:spMkLst>
          </pc:spChg>
          <pc:spChg chg="mod">
            <ac:chgData name="Lars Boe Riber" userId="a0746655-6c86-46e8-9fa0-3fdc9fc77da6" providerId="ADAL" clId="{4E480DD1-6EB6-40E9-AA5D-F0885641F18B}" dt="2022-11-18T10:27:09.206" v="1886" actId="790"/>
            <ac:spMkLst>
              <pc:docMk/>
              <pc:sldMasterMk cId="180999990" sldId="2147483648"/>
              <pc:sldLayoutMk cId="3354830644" sldId="2147483675"/>
              <ac:spMk id="4" creationId="{E5BF0EDC-1BA0-46A5-AFF6-FF8FC3548247}"/>
            </ac:spMkLst>
          </pc:spChg>
          <pc:spChg chg="mod">
            <ac:chgData name="Lars Boe Riber" userId="a0746655-6c86-46e8-9fa0-3fdc9fc77da6" providerId="ADAL" clId="{4E480DD1-6EB6-40E9-AA5D-F0885641F18B}" dt="2022-11-18T10:27:09.207" v="1887" actId="790"/>
            <ac:spMkLst>
              <pc:docMk/>
              <pc:sldMasterMk cId="180999990" sldId="2147483648"/>
              <pc:sldLayoutMk cId="3354830644" sldId="2147483675"/>
              <ac:spMk id="5" creationId="{FCBB3993-746A-4812-B604-1CB12E7AB3CD}"/>
            </ac:spMkLst>
          </pc:spChg>
          <pc:spChg chg="mod">
            <ac:chgData name="Lars Boe Riber" userId="a0746655-6c86-46e8-9fa0-3fdc9fc77da6" providerId="ADAL" clId="{4E480DD1-6EB6-40E9-AA5D-F0885641F18B}" dt="2022-11-18T10:27:09.204" v="1884" actId="790"/>
            <ac:spMkLst>
              <pc:docMk/>
              <pc:sldMasterMk cId="180999990" sldId="2147483648"/>
              <pc:sldLayoutMk cId="3354830644" sldId="2147483675"/>
              <ac:spMk id="7" creationId="{17CE2ECF-AF40-4809-BD16-DFC59D53926E}"/>
            </ac:spMkLst>
          </pc:spChg>
          <pc:spChg chg="mod">
            <ac:chgData name="Lars Boe Riber" userId="a0746655-6c86-46e8-9fa0-3fdc9fc77da6" providerId="ADAL" clId="{4E480DD1-6EB6-40E9-AA5D-F0885641F18B}" dt="2022-11-18T10:27:09.209" v="1889" actId="790"/>
            <ac:spMkLst>
              <pc:docMk/>
              <pc:sldMasterMk cId="180999990" sldId="2147483648"/>
              <pc:sldLayoutMk cId="3354830644" sldId="2147483675"/>
              <ac:spMk id="8" creationId="{31446710-E8D4-486F-90DE-EC9771FBA22F}"/>
            </ac:spMkLst>
          </pc:spChg>
          <pc:spChg chg="mod">
            <ac:chgData name="Lars Boe Riber" userId="a0746655-6c86-46e8-9fa0-3fdc9fc77da6" providerId="ADAL" clId="{4E480DD1-6EB6-40E9-AA5D-F0885641F18B}" dt="2022-11-18T10:27:09.222" v="1899" actId="790"/>
            <ac:spMkLst>
              <pc:docMk/>
              <pc:sldMasterMk cId="180999990" sldId="2147483648"/>
              <pc:sldLayoutMk cId="3354830644" sldId="2147483675"/>
              <ac:spMk id="9" creationId="{DEF9E6FF-7726-40A8-94EA-A29CB944A473}"/>
            </ac:spMkLst>
          </pc:spChg>
          <pc:spChg chg="mod">
            <ac:chgData name="Lars Boe Riber" userId="a0746655-6c86-46e8-9fa0-3fdc9fc77da6" providerId="ADAL" clId="{4E480DD1-6EB6-40E9-AA5D-F0885641F18B}" dt="2022-11-18T10:27:09.174" v="1862" actId="790"/>
            <ac:spMkLst>
              <pc:docMk/>
              <pc:sldMasterMk cId="180999990" sldId="2147483648"/>
              <pc:sldLayoutMk cId="3354830644" sldId="2147483675"/>
              <ac:spMk id="10" creationId="{5B4101BC-2F6D-4C7D-BAF1-B5E98F520306}"/>
            </ac:spMkLst>
          </pc:spChg>
        </pc:sldLayoutChg>
        <pc:sldLayoutChg chg="modSp mod">
          <pc:chgData name="Lars Boe Riber" userId="a0746655-6c86-46e8-9fa0-3fdc9fc77da6" providerId="ADAL" clId="{4E480DD1-6EB6-40E9-AA5D-F0885641F18B}" dt="2022-11-18T10:27:09.242" v="1918" actId="790"/>
          <pc:sldLayoutMkLst>
            <pc:docMk/>
            <pc:sldMasterMk cId="180999990" sldId="2147483648"/>
            <pc:sldLayoutMk cId="1845920254" sldId="2147483676"/>
          </pc:sldLayoutMkLst>
          <pc:spChg chg="mod">
            <ac:chgData name="Lars Boe Riber" userId="a0746655-6c86-46e8-9fa0-3fdc9fc77da6" providerId="ADAL" clId="{4E480DD1-6EB6-40E9-AA5D-F0885641F18B}" dt="2022-11-18T10:27:09.227" v="1905" actId="790"/>
            <ac:spMkLst>
              <pc:docMk/>
              <pc:sldMasterMk cId="180999990" sldId="2147483648"/>
              <pc:sldLayoutMk cId="1845920254" sldId="2147483676"/>
              <ac:spMk id="2" creationId="{00000000-0000-0000-0000-000000000000}"/>
            </ac:spMkLst>
          </pc:spChg>
          <pc:spChg chg="mod">
            <ac:chgData name="Lars Boe Riber" userId="a0746655-6c86-46e8-9fa0-3fdc9fc77da6" providerId="ADAL" clId="{4E480DD1-6EB6-40E9-AA5D-F0885641F18B}" dt="2022-11-18T10:27:09.240" v="1915" actId="790"/>
            <ac:spMkLst>
              <pc:docMk/>
              <pc:sldMasterMk cId="180999990" sldId="2147483648"/>
              <pc:sldLayoutMk cId="1845920254" sldId="2147483676"/>
              <ac:spMk id="3" creationId="{00000000-0000-0000-0000-000000000000}"/>
            </ac:spMkLst>
          </pc:spChg>
          <pc:spChg chg="mod">
            <ac:chgData name="Lars Boe Riber" userId="a0746655-6c86-46e8-9fa0-3fdc9fc77da6" providerId="ADAL" clId="{4E480DD1-6EB6-40E9-AA5D-F0885641F18B}" dt="2022-11-18T10:27:09.242" v="1918" actId="790"/>
            <ac:spMkLst>
              <pc:docMk/>
              <pc:sldMasterMk cId="180999990" sldId="2147483648"/>
              <pc:sldLayoutMk cId="1845920254" sldId="2147483676"/>
              <ac:spMk id="5" creationId="{FCBB3993-746A-4812-B604-1CB12E7AB3CD}"/>
            </ac:spMkLst>
          </pc:spChg>
          <pc:spChg chg="mod">
            <ac:chgData name="Lars Boe Riber" userId="a0746655-6c86-46e8-9fa0-3fdc9fc77da6" providerId="ADAL" clId="{4E480DD1-6EB6-40E9-AA5D-F0885641F18B}" dt="2022-11-18T10:27:09.224" v="1901" actId="790"/>
            <ac:spMkLst>
              <pc:docMk/>
              <pc:sldMasterMk cId="180999990" sldId="2147483648"/>
              <pc:sldLayoutMk cId="1845920254" sldId="2147483676"/>
              <ac:spMk id="9" creationId="{756EBC4B-94DD-497B-89B0-BFABB76B7F8D}"/>
            </ac:spMkLst>
          </pc:spChg>
          <pc:spChg chg="mod">
            <ac:chgData name="Lars Boe Riber" userId="a0746655-6c86-46e8-9fa0-3fdc9fc77da6" providerId="ADAL" clId="{4E480DD1-6EB6-40E9-AA5D-F0885641F18B}" dt="2022-11-18T10:27:09.226" v="1903" actId="790"/>
            <ac:spMkLst>
              <pc:docMk/>
              <pc:sldMasterMk cId="180999990" sldId="2147483648"/>
              <pc:sldLayoutMk cId="1845920254" sldId="2147483676"/>
              <ac:spMk id="10" creationId="{278ED99F-3EB8-45AB-B54D-DDBD71FB0691}"/>
            </ac:spMkLst>
          </pc:spChg>
          <pc:spChg chg="mod">
            <ac:chgData name="Lars Boe Riber" userId="a0746655-6c86-46e8-9fa0-3fdc9fc77da6" providerId="ADAL" clId="{4E480DD1-6EB6-40E9-AA5D-F0885641F18B}" dt="2022-11-18T10:27:09.242" v="1917" actId="790"/>
            <ac:spMkLst>
              <pc:docMk/>
              <pc:sldMasterMk cId="180999990" sldId="2147483648"/>
              <pc:sldLayoutMk cId="1845920254" sldId="2147483676"/>
              <ac:spMk id="11" creationId="{FC42D2E8-535A-4E76-941E-2AB83D872ABF}"/>
            </ac:spMkLst>
          </pc:spChg>
        </pc:sldLayoutChg>
        <pc:sldLayoutChg chg="modSp mod">
          <pc:chgData name="Lars Boe Riber" userId="a0746655-6c86-46e8-9fa0-3fdc9fc77da6" providerId="ADAL" clId="{4E480DD1-6EB6-40E9-AA5D-F0885641F18B}" dt="2022-11-18T10:27:09.264" v="1937" actId="790"/>
          <pc:sldLayoutMkLst>
            <pc:docMk/>
            <pc:sldMasterMk cId="180999990" sldId="2147483648"/>
            <pc:sldLayoutMk cId="1590505054" sldId="2147483677"/>
          </pc:sldLayoutMkLst>
          <pc:spChg chg="mod">
            <ac:chgData name="Lars Boe Riber" userId="a0746655-6c86-46e8-9fa0-3fdc9fc77da6" providerId="ADAL" clId="{4E480DD1-6EB6-40E9-AA5D-F0885641F18B}" dt="2022-11-18T10:27:09.246" v="1922" actId="790"/>
            <ac:spMkLst>
              <pc:docMk/>
              <pc:sldMasterMk cId="180999990" sldId="2147483648"/>
              <pc:sldLayoutMk cId="1590505054" sldId="2147483677"/>
              <ac:spMk id="2" creationId="{00000000-0000-0000-0000-000000000000}"/>
            </ac:spMkLst>
          </pc:spChg>
          <pc:spChg chg="mod">
            <ac:chgData name="Lars Boe Riber" userId="a0746655-6c86-46e8-9fa0-3fdc9fc77da6" providerId="ADAL" clId="{4E480DD1-6EB6-40E9-AA5D-F0885641F18B}" dt="2022-11-18T10:27:09.259" v="1932" actId="790"/>
            <ac:spMkLst>
              <pc:docMk/>
              <pc:sldMasterMk cId="180999990" sldId="2147483648"/>
              <pc:sldLayoutMk cId="1590505054" sldId="2147483677"/>
              <ac:spMk id="3" creationId="{00000000-0000-0000-0000-000000000000}"/>
            </ac:spMkLst>
          </pc:spChg>
          <pc:spChg chg="mod">
            <ac:chgData name="Lars Boe Riber" userId="a0746655-6c86-46e8-9fa0-3fdc9fc77da6" providerId="ADAL" clId="{4E480DD1-6EB6-40E9-AA5D-F0885641F18B}" dt="2022-11-18T10:27:09.260" v="1934" actId="790"/>
            <ac:spMkLst>
              <pc:docMk/>
              <pc:sldMasterMk cId="180999990" sldId="2147483648"/>
              <pc:sldLayoutMk cId="1590505054" sldId="2147483677"/>
              <ac:spMk id="4" creationId="{C7C7DB29-13FA-4B09-A099-DDC9A23701C3}"/>
            </ac:spMkLst>
          </pc:spChg>
          <pc:spChg chg="mod">
            <ac:chgData name="Lars Boe Riber" userId="a0746655-6c86-46e8-9fa0-3fdc9fc77da6" providerId="ADAL" clId="{4E480DD1-6EB6-40E9-AA5D-F0885641F18B}" dt="2022-11-18T10:27:09.262" v="1935" actId="790"/>
            <ac:spMkLst>
              <pc:docMk/>
              <pc:sldMasterMk cId="180999990" sldId="2147483648"/>
              <pc:sldLayoutMk cId="1590505054" sldId="2147483677"/>
              <ac:spMk id="5" creationId="{41B73E84-2C35-47EE-9E5D-0C16556B1C94}"/>
            </ac:spMkLst>
          </pc:spChg>
          <pc:spChg chg="mod">
            <ac:chgData name="Lars Boe Riber" userId="a0746655-6c86-46e8-9fa0-3fdc9fc77da6" providerId="ADAL" clId="{4E480DD1-6EB6-40E9-AA5D-F0885641F18B}" dt="2022-11-18T10:27:09.264" v="1937" actId="790"/>
            <ac:spMkLst>
              <pc:docMk/>
              <pc:sldMasterMk cId="180999990" sldId="2147483648"/>
              <pc:sldLayoutMk cId="1590505054" sldId="2147483677"/>
              <ac:spMk id="7" creationId="{AA7A470A-F824-4C76-B4D6-585485AA2DEB}"/>
            </ac:spMkLst>
          </pc:spChg>
          <pc:spChg chg="mod">
            <ac:chgData name="Lars Boe Riber" userId="a0746655-6c86-46e8-9fa0-3fdc9fc77da6" providerId="ADAL" clId="{4E480DD1-6EB6-40E9-AA5D-F0885641F18B}" dt="2022-11-18T10:27:09.244" v="1920" actId="790"/>
            <ac:spMkLst>
              <pc:docMk/>
              <pc:sldMasterMk cId="180999990" sldId="2147483648"/>
              <pc:sldLayoutMk cId="1590505054" sldId="2147483677"/>
              <ac:spMk id="13" creationId="{734AB29C-AE28-49BA-8CB9-70E6E1E17389}"/>
            </ac:spMkLst>
          </pc:spChg>
        </pc:sldLayoutChg>
        <pc:sldLayoutChg chg="modSp mod">
          <pc:chgData name="Lars Boe Riber" userId="a0746655-6c86-46e8-9fa0-3fdc9fc77da6" providerId="ADAL" clId="{4E480DD1-6EB6-40E9-AA5D-F0885641F18B}" dt="2022-11-18T10:27:09.287" v="1956" actId="790"/>
          <pc:sldLayoutMkLst>
            <pc:docMk/>
            <pc:sldMasterMk cId="180999990" sldId="2147483648"/>
            <pc:sldLayoutMk cId="2475563379" sldId="2147483678"/>
          </pc:sldLayoutMkLst>
          <pc:spChg chg="mod">
            <ac:chgData name="Lars Boe Riber" userId="a0746655-6c86-46e8-9fa0-3fdc9fc77da6" providerId="ADAL" clId="{4E480DD1-6EB6-40E9-AA5D-F0885641F18B}" dt="2022-11-18T10:27:09.273" v="1945" actId="790"/>
            <ac:spMkLst>
              <pc:docMk/>
              <pc:sldMasterMk cId="180999990" sldId="2147483648"/>
              <pc:sldLayoutMk cId="2475563379" sldId="2147483678"/>
              <ac:spMk id="2" creationId="{00000000-0000-0000-0000-000000000000}"/>
            </ac:spMkLst>
          </pc:spChg>
          <pc:spChg chg="mod">
            <ac:chgData name="Lars Boe Riber" userId="a0746655-6c86-46e8-9fa0-3fdc9fc77da6" providerId="ADAL" clId="{4E480DD1-6EB6-40E9-AA5D-F0885641F18B}" dt="2022-11-18T10:27:09.286" v="1955" actId="790"/>
            <ac:spMkLst>
              <pc:docMk/>
              <pc:sldMasterMk cId="180999990" sldId="2147483648"/>
              <pc:sldLayoutMk cId="2475563379" sldId="2147483678"/>
              <ac:spMk id="3" creationId="{00000000-0000-0000-0000-000000000000}"/>
            </ac:spMkLst>
          </pc:spChg>
          <pc:spChg chg="mod">
            <ac:chgData name="Lars Boe Riber" userId="a0746655-6c86-46e8-9fa0-3fdc9fc77da6" providerId="ADAL" clId="{4E480DD1-6EB6-40E9-AA5D-F0885641F18B}" dt="2022-11-18T10:27:09.267" v="1939" actId="790"/>
            <ac:spMkLst>
              <pc:docMk/>
              <pc:sldMasterMk cId="180999990" sldId="2147483648"/>
              <pc:sldLayoutMk cId="2475563379" sldId="2147483678"/>
              <ac:spMk id="8" creationId="{B362E88C-9EAD-4C11-BE6B-5CB3B41E802B}"/>
            </ac:spMkLst>
          </pc:spChg>
          <pc:spChg chg="mod">
            <ac:chgData name="Lars Boe Riber" userId="a0746655-6c86-46e8-9fa0-3fdc9fc77da6" providerId="ADAL" clId="{4E480DD1-6EB6-40E9-AA5D-F0885641F18B}" dt="2022-11-18T10:27:09.269" v="1941" actId="790"/>
            <ac:spMkLst>
              <pc:docMk/>
              <pc:sldMasterMk cId="180999990" sldId="2147483648"/>
              <pc:sldLayoutMk cId="2475563379" sldId="2147483678"/>
              <ac:spMk id="9" creationId="{42646B51-B8EC-41E6-905C-2EA91C894C8C}"/>
            </ac:spMkLst>
          </pc:spChg>
          <pc:spChg chg="mod">
            <ac:chgData name="Lars Boe Riber" userId="a0746655-6c86-46e8-9fa0-3fdc9fc77da6" providerId="ADAL" clId="{4E480DD1-6EB6-40E9-AA5D-F0885641F18B}" dt="2022-11-18T10:27:09.287" v="1956" actId="790"/>
            <ac:spMkLst>
              <pc:docMk/>
              <pc:sldMasterMk cId="180999990" sldId="2147483648"/>
              <pc:sldLayoutMk cId="2475563379" sldId="2147483678"/>
              <ac:spMk id="11" creationId="{D5FEECF7-4538-440F-96EA-C21501C6A3D6}"/>
            </ac:spMkLst>
          </pc:spChg>
          <pc:spChg chg="mod">
            <ac:chgData name="Lars Boe Riber" userId="a0746655-6c86-46e8-9fa0-3fdc9fc77da6" providerId="ADAL" clId="{4E480DD1-6EB6-40E9-AA5D-F0885641F18B}" dt="2022-11-18T10:27:09.271" v="1943" actId="790"/>
            <ac:spMkLst>
              <pc:docMk/>
              <pc:sldMasterMk cId="180999990" sldId="2147483648"/>
              <pc:sldLayoutMk cId="2475563379" sldId="2147483678"/>
              <ac:spMk id="13" creationId="{734AB29C-AE28-49BA-8CB9-70E6E1E17389}"/>
            </ac:spMkLst>
          </pc:spChg>
        </pc:sldLayoutChg>
        <pc:sldLayoutChg chg="modSp mod">
          <pc:chgData name="Lars Boe Riber" userId="a0746655-6c86-46e8-9fa0-3fdc9fc77da6" providerId="ADAL" clId="{4E480DD1-6EB6-40E9-AA5D-F0885641F18B}" dt="2022-11-18T10:27:09.308" v="1975" actId="790"/>
          <pc:sldLayoutMkLst>
            <pc:docMk/>
            <pc:sldMasterMk cId="180999990" sldId="2147483648"/>
            <pc:sldLayoutMk cId="2368981122" sldId="2147483679"/>
          </pc:sldLayoutMkLst>
          <pc:spChg chg="mod">
            <ac:chgData name="Lars Boe Riber" userId="a0746655-6c86-46e8-9fa0-3fdc9fc77da6" providerId="ADAL" clId="{4E480DD1-6EB6-40E9-AA5D-F0885641F18B}" dt="2022-11-18T10:27:09.290" v="1960" actId="790"/>
            <ac:spMkLst>
              <pc:docMk/>
              <pc:sldMasterMk cId="180999990" sldId="2147483648"/>
              <pc:sldLayoutMk cId="2368981122" sldId="2147483679"/>
              <ac:spMk id="2" creationId="{00000000-0000-0000-0000-000000000000}"/>
            </ac:spMkLst>
          </pc:spChg>
          <pc:spChg chg="mod">
            <ac:chgData name="Lars Boe Riber" userId="a0746655-6c86-46e8-9fa0-3fdc9fc77da6" providerId="ADAL" clId="{4E480DD1-6EB6-40E9-AA5D-F0885641F18B}" dt="2022-11-18T10:27:09.303" v="1970" actId="790"/>
            <ac:spMkLst>
              <pc:docMk/>
              <pc:sldMasterMk cId="180999990" sldId="2147483648"/>
              <pc:sldLayoutMk cId="2368981122" sldId="2147483679"/>
              <ac:spMk id="3" creationId="{00000000-0000-0000-0000-000000000000}"/>
            </ac:spMkLst>
          </pc:spChg>
          <pc:spChg chg="mod">
            <ac:chgData name="Lars Boe Riber" userId="a0746655-6c86-46e8-9fa0-3fdc9fc77da6" providerId="ADAL" clId="{4E480DD1-6EB6-40E9-AA5D-F0885641F18B}" dt="2022-11-18T10:27:09.305" v="1972" actId="790"/>
            <ac:spMkLst>
              <pc:docMk/>
              <pc:sldMasterMk cId="180999990" sldId="2147483648"/>
              <pc:sldLayoutMk cId="2368981122" sldId="2147483679"/>
              <ac:spMk id="4" creationId="{E1954FEB-C389-4653-B226-8CADC584E9A4}"/>
            </ac:spMkLst>
          </pc:spChg>
          <pc:spChg chg="mod">
            <ac:chgData name="Lars Boe Riber" userId="a0746655-6c86-46e8-9fa0-3fdc9fc77da6" providerId="ADAL" clId="{4E480DD1-6EB6-40E9-AA5D-F0885641F18B}" dt="2022-11-18T10:27:09.306" v="1973" actId="790"/>
            <ac:spMkLst>
              <pc:docMk/>
              <pc:sldMasterMk cId="180999990" sldId="2147483648"/>
              <pc:sldLayoutMk cId="2368981122" sldId="2147483679"/>
              <ac:spMk id="5" creationId="{3503BFA0-A0B2-46DF-BB77-1FCE2156E1B8}"/>
            </ac:spMkLst>
          </pc:spChg>
          <pc:spChg chg="mod">
            <ac:chgData name="Lars Boe Riber" userId="a0746655-6c86-46e8-9fa0-3fdc9fc77da6" providerId="ADAL" clId="{4E480DD1-6EB6-40E9-AA5D-F0885641F18B}" dt="2022-11-18T10:27:09.308" v="1975" actId="790"/>
            <ac:spMkLst>
              <pc:docMk/>
              <pc:sldMasterMk cId="180999990" sldId="2147483648"/>
              <pc:sldLayoutMk cId="2368981122" sldId="2147483679"/>
              <ac:spMk id="7" creationId="{34752393-FFA4-4674-9424-10C04085B846}"/>
            </ac:spMkLst>
          </pc:spChg>
          <pc:spChg chg="mod">
            <ac:chgData name="Lars Boe Riber" userId="a0746655-6c86-46e8-9fa0-3fdc9fc77da6" providerId="ADAL" clId="{4E480DD1-6EB6-40E9-AA5D-F0885641F18B}" dt="2022-11-18T10:27:09.288" v="1958" actId="790"/>
            <ac:spMkLst>
              <pc:docMk/>
              <pc:sldMasterMk cId="180999990" sldId="2147483648"/>
              <pc:sldLayoutMk cId="2368981122" sldId="2147483679"/>
              <ac:spMk id="13" creationId="{734AB29C-AE28-49BA-8CB9-70E6E1E17389}"/>
            </ac:spMkLst>
          </pc:spChg>
        </pc:sldLayoutChg>
        <pc:sldLayoutChg chg="modSp mod">
          <pc:chgData name="Lars Boe Riber" userId="a0746655-6c86-46e8-9fa0-3fdc9fc77da6" providerId="ADAL" clId="{4E480DD1-6EB6-40E9-AA5D-F0885641F18B}" dt="2022-11-18T10:27:09.333" v="1997" actId="790"/>
          <pc:sldLayoutMkLst>
            <pc:docMk/>
            <pc:sldMasterMk cId="180999990" sldId="2147483648"/>
            <pc:sldLayoutMk cId="2751567655" sldId="2147483680"/>
          </pc:sldLayoutMkLst>
          <pc:spChg chg="mod">
            <ac:chgData name="Lars Boe Riber" userId="a0746655-6c86-46e8-9fa0-3fdc9fc77da6" providerId="ADAL" clId="{4E480DD1-6EB6-40E9-AA5D-F0885641F18B}" dt="2022-11-18T10:27:09.317" v="1984" actId="790"/>
            <ac:spMkLst>
              <pc:docMk/>
              <pc:sldMasterMk cId="180999990" sldId="2147483648"/>
              <pc:sldLayoutMk cId="2751567655" sldId="2147483680"/>
              <ac:spMk id="2" creationId="{00000000-0000-0000-0000-000000000000}"/>
            </ac:spMkLst>
          </pc:spChg>
          <pc:spChg chg="mod">
            <ac:chgData name="Lars Boe Riber" userId="a0746655-6c86-46e8-9fa0-3fdc9fc77da6" providerId="ADAL" clId="{4E480DD1-6EB6-40E9-AA5D-F0885641F18B}" dt="2022-11-18T10:27:09.330" v="1994" actId="790"/>
            <ac:spMkLst>
              <pc:docMk/>
              <pc:sldMasterMk cId="180999990" sldId="2147483648"/>
              <pc:sldLayoutMk cId="2751567655" sldId="2147483680"/>
              <ac:spMk id="3" creationId="{00000000-0000-0000-0000-000000000000}"/>
            </ac:spMkLst>
          </pc:spChg>
          <pc:spChg chg="mod">
            <ac:chgData name="Lars Boe Riber" userId="a0746655-6c86-46e8-9fa0-3fdc9fc77da6" providerId="ADAL" clId="{4E480DD1-6EB6-40E9-AA5D-F0885641F18B}" dt="2022-11-18T10:27:09.315" v="1982" actId="790"/>
            <ac:spMkLst>
              <pc:docMk/>
              <pc:sldMasterMk cId="180999990" sldId="2147483648"/>
              <pc:sldLayoutMk cId="2751567655" sldId="2147483680"/>
              <ac:spMk id="10" creationId="{46F462CB-49C6-43D4-8FBC-ABA17853FE28}"/>
            </ac:spMkLst>
          </pc:spChg>
          <pc:spChg chg="mod">
            <ac:chgData name="Lars Boe Riber" userId="a0746655-6c86-46e8-9fa0-3fdc9fc77da6" providerId="ADAL" clId="{4E480DD1-6EB6-40E9-AA5D-F0885641F18B}" dt="2022-11-18T10:27:09.331" v="1995" actId="790"/>
            <ac:spMkLst>
              <pc:docMk/>
              <pc:sldMasterMk cId="180999990" sldId="2147483648"/>
              <pc:sldLayoutMk cId="2751567655" sldId="2147483680"/>
              <ac:spMk id="11" creationId="{D5FEECF7-4538-440F-96EA-C21501C6A3D6}"/>
            </ac:spMkLst>
          </pc:spChg>
          <pc:spChg chg="mod">
            <ac:chgData name="Lars Boe Riber" userId="a0746655-6c86-46e8-9fa0-3fdc9fc77da6" providerId="ADAL" clId="{4E480DD1-6EB6-40E9-AA5D-F0885641F18B}" dt="2022-11-18T10:27:09.310" v="1977" actId="790"/>
            <ac:spMkLst>
              <pc:docMk/>
              <pc:sldMasterMk cId="180999990" sldId="2147483648"/>
              <pc:sldLayoutMk cId="2751567655" sldId="2147483680"/>
              <ac:spMk id="13" creationId="{35C0182F-ADAB-42FE-8E3F-6E031EAC242C}"/>
            </ac:spMkLst>
          </pc:spChg>
          <pc:spChg chg="mod">
            <ac:chgData name="Lars Boe Riber" userId="a0746655-6c86-46e8-9fa0-3fdc9fc77da6" providerId="ADAL" clId="{4E480DD1-6EB6-40E9-AA5D-F0885641F18B}" dt="2022-11-18T10:27:09.333" v="1997" actId="790"/>
            <ac:spMkLst>
              <pc:docMk/>
              <pc:sldMasterMk cId="180999990" sldId="2147483648"/>
              <pc:sldLayoutMk cId="2751567655" sldId="2147483680"/>
              <ac:spMk id="14" creationId="{1A0DCCFC-0F80-4FEA-BB6A-651AF6A10A44}"/>
            </ac:spMkLst>
          </pc:spChg>
          <pc:spChg chg="mod">
            <ac:chgData name="Lars Boe Riber" userId="a0746655-6c86-46e8-9fa0-3fdc9fc77da6" providerId="ADAL" clId="{4E480DD1-6EB6-40E9-AA5D-F0885641F18B}" dt="2022-11-18T10:27:09.313" v="1980" actId="790"/>
            <ac:spMkLst>
              <pc:docMk/>
              <pc:sldMasterMk cId="180999990" sldId="2147483648"/>
              <pc:sldLayoutMk cId="2751567655" sldId="2147483680"/>
              <ac:spMk id="15" creationId="{CFA65BDB-B1EC-4EF2-BD12-F97D9D8E2041}"/>
            </ac:spMkLst>
          </pc:spChg>
          <pc:spChg chg="mod">
            <ac:chgData name="Lars Boe Riber" userId="a0746655-6c86-46e8-9fa0-3fdc9fc77da6" providerId="ADAL" clId="{4E480DD1-6EB6-40E9-AA5D-F0885641F18B}" dt="2022-11-18T10:27:09.312" v="1979" actId="790"/>
            <ac:spMkLst>
              <pc:docMk/>
              <pc:sldMasterMk cId="180999990" sldId="2147483648"/>
              <pc:sldLayoutMk cId="2751567655" sldId="2147483680"/>
              <ac:spMk id="16" creationId="{1B428ADB-22C2-4C2B-9198-91AE2BA16AFC}"/>
            </ac:spMkLst>
          </pc:spChg>
        </pc:sldLayoutChg>
        <pc:sldLayoutChg chg="modSp mod">
          <pc:chgData name="Lars Boe Riber" userId="a0746655-6c86-46e8-9fa0-3fdc9fc77da6" providerId="ADAL" clId="{4E480DD1-6EB6-40E9-AA5D-F0885641F18B}" dt="2022-11-18T10:27:09.359" v="2017" actId="790"/>
          <pc:sldLayoutMkLst>
            <pc:docMk/>
            <pc:sldMasterMk cId="180999990" sldId="2147483648"/>
            <pc:sldLayoutMk cId="4097920717" sldId="2147483681"/>
          </pc:sldLayoutMkLst>
          <pc:spChg chg="mod">
            <ac:chgData name="Lars Boe Riber" userId="a0746655-6c86-46e8-9fa0-3fdc9fc77da6" providerId="ADAL" clId="{4E480DD1-6EB6-40E9-AA5D-F0885641F18B}" dt="2022-11-18T10:27:09.339" v="2003" actId="790"/>
            <ac:spMkLst>
              <pc:docMk/>
              <pc:sldMasterMk cId="180999990" sldId="2147483648"/>
              <pc:sldLayoutMk cId="4097920717" sldId="2147483681"/>
              <ac:spMk id="2" creationId="{00000000-0000-0000-0000-000000000000}"/>
            </ac:spMkLst>
          </pc:spChg>
          <pc:spChg chg="mod">
            <ac:chgData name="Lars Boe Riber" userId="a0746655-6c86-46e8-9fa0-3fdc9fc77da6" providerId="ADAL" clId="{4E480DD1-6EB6-40E9-AA5D-F0885641F18B}" dt="2022-11-18T10:27:09.354" v="2013" actId="790"/>
            <ac:spMkLst>
              <pc:docMk/>
              <pc:sldMasterMk cId="180999990" sldId="2147483648"/>
              <pc:sldLayoutMk cId="4097920717" sldId="2147483681"/>
              <ac:spMk id="3" creationId="{00000000-0000-0000-0000-000000000000}"/>
            </ac:spMkLst>
          </pc:spChg>
          <pc:spChg chg="mod">
            <ac:chgData name="Lars Boe Riber" userId="a0746655-6c86-46e8-9fa0-3fdc9fc77da6" providerId="ADAL" clId="{4E480DD1-6EB6-40E9-AA5D-F0885641F18B}" dt="2022-11-18T10:27:09.357" v="2015" actId="790"/>
            <ac:spMkLst>
              <pc:docMk/>
              <pc:sldMasterMk cId="180999990" sldId="2147483648"/>
              <pc:sldLayoutMk cId="4097920717" sldId="2147483681"/>
              <ac:spMk id="4" creationId="{D7871951-D21A-4AD7-B0ED-D9EDFD6FD215}"/>
            </ac:spMkLst>
          </pc:spChg>
          <pc:spChg chg="mod">
            <ac:chgData name="Lars Boe Riber" userId="a0746655-6c86-46e8-9fa0-3fdc9fc77da6" providerId="ADAL" clId="{4E480DD1-6EB6-40E9-AA5D-F0885641F18B}" dt="2022-11-18T10:27:09.359" v="2017" actId="790"/>
            <ac:spMkLst>
              <pc:docMk/>
              <pc:sldMasterMk cId="180999990" sldId="2147483648"/>
              <pc:sldLayoutMk cId="4097920717" sldId="2147483681"/>
              <ac:spMk id="7" creationId="{0D78F7CD-9DD3-4685-B0A9-7CE0ABF9F107}"/>
            </ac:spMkLst>
          </pc:spChg>
          <pc:spChg chg="mod">
            <ac:chgData name="Lars Boe Riber" userId="a0746655-6c86-46e8-9fa0-3fdc9fc77da6" providerId="ADAL" clId="{4E480DD1-6EB6-40E9-AA5D-F0885641F18B}" dt="2022-11-18T10:27:09.337" v="2000" actId="790"/>
            <ac:spMkLst>
              <pc:docMk/>
              <pc:sldMasterMk cId="180999990" sldId="2147483648"/>
              <pc:sldLayoutMk cId="4097920717" sldId="2147483681"/>
              <ac:spMk id="10" creationId="{46F462CB-49C6-43D4-8FBC-ABA17853FE28}"/>
            </ac:spMkLst>
          </pc:spChg>
          <pc:spChg chg="mod">
            <ac:chgData name="Lars Boe Riber" userId="a0746655-6c86-46e8-9fa0-3fdc9fc77da6" providerId="ADAL" clId="{4E480DD1-6EB6-40E9-AA5D-F0885641F18B}" dt="2022-11-18T10:27:09.335" v="1998" actId="790"/>
            <ac:spMkLst>
              <pc:docMk/>
              <pc:sldMasterMk cId="180999990" sldId="2147483648"/>
              <pc:sldLayoutMk cId="4097920717" sldId="2147483681"/>
              <ac:spMk id="11" creationId="{FEDDE2A4-F6B9-48F4-9D70-713FCBC801A1}"/>
            </ac:spMkLst>
          </pc:spChg>
          <pc:spChg chg="mod">
            <ac:chgData name="Lars Boe Riber" userId="a0746655-6c86-46e8-9fa0-3fdc9fc77da6" providerId="ADAL" clId="{4E480DD1-6EB6-40E9-AA5D-F0885641F18B}" dt="2022-11-18T10:27:09.337" v="2001" actId="790"/>
            <ac:spMkLst>
              <pc:docMk/>
              <pc:sldMasterMk cId="180999990" sldId="2147483648"/>
              <pc:sldLayoutMk cId="4097920717" sldId="2147483681"/>
              <ac:spMk id="15" creationId="{CFA65BDB-B1EC-4EF2-BD12-F97D9D8E2041}"/>
            </ac:spMkLst>
          </pc:spChg>
        </pc:sldLayoutChg>
        <pc:sldLayoutChg chg="modSp mod">
          <pc:chgData name="Lars Boe Riber" userId="a0746655-6c86-46e8-9fa0-3fdc9fc77da6" providerId="ADAL" clId="{4E480DD1-6EB6-40E9-AA5D-F0885641F18B}" dt="2022-11-18T10:27:09.397" v="2047" actId="790"/>
          <pc:sldLayoutMkLst>
            <pc:docMk/>
            <pc:sldMasterMk cId="180999990" sldId="2147483648"/>
            <pc:sldLayoutMk cId="3633085674" sldId="2147483682"/>
          </pc:sldLayoutMkLst>
          <pc:spChg chg="mod">
            <ac:chgData name="Lars Boe Riber" userId="a0746655-6c86-46e8-9fa0-3fdc9fc77da6" providerId="ADAL" clId="{4E480DD1-6EB6-40E9-AA5D-F0885641F18B}" dt="2022-11-18T10:27:09.362" v="2020" actId="790"/>
            <ac:spMkLst>
              <pc:docMk/>
              <pc:sldMasterMk cId="180999990" sldId="2147483648"/>
              <pc:sldLayoutMk cId="3633085674" sldId="2147483682"/>
              <ac:spMk id="2" creationId="{00000000-0000-0000-0000-000000000000}"/>
            </ac:spMkLst>
          </pc:spChg>
          <pc:spChg chg="mod">
            <ac:chgData name="Lars Boe Riber" userId="a0746655-6c86-46e8-9fa0-3fdc9fc77da6" providerId="ADAL" clId="{4E480DD1-6EB6-40E9-AA5D-F0885641F18B}" dt="2022-11-18T10:27:09.378" v="2030" actId="790"/>
            <ac:spMkLst>
              <pc:docMk/>
              <pc:sldMasterMk cId="180999990" sldId="2147483648"/>
              <pc:sldLayoutMk cId="3633085674" sldId="2147483682"/>
              <ac:spMk id="3" creationId="{00000000-0000-0000-0000-000000000000}"/>
            </ac:spMkLst>
          </pc:spChg>
          <pc:spChg chg="mod">
            <ac:chgData name="Lars Boe Riber" userId="a0746655-6c86-46e8-9fa0-3fdc9fc77da6" providerId="ADAL" clId="{4E480DD1-6EB6-40E9-AA5D-F0885641F18B}" dt="2022-11-18T10:27:09.393" v="2042" actId="790"/>
            <ac:spMkLst>
              <pc:docMk/>
              <pc:sldMasterMk cId="180999990" sldId="2147483648"/>
              <pc:sldLayoutMk cId="3633085674" sldId="2147483682"/>
              <ac:spMk id="6" creationId="{0C03372A-7FA0-487B-AC8F-173641FF69F1}"/>
            </ac:spMkLst>
          </pc:spChg>
          <pc:spChg chg="mod">
            <ac:chgData name="Lars Boe Riber" userId="a0746655-6c86-46e8-9fa0-3fdc9fc77da6" providerId="ADAL" clId="{4E480DD1-6EB6-40E9-AA5D-F0885641F18B}" dt="2022-11-18T10:27:09.394" v="2043" actId="790"/>
            <ac:spMkLst>
              <pc:docMk/>
              <pc:sldMasterMk cId="180999990" sldId="2147483648"/>
              <pc:sldLayoutMk cId="3633085674" sldId="2147483682"/>
              <ac:spMk id="11" creationId="{D5FEECF7-4538-440F-96EA-C21501C6A3D6}"/>
            </ac:spMkLst>
          </pc:spChg>
          <pc:spChg chg="mod">
            <ac:chgData name="Lars Boe Riber" userId="a0746655-6c86-46e8-9fa0-3fdc9fc77da6" providerId="ADAL" clId="{4E480DD1-6EB6-40E9-AA5D-F0885641F18B}" dt="2022-11-18T10:27:09.395" v="2045" actId="790"/>
            <ac:spMkLst>
              <pc:docMk/>
              <pc:sldMasterMk cId="180999990" sldId="2147483648"/>
              <pc:sldLayoutMk cId="3633085674" sldId="2147483682"/>
              <ac:spMk id="12" creationId="{804AFF32-2AA2-423E-A356-4B61B59F5954}"/>
            </ac:spMkLst>
          </pc:spChg>
          <pc:spChg chg="mod">
            <ac:chgData name="Lars Boe Riber" userId="a0746655-6c86-46e8-9fa0-3fdc9fc77da6" providerId="ADAL" clId="{4E480DD1-6EB6-40E9-AA5D-F0885641F18B}" dt="2022-11-18T10:27:09.397" v="2047" actId="790"/>
            <ac:spMkLst>
              <pc:docMk/>
              <pc:sldMasterMk cId="180999990" sldId="2147483648"/>
              <pc:sldLayoutMk cId="3633085674" sldId="2147483682"/>
              <ac:spMk id="13" creationId="{54F492D0-8979-441C-B481-C115B7F6449C}"/>
            </ac:spMkLst>
          </pc:spChg>
          <pc:spChg chg="mod">
            <ac:chgData name="Lars Boe Riber" userId="a0746655-6c86-46e8-9fa0-3fdc9fc77da6" providerId="ADAL" clId="{4E480DD1-6EB6-40E9-AA5D-F0885641F18B}" dt="2022-11-18T10:27:09.360" v="2018" actId="790"/>
            <ac:spMkLst>
              <pc:docMk/>
              <pc:sldMasterMk cId="180999990" sldId="2147483648"/>
              <pc:sldLayoutMk cId="3633085674" sldId="2147483682"/>
              <ac:spMk id="15" creationId="{CFA65BDB-B1EC-4EF2-BD12-F97D9D8E2041}"/>
            </ac:spMkLst>
          </pc:spChg>
          <pc:spChg chg="mod">
            <ac:chgData name="Lars Boe Riber" userId="a0746655-6c86-46e8-9fa0-3fdc9fc77da6" providerId="ADAL" clId="{4E480DD1-6EB6-40E9-AA5D-F0885641F18B}" dt="2022-11-18T10:27:09.391" v="2040" actId="790"/>
            <ac:spMkLst>
              <pc:docMk/>
              <pc:sldMasterMk cId="180999990" sldId="2147483648"/>
              <pc:sldLayoutMk cId="3633085674" sldId="2147483682"/>
              <ac:spMk id="16" creationId="{03407EFD-739B-433D-AABC-B74FC5DD6592}"/>
            </ac:spMkLst>
          </pc:spChg>
        </pc:sldLayoutChg>
        <pc:sldLayoutChg chg="modSp mod">
          <pc:chgData name="Lars Boe Riber" userId="a0746655-6c86-46e8-9fa0-3fdc9fc77da6" providerId="ADAL" clId="{4E480DD1-6EB6-40E9-AA5D-F0885641F18B}" dt="2022-11-18T10:27:09.437" v="2077" actId="790"/>
          <pc:sldLayoutMkLst>
            <pc:docMk/>
            <pc:sldMasterMk cId="180999990" sldId="2147483648"/>
            <pc:sldLayoutMk cId="3914093151" sldId="2147483683"/>
          </pc:sldLayoutMkLst>
          <pc:spChg chg="mod">
            <ac:chgData name="Lars Boe Riber" userId="a0746655-6c86-46e8-9fa0-3fdc9fc77da6" providerId="ADAL" clId="{4E480DD1-6EB6-40E9-AA5D-F0885641F18B}" dt="2022-11-18T10:27:09.399" v="2050" actId="790"/>
            <ac:spMkLst>
              <pc:docMk/>
              <pc:sldMasterMk cId="180999990" sldId="2147483648"/>
              <pc:sldLayoutMk cId="3914093151" sldId="2147483683"/>
              <ac:spMk id="2" creationId="{00000000-0000-0000-0000-000000000000}"/>
            </ac:spMkLst>
          </pc:spChg>
          <pc:spChg chg="mod">
            <ac:chgData name="Lars Boe Riber" userId="a0746655-6c86-46e8-9fa0-3fdc9fc77da6" providerId="ADAL" clId="{4E480DD1-6EB6-40E9-AA5D-F0885641F18B}" dt="2022-11-18T10:27:09.413" v="2060" actId="790"/>
            <ac:spMkLst>
              <pc:docMk/>
              <pc:sldMasterMk cId="180999990" sldId="2147483648"/>
              <pc:sldLayoutMk cId="3914093151" sldId="2147483683"/>
              <ac:spMk id="3" creationId="{00000000-0000-0000-0000-000000000000}"/>
            </ac:spMkLst>
          </pc:spChg>
          <pc:spChg chg="mod">
            <ac:chgData name="Lars Boe Riber" userId="a0746655-6c86-46e8-9fa0-3fdc9fc77da6" providerId="ADAL" clId="{4E480DD1-6EB6-40E9-AA5D-F0885641F18B}" dt="2022-11-18T10:27:09.430" v="2072" actId="790"/>
            <ac:spMkLst>
              <pc:docMk/>
              <pc:sldMasterMk cId="180999990" sldId="2147483648"/>
              <pc:sldLayoutMk cId="3914093151" sldId="2147483683"/>
              <ac:spMk id="6" creationId="{64FF4A83-F11D-4BA4-ACA2-28A4736CF962}"/>
            </ac:spMkLst>
          </pc:spChg>
          <pc:spChg chg="mod">
            <ac:chgData name="Lars Boe Riber" userId="a0746655-6c86-46e8-9fa0-3fdc9fc77da6" providerId="ADAL" clId="{4E480DD1-6EB6-40E9-AA5D-F0885641F18B}" dt="2022-11-18T10:27:09.428" v="2070" actId="790"/>
            <ac:spMkLst>
              <pc:docMk/>
              <pc:sldMasterMk cId="180999990" sldId="2147483648"/>
              <pc:sldLayoutMk cId="3914093151" sldId="2147483683"/>
              <ac:spMk id="7" creationId="{17CE2ECF-AF40-4809-BD16-DFC59D53926E}"/>
            </ac:spMkLst>
          </pc:spChg>
          <pc:spChg chg="mod">
            <ac:chgData name="Lars Boe Riber" userId="a0746655-6c86-46e8-9fa0-3fdc9fc77da6" providerId="ADAL" clId="{4E480DD1-6EB6-40E9-AA5D-F0885641F18B}" dt="2022-11-18T10:27:09.431" v="2073" actId="790"/>
            <ac:spMkLst>
              <pc:docMk/>
              <pc:sldMasterMk cId="180999990" sldId="2147483648"/>
              <pc:sldLayoutMk cId="3914093151" sldId="2147483683"/>
              <ac:spMk id="9" creationId="{86FF72C8-12DE-429B-98AC-66256B00C413}"/>
            </ac:spMkLst>
          </pc:spChg>
          <pc:spChg chg="mod">
            <ac:chgData name="Lars Boe Riber" userId="a0746655-6c86-46e8-9fa0-3fdc9fc77da6" providerId="ADAL" clId="{4E480DD1-6EB6-40E9-AA5D-F0885641F18B}" dt="2022-11-18T10:27:09.398" v="2048" actId="790"/>
            <ac:spMkLst>
              <pc:docMk/>
              <pc:sldMasterMk cId="180999990" sldId="2147483648"/>
              <pc:sldLayoutMk cId="3914093151" sldId="2147483683"/>
              <ac:spMk id="10" creationId="{5B4101BC-2F6D-4C7D-BAF1-B5E98F520306}"/>
            </ac:spMkLst>
          </pc:spChg>
          <pc:spChg chg="mod">
            <ac:chgData name="Lars Boe Riber" userId="a0746655-6c86-46e8-9fa0-3fdc9fc77da6" providerId="ADAL" clId="{4E480DD1-6EB6-40E9-AA5D-F0885641F18B}" dt="2022-11-18T10:27:09.434" v="2075" actId="790"/>
            <ac:spMkLst>
              <pc:docMk/>
              <pc:sldMasterMk cId="180999990" sldId="2147483648"/>
              <pc:sldLayoutMk cId="3914093151" sldId="2147483683"/>
              <ac:spMk id="11" creationId="{FF8271F6-50AB-44A1-9998-6F78F158F9A9}"/>
            </ac:spMkLst>
          </pc:spChg>
          <pc:spChg chg="mod">
            <ac:chgData name="Lars Boe Riber" userId="a0746655-6c86-46e8-9fa0-3fdc9fc77da6" providerId="ADAL" clId="{4E480DD1-6EB6-40E9-AA5D-F0885641F18B}" dt="2022-11-18T10:27:09.437" v="2077" actId="790"/>
            <ac:spMkLst>
              <pc:docMk/>
              <pc:sldMasterMk cId="180999990" sldId="2147483648"/>
              <pc:sldLayoutMk cId="3914093151" sldId="2147483683"/>
              <ac:spMk id="13" creationId="{6D075D77-F3B6-4EB5-9E52-AB5745AED53F}"/>
            </ac:spMkLst>
          </pc:spChg>
        </pc:sldLayoutChg>
        <pc:sldLayoutChg chg="modSp mod">
          <pc:chgData name="Lars Boe Riber" userId="a0746655-6c86-46e8-9fa0-3fdc9fc77da6" providerId="ADAL" clId="{4E480DD1-6EB6-40E9-AA5D-F0885641F18B}" dt="2022-11-18T10:27:09.466" v="2097" actId="790"/>
          <pc:sldLayoutMkLst>
            <pc:docMk/>
            <pc:sldMasterMk cId="180999990" sldId="2147483648"/>
            <pc:sldLayoutMk cId="1409627768" sldId="2147483684"/>
          </pc:sldLayoutMkLst>
          <pc:spChg chg="mod">
            <ac:chgData name="Lars Boe Riber" userId="a0746655-6c86-46e8-9fa0-3fdc9fc77da6" providerId="ADAL" clId="{4E480DD1-6EB6-40E9-AA5D-F0885641F18B}" dt="2022-11-18T10:27:09.443" v="2082" actId="790"/>
            <ac:spMkLst>
              <pc:docMk/>
              <pc:sldMasterMk cId="180999990" sldId="2147483648"/>
              <pc:sldLayoutMk cId="1409627768" sldId="2147483684"/>
              <ac:spMk id="2" creationId="{00000000-0000-0000-0000-000000000000}"/>
            </ac:spMkLst>
          </pc:spChg>
          <pc:spChg chg="mod">
            <ac:chgData name="Lars Boe Riber" userId="a0746655-6c86-46e8-9fa0-3fdc9fc77da6" providerId="ADAL" clId="{4E480DD1-6EB6-40E9-AA5D-F0885641F18B}" dt="2022-11-18T10:27:09.461" v="2092" actId="790"/>
            <ac:spMkLst>
              <pc:docMk/>
              <pc:sldMasterMk cId="180999990" sldId="2147483648"/>
              <pc:sldLayoutMk cId="1409627768" sldId="2147483684"/>
              <ac:spMk id="3" creationId="{00000000-0000-0000-0000-000000000000}"/>
            </ac:spMkLst>
          </pc:spChg>
          <pc:spChg chg="mod">
            <ac:chgData name="Lars Boe Riber" userId="a0746655-6c86-46e8-9fa0-3fdc9fc77da6" providerId="ADAL" clId="{4E480DD1-6EB6-40E9-AA5D-F0885641F18B}" dt="2022-11-18T10:27:09.463" v="2094" actId="790"/>
            <ac:spMkLst>
              <pc:docMk/>
              <pc:sldMasterMk cId="180999990" sldId="2147483648"/>
              <pc:sldLayoutMk cId="1409627768" sldId="2147483684"/>
              <ac:spMk id="6" creationId="{8C9341C1-1ACE-4D5F-954C-E2A9E304D580}"/>
            </ac:spMkLst>
          </pc:spChg>
          <pc:spChg chg="mod">
            <ac:chgData name="Lars Boe Riber" userId="a0746655-6c86-46e8-9fa0-3fdc9fc77da6" providerId="ADAL" clId="{4E480DD1-6EB6-40E9-AA5D-F0885641F18B}" dt="2022-11-18T10:27:09.464" v="2095" actId="790"/>
            <ac:spMkLst>
              <pc:docMk/>
              <pc:sldMasterMk cId="180999990" sldId="2147483648"/>
              <pc:sldLayoutMk cId="1409627768" sldId="2147483684"/>
              <ac:spMk id="8" creationId="{B3E03AEF-76B9-47EF-ADA3-08AB46B86899}"/>
            </ac:spMkLst>
          </pc:spChg>
          <pc:spChg chg="mod">
            <ac:chgData name="Lars Boe Riber" userId="a0746655-6c86-46e8-9fa0-3fdc9fc77da6" providerId="ADAL" clId="{4E480DD1-6EB6-40E9-AA5D-F0885641F18B}" dt="2022-11-18T10:27:09.466" v="2097" actId="790"/>
            <ac:spMkLst>
              <pc:docMk/>
              <pc:sldMasterMk cId="180999990" sldId="2147483648"/>
              <pc:sldLayoutMk cId="1409627768" sldId="2147483684"/>
              <ac:spMk id="9" creationId="{20036FE6-E32E-4510-9DFD-1E1585232786}"/>
            </ac:spMkLst>
          </pc:spChg>
          <pc:spChg chg="mod">
            <ac:chgData name="Lars Boe Riber" userId="a0746655-6c86-46e8-9fa0-3fdc9fc77da6" providerId="ADAL" clId="{4E480DD1-6EB6-40E9-AA5D-F0885641F18B}" dt="2022-11-18T10:27:09.440" v="2079" actId="790"/>
            <ac:spMkLst>
              <pc:docMk/>
              <pc:sldMasterMk cId="180999990" sldId="2147483648"/>
              <pc:sldLayoutMk cId="1409627768" sldId="2147483684"/>
              <ac:spMk id="10" creationId="{46F462CB-49C6-43D4-8FBC-ABA17853FE28}"/>
            </ac:spMkLst>
          </pc:spChg>
          <pc:spChg chg="mod">
            <ac:chgData name="Lars Boe Riber" userId="a0746655-6c86-46e8-9fa0-3fdc9fc77da6" providerId="ADAL" clId="{4E480DD1-6EB6-40E9-AA5D-F0885641F18B}" dt="2022-11-18T10:27:09.441" v="2080" actId="790"/>
            <ac:spMkLst>
              <pc:docMk/>
              <pc:sldMasterMk cId="180999990" sldId="2147483648"/>
              <pc:sldLayoutMk cId="1409627768" sldId="2147483684"/>
              <ac:spMk id="15" creationId="{CFA65BDB-B1EC-4EF2-BD12-F97D9D8E2041}"/>
            </ac:spMkLst>
          </pc:spChg>
        </pc:sldLayoutChg>
        <pc:sldLayoutChg chg="modSp mod">
          <pc:chgData name="Lars Boe Riber" userId="a0746655-6c86-46e8-9fa0-3fdc9fc77da6" providerId="ADAL" clId="{4E480DD1-6EB6-40E9-AA5D-F0885641F18B}" dt="2022-11-18T10:27:09.508" v="2127" actId="790"/>
          <pc:sldLayoutMkLst>
            <pc:docMk/>
            <pc:sldMasterMk cId="180999990" sldId="2147483648"/>
            <pc:sldLayoutMk cId="3959807195" sldId="2147483685"/>
          </pc:sldLayoutMkLst>
          <pc:spChg chg="mod">
            <ac:chgData name="Lars Boe Riber" userId="a0746655-6c86-46e8-9fa0-3fdc9fc77da6" providerId="ADAL" clId="{4E480DD1-6EB6-40E9-AA5D-F0885641F18B}" dt="2022-11-18T10:27:09.469" v="2100" actId="790"/>
            <ac:spMkLst>
              <pc:docMk/>
              <pc:sldMasterMk cId="180999990" sldId="2147483648"/>
              <pc:sldLayoutMk cId="3959807195" sldId="2147483685"/>
              <ac:spMk id="2" creationId="{00000000-0000-0000-0000-000000000000}"/>
            </ac:spMkLst>
          </pc:spChg>
          <pc:spChg chg="mod">
            <ac:chgData name="Lars Boe Riber" userId="a0746655-6c86-46e8-9fa0-3fdc9fc77da6" providerId="ADAL" clId="{4E480DD1-6EB6-40E9-AA5D-F0885641F18B}" dt="2022-11-18T10:27:09.484" v="2110" actId="790"/>
            <ac:spMkLst>
              <pc:docMk/>
              <pc:sldMasterMk cId="180999990" sldId="2147483648"/>
              <pc:sldLayoutMk cId="3959807195" sldId="2147483685"/>
              <ac:spMk id="3" creationId="{00000000-0000-0000-0000-000000000000}"/>
            </ac:spMkLst>
          </pc:spChg>
          <pc:spChg chg="mod">
            <ac:chgData name="Lars Boe Riber" userId="a0746655-6c86-46e8-9fa0-3fdc9fc77da6" providerId="ADAL" clId="{4E480DD1-6EB6-40E9-AA5D-F0885641F18B}" dt="2022-11-18T10:27:09.503" v="2122" actId="790"/>
            <ac:spMkLst>
              <pc:docMk/>
              <pc:sldMasterMk cId="180999990" sldId="2147483648"/>
              <pc:sldLayoutMk cId="3959807195" sldId="2147483685"/>
              <ac:spMk id="6" creationId="{290BD52F-5F30-4092-B6BD-BC68EBA8074D}"/>
            </ac:spMkLst>
          </pc:spChg>
          <pc:spChg chg="mod">
            <ac:chgData name="Lars Boe Riber" userId="a0746655-6c86-46e8-9fa0-3fdc9fc77da6" providerId="ADAL" clId="{4E480DD1-6EB6-40E9-AA5D-F0885641F18B}" dt="2022-11-18T10:27:09.499" v="2120" actId="790"/>
            <ac:spMkLst>
              <pc:docMk/>
              <pc:sldMasterMk cId="180999990" sldId="2147483648"/>
              <pc:sldLayoutMk cId="3959807195" sldId="2147483685"/>
              <ac:spMk id="7" creationId="{17CE2ECF-AF40-4809-BD16-DFC59D53926E}"/>
            </ac:spMkLst>
          </pc:spChg>
          <pc:spChg chg="mod">
            <ac:chgData name="Lars Boe Riber" userId="a0746655-6c86-46e8-9fa0-3fdc9fc77da6" providerId="ADAL" clId="{4E480DD1-6EB6-40E9-AA5D-F0885641F18B}" dt="2022-11-18T10:27:09.504" v="2123" actId="790"/>
            <ac:spMkLst>
              <pc:docMk/>
              <pc:sldMasterMk cId="180999990" sldId="2147483648"/>
              <pc:sldLayoutMk cId="3959807195" sldId="2147483685"/>
              <ac:spMk id="9" creationId="{463160CC-677A-4E30-9B6F-4DD30FA62861}"/>
            </ac:spMkLst>
          </pc:spChg>
          <pc:spChg chg="mod">
            <ac:chgData name="Lars Boe Riber" userId="a0746655-6c86-46e8-9fa0-3fdc9fc77da6" providerId="ADAL" clId="{4E480DD1-6EB6-40E9-AA5D-F0885641F18B}" dt="2022-11-18T10:27:09.467" v="2098" actId="790"/>
            <ac:spMkLst>
              <pc:docMk/>
              <pc:sldMasterMk cId="180999990" sldId="2147483648"/>
              <pc:sldLayoutMk cId="3959807195" sldId="2147483685"/>
              <ac:spMk id="10" creationId="{5B4101BC-2F6D-4C7D-BAF1-B5E98F520306}"/>
            </ac:spMkLst>
          </pc:spChg>
          <pc:spChg chg="mod">
            <ac:chgData name="Lars Boe Riber" userId="a0746655-6c86-46e8-9fa0-3fdc9fc77da6" providerId="ADAL" clId="{4E480DD1-6EB6-40E9-AA5D-F0885641F18B}" dt="2022-11-18T10:27:09.506" v="2125" actId="790"/>
            <ac:spMkLst>
              <pc:docMk/>
              <pc:sldMasterMk cId="180999990" sldId="2147483648"/>
              <pc:sldLayoutMk cId="3959807195" sldId="2147483685"/>
              <ac:spMk id="11" creationId="{6BF8DDD7-7966-45A0-AD48-A99BD1B4967F}"/>
            </ac:spMkLst>
          </pc:spChg>
          <pc:spChg chg="mod">
            <ac:chgData name="Lars Boe Riber" userId="a0746655-6c86-46e8-9fa0-3fdc9fc77da6" providerId="ADAL" clId="{4E480DD1-6EB6-40E9-AA5D-F0885641F18B}" dt="2022-11-18T10:27:09.508" v="2127" actId="790"/>
            <ac:spMkLst>
              <pc:docMk/>
              <pc:sldMasterMk cId="180999990" sldId="2147483648"/>
              <pc:sldLayoutMk cId="3959807195" sldId="2147483685"/>
              <ac:spMk id="13" creationId="{A4A15578-12D5-4CA3-AE58-36E6DB03E8B8}"/>
            </ac:spMkLst>
          </pc:spChg>
        </pc:sldLayoutChg>
        <pc:sldLayoutChg chg="modSp mod">
          <pc:chgData name="Lars Boe Riber" userId="a0746655-6c86-46e8-9fa0-3fdc9fc77da6" providerId="ADAL" clId="{4E480DD1-6EB6-40E9-AA5D-F0885641F18B}" dt="2022-11-18T10:27:09.533" v="2147" actId="790"/>
          <pc:sldLayoutMkLst>
            <pc:docMk/>
            <pc:sldMasterMk cId="180999990" sldId="2147483648"/>
            <pc:sldLayoutMk cId="2766435223" sldId="2147483686"/>
          </pc:sldLayoutMkLst>
          <pc:spChg chg="mod">
            <ac:chgData name="Lars Boe Riber" userId="a0746655-6c86-46e8-9fa0-3fdc9fc77da6" providerId="ADAL" clId="{4E480DD1-6EB6-40E9-AA5D-F0885641F18B}" dt="2022-11-18T10:27:09.512" v="2132" actId="790"/>
            <ac:spMkLst>
              <pc:docMk/>
              <pc:sldMasterMk cId="180999990" sldId="2147483648"/>
              <pc:sldLayoutMk cId="2766435223" sldId="2147483686"/>
              <ac:spMk id="2" creationId="{00000000-0000-0000-0000-000000000000}"/>
            </ac:spMkLst>
          </pc:spChg>
          <pc:spChg chg="mod">
            <ac:chgData name="Lars Boe Riber" userId="a0746655-6c86-46e8-9fa0-3fdc9fc77da6" providerId="ADAL" clId="{4E480DD1-6EB6-40E9-AA5D-F0885641F18B}" dt="2022-11-18T10:27:09.527" v="2142" actId="790"/>
            <ac:spMkLst>
              <pc:docMk/>
              <pc:sldMasterMk cId="180999990" sldId="2147483648"/>
              <pc:sldLayoutMk cId="2766435223" sldId="2147483686"/>
              <ac:spMk id="3" creationId="{00000000-0000-0000-0000-000000000000}"/>
            </ac:spMkLst>
          </pc:spChg>
          <pc:spChg chg="mod">
            <ac:chgData name="Lars Boe Riber" userId="a0746655-6c86-46e8-9fa0-3fdc9fc77da6" providerId="ADAL" clId="{4E480DD1-6EB6-40E9-AA5D-F0885641F18B}" dt="2022-11-18T10:27:09.529" v="2144" actId="790"/>
            <ac:spMkLst>
              <pc:docMk/>
              <pc:sldMasterMk cId="180999990" sldId="2147483648"/>
              <pc:sldLayoutMk cId="2766435223" sldId="2147483686"/>
              <ac:spMk id="4" creationId="{D7871951-D21A-4AD7-B0ED-D9EDFD6FD215}"/>
            </ac:spMkLst>
          </pc:spChg>
          <pc:spChg chg="mod">
            <ac:chgData name="Lars Boe Riber" userId="a0746655-6c86-46e8-9fa0-3fdc9fc77da6" providerId="ADAL" clId="{4E480DD1-6EB6-40E9-AA5D-F0885641F18B}" dt="2022-11-18T10:27:09.530" v="2145" actId="790"/>
            <ac:spMkLst>
              <pc:docMk/>
              <pc:sldMasterMk cId="180999990" sldId="2147483648"/>
              <pc:sldLayoutMk cId="2766435223" sldId="2147483686"/>
              <ac:spMk id="5" creationId="{5350D0E1-89DD-41BB-9E30-0E38A07068DF}"/>
            </ac:spMkLst>
          </pc:spChg>
          <pc:spChg chg="mod">
            <ac:chgData name="Lars Boe Riber" userId="a0746655-6c86-46e8-9fa0-3fdc9fc77da6" providerId="ADAL" clId="{4E480DD1-6EB6-40E9-AA5D-F0885641F18B}" dt="2022-11-18T10:27:09.533" v="2147" actId="790"/>
            <ac:spMkLst>
              <pc:docMk/>
              <pc:sldMasterMk cId="180999990" sldId="2147483648"/>
              <pc:sldLayoutMk cId="2766435223" sldId="2147483686"/>
              <ac:spMk id="7" creationId="{0D78F7CD-9DD3-4685-B0A9-7CE0ABF9F107}"/>
            </ac:spMkLst>
          </pc:spChg>
          <pc:spChg chg="mod">
            <ac:chgData name="Lars Boe Riber" userId="a0746655-6c86-46e8-9fa0-3fdc9fc77da6" providerId="ADAL" clId="{4E480DD1-6EB6-40E9-AA5D-F0885641F18B}" dt="2022-11-18T10:27:09.510" v="2129" actId="790"/>
            <ac:spMkLst>
              <pc:docMk/>
              <pc:sldMasterMk cId="180999990" sldId="2147483648"/>
              <pc:sldLayoutMk cId="2766435223" sldId="2147483686"/>
              <ac:spMk id="10" creationId="{46F462CB-49C6-43D4-8FBC-ABA17853FE28}"/>
            </ac:spMkLst>
          </pc:spChg>
          <pc:spChg chg="mod">
            <ac:chgData name="Lars Boe Riber" userId="a0746655-6c86-46e8-9fa0-3fdc9fc77da6" providerId="ADAL" clId="{4E480DD1-6EB6-40E9-AA5D-F0885641F18B}" dt="2022-11-18T10:27:09.511" v="2130" actId="790"/>
            <ac:spMkLst>
              <pc:docMk/>
              <pc:sldMasterMk cId="180999990" sldId="2147483648"/>
              <pc:sldLayoutMk cId="2766435223" sldId="2147483686"/>
              <ac:spMk id="15" creationId="{CFA65BDB-B1EC-4EF2-BD12-F97D9D8E2041}"/>
            </ac:spMkLst>
          </pc:spChg>
        </pc:sldLayoutChg>
        <pc:sldLayoutChg chg="modSp mod">
          <pc:chgData name="Lars Boe Riber" userId="a0746655-6c86-46e8-9fa0-3fdc9fc77da6" providerId="ADAL" clId="{4E480DD1-6EB6-40E9-AA5D-F0885641F18B}" dt="2022-11-18T10:27:09.569" v="2177" actId="790"/>
          <pc:sldLayoutMkLst>
            <pc:docMk/>
            <pc:sldMasterMk cId="180999990" sldId="2147483648"/>
            <pc:sldLayoutMk cId="3083077099" sldId="2147483687"/>
          </pc:sldLayoutMkLst>
          <pc:spChg chg="mod">
            <ac:chgData name="Lars Boe Riber" userId="a0746655-6c86-46e8-9fa0-3fdc9fc77da6" providerId="ADAL" clId="{4E480DD1-6EB6-40E9-AA5D-F0885641F18B}" dt="2022-11-18T10:27:09.535" v="2150" actId="790"/>
            <ac:spMkLst>
              <pc:docMk/>
              <pc:sldMasterMk cId="180999990" sldId="2147483648"/>
              <pc:sldLayoutMk cId="3083077099" sldId="2147483687"/>
              <ac:spMk id="2" creationId="{00000000-0000-0000-0000-000000000000}"/>
            </ac:spMkLst>
          </pc:spChg>
          <pc:spChg chg="mod">
            <ac:chgData name="Lars Boe Riber" userId="a0746655-6c86-46e8-9fa0-3fdc9fc77da6" providerId="ADAL" clId="{4E480DD1-6EB6-40E9-AA5D-F0885641F18B}" dt="2022-11-18T10:27:09.548" v="2160" actId="790"/>
            <ac:spMkLst>
              <pc:docMk/>
              <pc:sldMasterMk cId="180999990" sldId="2147483648"/>
              <pc:sldLayoutMk cId="3083077099" sldId="2147483687"/>
              <ac:spMk id="3" creationId="{00000000-0000-0000-0000-000000000000}"/>
            </ac:spMkLst>
          </pc:spChg>
          <pc:spChg chg="mod">
            <ac:chgData name="Lars Boe Riber" userId="a0746655-6c86-46e8-9fa0-3fdc9fc77da6" providerId="ADAL" clId="{4E480DD1-6EB6-40E9-AA5D-F0885641F18B}" dt="2022-11-18T10:27:09.564" v="2172" actId="790"/>
            <ac:spMkLst>
              <pc:docMk/>
              <pc:sldMasterMk cId="180999990" sldId="2147483648"/>
              <pc:sldLayoutMk cId="3083077099" sldId="2147483687"/>
              <ac:spMk id="6" creationId="{E8AE0849-ADA5-4C35-BD3D-32AEC0275BFE}"/>
            </ac:spMkLst>
          </pc:spChg>
          <pc:spChg chg="mod">
            <ac:chgData name="Lars Boe Riber" userId="a0746655-6c86-46e8-9fa0-3fdc9fc77da6" providerId="ADAL" clId="{4E480DD1-6EB6-40E9-AA5D-F0885641F18B}" dt="2022-11-18T10:27:09.562" v="2170" actId="790"/>
            <ac:spMkLst>
              <pc:docMk/>
              <pc:sldMasterMk cId="180999990" sldId="2147483648"/>
              <pc:sldLayoutMk cId="3083077099" sldId="2147483687"/>
              <ac:spMk id="7" creationId="{17CE2ECF-AF40-4809-BD16-DFC59D53926E}"/>
            </ac:spMkLst>
          </pc:spChg>
          <pc:spChg chg="mod">
            <ac:chgData name="Lars Boe Riber" userId="a0746655-6c86-46e8-9fa0-3fdc9fc77da6" providerId="ADAL" clId="{4E480DD1-6EB6-40E9-AA5D-F0885641F18B}" dt="2022-11-18T10:27:09.565" v="2173" actId="790"/>
            <ac:spMkLst>
              <pc:docMk/>
              <pc:sldMasterMk cId="180999990" sldId="2147483648"/>
              <pc:sldLayoutMk cId="3083077099" sldId="2147483687"/>
              <ac:spMk id="9" creationId="{71AB1FEE-9EFB-4823-A0D2-ECFD3E905429}"/>
            </ac:spMkLst>
          </pc:spChg>
          <pc:spChg chg="mod">
            <ac:chgData name="Lars Boe Riber" userId="a0746655-6c86-46e8-9fa0-3fdc9fc77da6" providerId="ADAL" clId="{4E480DD1-6EB6-40E9-AA5D-F0885641F18B}" dt="2022-11-18T10:27:09.534" v="2148" actId="790"/>
            <ac:spMkLst>
              <pc:docMk/>
              <pc:sldMasterMk cId="180999990" sldId="2147483648"/>
              <pc:sldLayoutMk cId="3083077099" sldId="2147483687"/>
              <ac:spMk id="10" creationId="{5B4101BC-2F6D-4C7D-BAF1-B5E98F520306}"/>
            </ac:spMkLst>
          </pc:spChg>
          <pc:spChg chg="mod">
            <ac:chgData name="Lars Boe Riber" userId="a0746655-6c86-46e8-9fa0-3fdc9fc77da6" providerId="ADAL" clId="{4E480DD1-6EB6-40E9-AA5D-F0885641F18B}" dt="2022-11-18T10:27:09.567" v="2175" actId="790"/>
            <ac:spMkLst>
              <pc:docMk/>
              <pc:sldMasterMk cId="180999990" sldId="2147483648"/>
              <pc:sldLayoutMk cId="3083077099" sldId="2147483687"/>
              <ac:spMk id="11" creationId="{14A6979C-ADCB-4300-A9EA-07138DC9371F}"/>
            </ac:spMkLst>
          </pc:spChg>
          <pc:spChg chg="mod">
            <ac:chgData name="Lars Boe Riber" userId="a0746655-6c86-46e8-9fa0-3fdc9fc77da6" providerId="ADAL" clId="{4E480DD1-6EB6-40E9-AA5D-F0885641F18B}" dt="2022-11-18T10:27:09.569" v="2177" actId="790"/>
            <ac:spMkLst>
              <pc:docMk/>
              <pc:sldMasterMk cId="180999990" sldId="2147483648"/>
              <pc:sldLayoutMk cId="3083077099" sldId="2147483687"/>
              <ac:spMk id="13" creationId="{B1EEDA58-6175-4232-A50D-8C1F8D8DDEA6}"/>
            </ac:spMkLst>
          </pc:spChg>
        </pc:sldLayoutChg>
        <pc:sldLayoutChg chg="modSp mod">
          <pc:chgData name="Lars Boe Riber" userId="a0746655-6c86-46e8-9fa0-3fdc9fc77da6" providerId="ADAL" clId="{4E480DD1-6EB6-40E9-AA5D-F0885641F18B}" dt="2022-11-18T10:27:09.591" v="2197" actId="790"/>
          <pc:sldLayoutMkLst>
            <pc:docMk/>
            <pc:sldMasterMk cId="180999990" sldId="2147483648"/>
            <pc:sldLayoutMk cId="24792959" sldId="2147483688"/>
          </pc:sldLayoutMkLst>
          <pc:spChg chg="mod">
            <ac:chgData name="Lars Boe Riber" userId="a0746655-6c86-46e8-9fa0-3fdc9fc77da6" providerId="ADAL" clId="{4E480DD1-6EB6-40E9-AA5D-F0885641F18B}" dt="2022-11-18T10:27:09.572" v="2182" actId="790"/>
            <ac:spMkLst>
              <pc:docMk/>
              <pc:sldMasterMk cId="180999990" sldId="2147483648"/>
              <pc:sldLayoutMk cId="24792959" sldId="2147483688"/>
              <ac:spMk id="2" creationId="{00000000-0000-0000-0000-000000000000}"/>
            </ac:spMkLst>
          </pc:spChg>
          <pc:spChg chg="mod">
            <ac:chgData name="Lars Boe Riber" userId="a0746655-6c86-46e8-9fa0-3fdc9fc77da6" providerId="ADAL" clId="{4E480DD1-6EB6-40E9-AA5D-F0885641F18B}" dt="2022-11-18T10:27:09.586" v="2192" actId="790"/>
            <ac:spMkLst>
              <pc:docMk/>
              <pc:sldMasterMk cId="180999990" sldId="2147483648"/>
              <pc:sldLayoutMk cId="24792959" sldId="2147483688"/>
              <ac:spMk id="3" creationId="{00000000-0000-0000-0000-000000000000}"/>
            </ac:spMkLst>
          </pc:spChg>
          <pc:spChg chg="mod">
            <ac:chgData name="Lars Boe Riber" userId="a0746655-6c86-46e8-9fa0-3fdc9fc77da6" providerId="ADAL" clId="{4E480DD1-6EB6-40E9-AA5D-F0885641F18B}" dt="2022-11-18T10:27:09.588" v="2194" actId="790"/>
            <ac:spMkLst>
              <pc:docMk/>
              <pc:sldMasterMk cId="180999990" sldId="2147483648"/>
              <pc:sldLayoutMk cId="24792959" sldId="2147483688"/>
              <ac:spMk id="4" creationId="{D7871951-D21A-4AD7-B0ED-D9EDFD6FD215}"/>
            </ac:spMkLst>
          </pc:spChg>
          <pc:spChg chg="mod">
            <ac:chgData name="Lars Boe Riber" userId="a0746655-6c86-46e8-9fa0-3fdc9fc77da6" providerId="ADAL" clId="{4E480DD1-6EB6-40E9-AA5D-F0885641F18B}" dt="2022-11-18T10:27:09.589" v="2195" actId="790"/>
            <ac:spMkLst>
              <pc:docMk/>
              <pc:sldMasterMk cId="180999990" sldId="2147483648"/>
              <pc:sldLayoutMk cId="24792959" sldId="2147483688"/>
              <ac:spMk id="5" creationId="{5350D0E1-89DD-41BB-9E30-0E38A07068DF}"/>
            </ac:spMkLst>
          </pc:spChg>
          <pc:spChg chg="mod">
            <ac:chgData name="Lars Boe Riber" userId="a0746655-6c86-46e8-9fa0-3fdc9fc77da6" providerId="ADAL" clId="{4E480DD1-6EB6-40E9-AA5D-F0885641F18B}" dt="2022-11-18T10:27:09.591" v="2197" actId="790"/>
            <ac:spMkLst>
              <pc:docMk/>
              <pc:sldMasterMk cId="180999990" sldId="2147483648"/>
              <pc:sldLayoutMk cId="24792959" sldId="2147483688"/>
              <ac:spMk id="7" creationId="{0D78F7CD-9DD3-4685-B0A9-7CE0ABF9F107}"/>
            </ac:spMkLst>
          </pc:spChg>
          <pc:spChg chg="mod">
            <ac:chgData name="Lars Boe Riber" userId="a0746655-6c86-46e8-9fa0-3fdc9fc77da6" providerId="ADAL" clId="{4E480DD1-6EB6-40E9-AA5D-F0885641F18B}" dt="2022-11-18T10:27:09.570" v="2179" actId="790"/>
            <ac:spMkLst>
              <pc:docMk/>
              <pc:sldMasterMk cId="180999990" sldId="2147483648"/>
              <pc:sldLayoutMk cId="24792959" sldId="2147483688"/>
              <ac:spMk id="10" creationId="{46F462CB-49C6-43D4-8FBC-ABA17853FE28}"/>
            </ac:spMkLst>
          </pc:spChg>
          <pc:spChg chg="mod">
            <ac:chgData name="Lars Boe Riber" userId="a0746655-6c86-46e8-9fa0-3fdc9fc77da6" providerId="ADAL" clId="{4E480DD1-6EB6-40E9-AA5D-F0885641F18B}" dt="2022-11-18T10:27:09.571" v="2180" actId="790"/>
            <ac:spMkLst>
              <pc:docMk/>
              <pc:sldMasterMk cId="180999990" sldId="2147483648"/>
              <pc:sldLayoutMk cId="24792959" sldId="2147483688"/>
              <ac:spMk id="15" creationId="{CFA65BDB-B1EC-4EF2-BD12-F97D9D8E2041}"/>
            </ac:spMkLst>
          </pc:spChg>
        </pc:sldLayoutChg>
        <pc:sldLayoutChg chg="modSp mod">
          <pc:chgData name="Lars Boe Riber" userId="a0746655-6c86-46e8-9fa0-3fdc9fc77da6" providerId="ADAL" clId="{4E480DD1-6EB6-40E9-AA5D-F0885641F18B}" dt="2022-11-18T10:27:09.630" v="2227" actId="790"/>
          <pc:sldLayoutMkLst>
            <pc:docMk/>
            <pc:sldMasterMk cId="180999990" sldId="2147483648"/>
            <pc:sldLayoutMk cId="2217327958" sldId="2147483689"/>
          </pc:sldLayoutMkLst>
          <pc:spChg chg="mod">
            <ac:chgData name="Lars Boe Riber" userId="a0746655-6c86-46e8-9fa0-3fdc9fc77da6" providerId="ADAL" clId="{4E480DD1-6EB6-40E9-AA5D-F0885641F18B}" dt="2022-11-18T10:27:09.595" v="2200" actId="790"/>
            <ac:spMkLst>
              <pc:docMk/>
              <pc:sldMasterMk cId="180999990" sldId="2147483648"/>
              <pc:sldLayoutMk cId="2217327958" sldId="2147483689"/>
              <ac:spMk id="2" creationId="{00000000-0000-0000-0000-000000000000}"/>
            </ac:spMkLst>
          </pc:spChg>
          <pc:spChg chg="mod">
            <ac:chgData name="Lars Boe Riber" userId="a0746655-6c86-46e8-9fa0-3fdc9fc77da6" providerId="ADAL" clId="{4E480DD1-6EB6-40E9-AA5D-F0885641F18B}" dt="2022-11-18T10:27:09.610" v="2210" actId="790"/>
            <ac:spMkLst>
              <pc:docMk/>
              <pc:sldMasterMk cId="180999990" sldId="2147483648"/>
              <pc:sldLayoutMk cId="2217327958" sldId="2147483689"/>
              <ac:spMk id="3" creationId="{00000000-0000-0000-0000-000000000000}"/>
            </ac:spMkLst>
          </pc:spChg>
          <pc:spChg chg="mod">
            <ac:chgData name="Lars Boe Riber" userId="a0746655-6c86-46e8-9fa0-3fdc9fc77da6" providerId="ADAL" clId="{4E480DD1-6EB6-40E9-AA5D-F0885641F18B}" dt="2022-11-18T10:27:09.625" v="2222" actId="790"/>
            <ac:spMkLst>
              <pc:docMk/>
              <pc:sldMasterMk cId="180999990" sldId="2147483648"/>
              <pc:sldLayoutMk cId="2217327958" sldId="2147483689"/>
              <ac:spMk id="6" creationId="{F3D33C9E-6521-4DF1-93A8-375CEAEC2975}"/>
            </ac:spMkLst>
          </pc:spChg>
          <pc:spChg chg="mod">
            <ac:chgData name="Lars Boe Riber" userId="a0746655-6c86-46e8-9fa0-3fdc9fc77da6" providerId="ADAL" clId="{4E480DD1-6EB6-40E9-AA5D-F0885641F18B}" dt="2022-11-18T10:27:09.623" v="2220" actId="790"/>
            <ac:spMkLst>
              <pc:docMk/>
              <pc:sldMasterMk cId="180999990" sldId="2147483648"/>
              <pc:sldLayoutMk cId="2217327958" sldId="2147483689"/>
              <ac:spMk id="7" creationId="{17CE2ECF-AF40-4809-BD16-DFC59D53926E}"/>
            </ac:spMkLst>
          </pc:spChg>
          <pc:spChg chg="mod">
            <ac:chgData name="Lars Boe Riber" userId="a0746655-6c86-46e8-9fa0-3fdc9fc77da6" providerId="ADAL" clId="{4E480DD1-6EB6-40E9-AA5D-F0885641F18B}" dt="2022-11-18T10:27:09.626" v="2223" actId="790"/>
            <ac:spMkLst>
              <pc:docMk/>
              <pc:sldMasterMk cId="180999990" sldId="2147483648"/>
              <pc:sldLayoutMk cId="2217327958" sldId="2147483689"/>
              <ac:spMk id="9" creationId="{8023F77A-3C54-4C93-BB36-E29AEE7A13DC}"/>
            </ac:spMkLst>
          </pc:spChg>
          <pc:spChg chg="mod">
            <ac:chgData name="Lars Boe Riber" userId="a0746655-6c86-46e8-9fa0-3fdc9fc77da6" providerId="ADAL" clId="{4E480DD1-6EB6-40E9-AA5D-F0885641F18B}" dt="2022-11-18T10:27:09.592" v="2198" actId="790"/>
            <ac:spMkLst>
              <pc:docMk/>
              <pc:sldMasterMk cId="180999990" sldId="2147483648"/>
              <pc:sldLayoutMk cId="2217327958" sldId="2147483689"/>
              <ac:spMk id="10" creationId="{5B4101BC-2F6D-4C7D-BAF1-B5E98F520306}"/>
            </ac:spMkLst>
          </pc:spChg>
          <pc:spChg chg="mod">
            <ac:chgData name="Lars Boe Riber" userId="a0746655-6c86-46e8-9fa0-3fdc9fc77da6" providerId="ADAL" clId="{4E480DD1-6EB6-40E9-AA5D-F0885641F18B}" dt="2022-11-18T10:27:09.628" v="2225" actId="790"/>
            <ac:spMkLst>
              <pc:docMk/>
              <pc:sldMasterMk cId="180999990" sldId="2147483648"/>
              <pc:sldLayoutMk cId="2217327958" sldId="2147483689"/>
              <ac:spMk id="11" creationId="{9CE16FDD-BBE2-4F3D-ADDA-ED4FA9CE90F0}"/>
            </ac:spMkLst>
          </pc:spChg>
          <pc:spChg chg="mod">
            <ac:chgData name="Lars Boe Riber" userId="a0746655-6c86-46e8-9fa0-3fdc9fc77da6" providerId="ADAL" clId="{4E480DD1-6EB6-40E9-AA5D-F0885641F18B}" dt="2022-11-18T10:27:09.630" v="2227" actId="790"/>
            <ac:spMkLst>
              <pc:docMk/>
              <pc:sldMasterMk cId="180999990" sldId="2147483648"/>
              <pc:sldLayoutMk cId="2217327958" sldId="2147483689"/>
              <ac:spMk id="13" creationId="{F6A1A2FD-ED95-4DEE-9A2C-FB659D867A09}"/>
            </ac:spMkLst>
          </pc:spChg>
        </pc:sldLayoutChg>
        <pc:sldLayoutChg chg="modSp mod">
          <pc:chgData name="Lars Boe Riber" userId="a0746655-6c86-46e8-9fa0-3fdc9fc77da6" providerId="ADAL" clId="{4E480DD1-6EB6-40E9-AA5D-F0885641F18B}" dt="2022-11-18T10:27:09.639" v="2237" actId="790"/>
          <pc:sldLayoutMkLst>
            <pc:docMk/>
            <pc:sldMasterMk cId="180999990" sldId="2147483648"/>
            <pc:sldLayoutMk cId="3197476414" sldId="2147483690"/>
          </pc:sldLayoutMkLst>
          <pc:spChg chg="mod">
            <ac:chgData name="Lars Boe Riber" userId="a0746655-6c86-46e8-9fa0-3fdc9fc77da6" providerId="ADAL" clId="{4E480DD1-6EB6-40E9-AA5D-F0885641F18B}" dt="2022-11-18T10:27:09.639" v="2237" actId="790"/>
            <ac:spMkLst>
              <pc:docMk/>
              <pc:sldMasterMk cId="180999990" sldId="2147483648"/>
              <pc:sldLayoutMk cId="3197476414" sldId="2147483690"/>
              <ac:spMk id="2" creationId="{00000000-0000-0000-0000-000000000000}"/>
            </ac:spMkLst>
          </pc:spChg>
          <pc:spChg chg="mod">
            <ac:chgData name="Lars Boe Riber" userId="a0746655-6c86-46e8-9fa0-3fdc9fc77da6" providerId="ADAL" clId="{4E480DD1-6EB6-40E9-AA5D-F0885641F18B}" dt="2022-11-18T10:27:09.632" v="2229" actId="790"/>
            <ac:spMkLst>
              <pc:docMk/>
              <pc:sldMasterMk cId="180999990" sldId="2147483648"/>
              <pc:sldLayoutMk cId="3197476414" sldId="2147483690"/>
              <ac:spMk id="9" creationId="{B1DFE0D9-0BA4-4026-8A37-2B9467024CB1}"/>
            </ac:spMkLst>
          </pc:spChg>
          <pc:spChg chg="mod">
            <ac:chgData name="Lars Boe Riber" userId="a0746655-6c86-46e8-9fa0-3fdc9fc77da6" providerId="ADAL" clId="{4E480DD1-6EB6-40E9-AA5D-F0885641F18B}" dt="2022-11-18T10:27:09.634" v="2231" actId="790"/>
            <ac:spMkLst>
              <pc:docMk/>
              <pc:sldMasterMk cId="180999990" sldId="2147483648"/>
              <pc:sldLayoutMk cId="3197476414" sldId="2147483690"/>
              <ac:spMk id="10" creationId="{B99F8788-0F5A-48AA-8CA3-6BDF988C91FB}"/>
            </ac:spMkLst>
          </pc:spChg>
          <pc:spChg chg="mod">
            <ac:chgData name="Lars Boe Riber" userId="a0746655-6c86-46e8-9fa0-3fdc9fc77da6" providerId="ADAL" clId="{4E480DD1-6EB6-40E9-AA5D-F0885641F18B}" dt="2022-11-18T10:27:09.636" v="2233" actId="790"/>
            <ac:spMkLst>
              <pc:docMk/>
              <pc:sldMasterMk cId="180999990" sldId="2147483648"/>
              <pc:sldLayoutMk cId="3197476414" sldId="2147483690"/>
              <ac:spMk id="12" creationId="{AB09C097-1BD9-4120-AB83-44067D1B1490}"/>
            </ac:spMkLst>
          </pc:spChg>
          <pc:spChg chg="mod">
            <ac:chgData name="Lars Boe Riber" userId="a0746655-6c86-46e8-9fa0-3fdc9fc77da6" providerId="ADAL" clId="{4E480DD1-6EB6-40E9-AA5D-F0885641F18B}" dt="2022-11-18T10:27:09.637" v="2235" actId="790"/>
            <ac:spMkLst>
              <pc:docMk/>
              <pc:sldMasterMk cId="180999990" sldId="2147483648"/>
              <pc:sldLayoutMk cId="3197476414" sldId="2147483690"/>
              <ac:spMk id="13" creationId="{A3ADEAA8-6B38-44C6-9245-01A3512C101B}"/>
            </ac:spMkLst>
          </pc:spChg>
          <pc:spChg chg="mod">
            <ac:chgData name="Lars Boe Riber" userId="a0746655-6c86-46e8-9fa0-3fdc9fc77da6" providerId="ADAL" clId="{4E480DD1-6EB6-40E9-AA5D-F0885641F18B}" dt="2022-11-18T10:27:09.635" v="2232" actId="790"/>
            <ac:spMkLst>
              <pc:docMk/>
              <pc:sldMasterMk cId="180999990" sldId="2147483648"/>
              <pc:sldLayoutMk cId="3197476414" sldId="2147483690"/>
              <ac:spMk id="14" creationId="{4D05E2D1-BF97-4F56-A04F-48768FE304DB}"/>
            </ac:spMkLst>
          </pc:spChg>
        </pc:sldLayoutChg>
        <pc:sldLayoutChg chg="modSp mod">
          <pc:chgData name="Lars Boe Riber" userId="a0746655-6c86-46e8-9fa0-3fdc9fc77da6" providerId="ADAL" clId="{4E480DD1-6EB6-40E9-AA5D-F0885641F18B}" dt="2022-11-18T10:27:09.650" v="2249" actId="790"/>
          <pc:sldLayoutMkLst>
            <pc:docMk/>
            <pc:sldMasterMk cId="180999990" sldId="2147483648"/>
            <pc:sldLayoutMk cId="1480811344" sldId="2147483691"/>
          </pc:sldLayoutMkLst>
          <pc:spChg chg="mod">
            <ac:chgData name="Lars Boe Riber" userId="a0746655-6c86-46e8-9fa0-3fdc9fc77da6" providerId="ADAL" clId="{4E480DD1-6EB6-40E9-AA5D-F0885641F18B}" dt="2022-11-18T10:27:09.642" v="2240" actId="790"/>
            <ac:spMkLst>
              <pc:docMk/>
              <pc:sldMasterMk cId="180999990" sldId="2147483648"/>
              <pc:sldLayoutMk cId="1480811344" sldId="2147483691"/>
              <ac:spMk id="2" creationId="{00000000-0000-0000-0000-000000000000}"/>
            </ac:spMkLst>
          </pc:spChg>
          <pc:spChg chg="mod">
            <ac:chgData name="Lars Boe Riber" userId="a0746655-6c86-46e8-9fa0-3fdc9fc77da6" providerId="ADAL" clId="{4E480DD1-6EB6-40E9-AA5D-F0885641F18B}" dt="2022-11-18T10:27:09.644" v="2242" actId="790"/>
            <ac:spMkLst>
              <pc:docMk/>
              <pc:sldMasterMk cId="180999990" sldId="2147483648"/>
              <pc:sldLayoutMk cId="1480811344" sldId="2147483691"/>
              <ac:spMk id="3" creationId="{00000000-0000-0000-0000-000000000000}"/>
            </ac:spMkLst>
          </pc:spChg>
          <pc:spChg chg="mod">
            <ac:chgData name="Lars Boe Riber" userId="a0746655-6c86-46e8-9fa0-3fdc9fc77da6" providerId="ADAL" clId="{4E480DD1-6EB6-40E9-AA5D-F0885641F18B}" dt="2022-11-18T10:27:09.645" v="2244" actId="790"/>
            <ac:spMkLst>
              <pc:docMk/>
              <pc:sldMasterMk cId="180999990" sldId="2147483648"/>
              <pc:sldLayoutMk cId="1480811344" sldId="2147483691"/>
              <ac:spMk id="4" creationId="{4E3D603A-7559-4371-ACE3-B12E20084BAE}"/>
            </ac:spMkLst>
          </pc:spChg>
          <pc:spChg chg="mod">
            <ac:chgData name="Lars Boe Riber" userId="a0746655-6c86-46e8-9fa0-3fdc9fc77da6" providerId="ADAL" clId="{4E480DD1-6EB6-40E9-AA5D-F0885641F18B}" dt="2022-11-18T10:27:09.646" v="2245" actId="790"/>
            <ac:spMkLst>
              <pc:docMk/>
              <pc:sldMasterMk cId="180999990" sldId="2147483648"/>
              <pc:sldLayoutMk cId="1480811344" sldId="2147483691"/>
              <ac:spMk id="5" creationId="{4518BCD5-ACF2-4924-B2F7-A3E3F0EBDB44}"/>
            </ac:spMkLst>
          </pc:spChg>
          <pc:spChg chg="mod">
            <ac:chgData name="Lars Boe Riber" userId="a0746655-6c86-46e8-9fa0-3fdc9fc77da6" providerId="ADAL" clId="{4E480DD1-6EB6-40E9-AA5D-F0885641F18B}" dt="2022-11-18T10:27:09.648" v="2247" actId="790"/>
            <ac:spMkLst>
              <pc:docMk/>
              <pc:sldMasterMk cId="180999990" sldId="2147483648"/>
              <pc:sldLayoutMk cId="1480811344" sldId="2147483691"/>
              <ac:spMk id="6" creationId="{2FEB807C-31DA-4CEA-947C-A0D8107B02E3}"/>
            </ac:spMkLst>
          </pc:spChg>
          <pc:spChg chg="mod">
            <ac:chgData name="Lars Boe Riber" userId="a0746655-6c86-46e8-9fa0-3fdc9fc77da6" providerId="ADAL" clId="{4E480DD1-6EB6-40E9-AA5D-F0885641F18B}" dt="2022-11-18T10:27:09.640" v="2238" actId="790"/>
            <ac:spMkLst>
              <pc:docMk/>
              <pc:sldMasterMk cId="180999990" sldId="2147483648"/>
              <pc:sldLayoutMk cId="1480811344" sldId="2147483691"/>
              <ac:spMk id="7" creationId="{00000000-0000-0000-0000-000000000000}"/>
            </ac:spMkLst>
          </pc:spChg>
          <pc:spChg chg="mod">
            <ac:chgData name="Lars Boe Riber" userId="a0746655-6c86-46e8-9fa0-3fdc9fc77da6" providerId="ADAL" clId="{4E480DD1-6EB6-40E9-AA5D-F0885641F18B}" dt="2022-11-18T10:27:09.650" v="2249" actId="790"/>
            <ac:spMkLst>
              <pc:docMk/>
              <pc:sldMasterMk cId="180999990" sldId="2147483648"/>
              <pc:sldLayoutMk cId="1480811344" sldId="2147483691"/>
              <ac:spMk id="11" creationId="{01B40D1A-C761-49C0-BCA5-BA2972BD1B0E}"/>
            </ac:spMkLst>
          </pc:spChg>
        </pc:sldLayoutChg>
        <pc:sldLayoutChg chg="modSp mod">
          <pc:chgData name="Lars Boe Riber" userId="a0746655-6c86-46e8-9fa0-3fdc9fc77da6" providerId="ADAL" clId="{4E480DD1-6EB6-40E9-AA5D-F0885641F18B}" dt="2022-11-18T10:27:09.661" v="2261" actId="790"/>
          <pc:sldLayoutMkLst>
            <pc:docMk/>
            <pc:sldMasterMk cId="180999990" sldId="2147483648"/>
            <pc:sldLayoutMk cId="4004401256" sldId="2147483692"/>
          </pc:sldLayoutMkLst>
          <pc:spChg chg="mod">
            <ac:chgData name="Lars Boe Riber" userId="a0746655-6c86-46e8-9fa0-3fdc9fc77da6" providerId="ADAL" clId="{4E480DD1-6EB6-40E9-AA5D-F0885641F18B}" dt="2022-11-18T10:27:09.652" v="2252" actId="790"/>
            <ac:spMkLst>
              <pc:docMk/>
              <pc:sldMasterMk cId="180999990" sldId="2147483648"/>
              <pc:sldLayoutMk cId="4004401256" sldId="2147483692"/>
              <ac:spMk id="2" creationId="{00000000-0000-0000-0000-000000000000}"/>
            </ac:spMkLst>
          </pc:spChg>
          <pc:spChg chg="mod">
            <ac:chgData name="Lars Boe Riber" userId="a0746655-6c86-46e8-9fa0-3fdc9fc77da6" providerId="ADAL" clId="{4E480DD1-6EB6-40E9-AA5D-F0885641F18B}" dt="2022-11-18T10:27:09.654" v="2254" actId="790"/>
            <ac:spMkLst>
              <pc:docMk/>
              <pc:sldMasterMk cId="180999990" sldId="2147483648"/>
              <pc:sldLayoutMk cId="4004401256" sldId="2147483692"/>
              <ac:spMk id="3" creationId="{00000000-0000-0000-0000-000000000000}"/>
            </ac:spMkLst>
          </pc:spChg>
          <pc:spChg chg="mod">
            <ac:chgData name="Lars Boe Riber" userId="a0746655-6c86-46e8-9fa0-3fdc9fc77da6" providerId="ADAL" clId="{4E480DD1-6EB6-40E9-AA5D-F0885641F18B}" dt="2022-11-18T10:27:09.656" v="2256" actId="790"/>
            <ac:spMkLst>
              <pc:docMk/>
              <pc:sldMasterMk cId="180999990" sldId="2147483648"/>
              <pc:sldLayoutMk cId="4004401256" sldId="2147483692"/>
              <ac:spMk id="4" creationId="{4E3D603A-7559-4371-ACE3-B12E20084BAE}"/>
            </ac:spMkLst>
          </pc:spChg>
          <pc:spChg chg="mod">
            <ac:chgData name="Lars Boe Riber" userId="a0746655-6c86-46e8-9fa0-3fdc9fc77da6" providerId="ADAL" clId="{4E480DD1-6EB6-40E9-AA5D-F0885641F18B}" dt="2022-11-18T10:27:09.657" v="2257" actId="790"/>
            <ac:spMkLst>
              <pc:docMk/>
              <pc:sldMasterMk cId="180999990" sldId="2147483648"/>
              <pc:sldLayoutMk cId="4004401256" sldId="2147483692"/>
              <ac:spMk id="5" creationId="{4518BCD5-ACF2-4924-B2F7-A3E3F0EBDB44}"/>
            </ac:spMkLst>
          </pc:spChg>
          <pc:spChg chg="mod">
            <ac:chgData name="Lars Boe Riber" userId="a0746655-6c86-46e8-9fa0-3fdc9fc77da6" providerId="ADAL" clId="{4E480DD1-6EB6-40E9-AA5D-F0885641F18B}" dt="2022-11-18T10:27:09.659" v="2259" actId="790"/>
            <ac:spMkLst>
              <pc:docMk/>
              <pc:sldMasterMk cId="180999990" sldId="2147483648"/>
              <pc:sldLayoutMk cId="4004401256" sldId="2147483692"/>
              <ac:spMk id="6" creationId="{2FEB807C-31DA-4CEA-947C-A0D8107B02E3}"/>
            </ac:spMkLst>
          </pc:spChg>
          <pc:spChg chg="mod">
            <ac:chgData name="Lars Boe Riber" userId="a0746655-6c86-46e8-9fa0-3fdc9fc77da6" providerId="ADAL" clId="{4E480DD1-6EB6-40E9-AA5D-F0885641F18B}" dt="2022-11-18T10:27:09.651" v="2250" actId="790"/>
            <ac:spMkLst>
              <pc:docMk/>
              <pc:sldMasterMk cId="180999990" sldId="2147483648"/>
              <pc:sldLayoutMk cId="4004401256" sldId="2147483692"/>
              <ac:spMk id="7" creationId="{00000000-0000-0000-0000-000000000000}"/>
            </ac:spMkLst>
          </pc:spChg>
          <pc:spChg chg="mod">
            <ac:chgData name="Lars Boe Riber" userId="a0746655-6c86-46e8-9fa0-3fdc9fc77da6" providerId="ADAL" clId="{4E480DD1-6EB6-40E9-AA5D-F0885641F18B}" dt="2022-11-18T10:27:09.661" v="2261" actId="790"/>
            <ac:spMkLst>
              <pc:docMk/>
              <pc:sldMasterMk cId="180999990" sldId="2147483648"/>
              <pc:sldLayoutMk cId="4004401256" sldId="2147483692"/>
              <ac:spMk id="10" creationId="{D556956A-96D6-4D98-8C29-19A32FDF3B33}"/>
            </ac:spMkLst>
          </pc:spChg>
        </pc:sldLayoutChg>
        <pc:sldLayoutChg chg="modSp mod">
          <pc:chgData name="Lars Boe Riber" userId="a0746655-6c86-46e8-9fa0-3fdc9fc77da6" providerId="ADAL" clId="{4E480DD1-6EB6-40E9-AA5D-F0885641F18B}" dt="2022-11-18T10:27:09.671" v="2273" actId="790"/>
          <pc:sldLayoutMkLst>
            <pc:docMk/>
            <pc:sldMasterMk cId="180999990" sldId="2147483648"/>
            <pc:sldLayoutMk cId="709031245" sldId="2147483693"/>
          </pc:sldLayoutMkLst>
          <pc:spChg chg="mod">
            <ac:chgData name="Lars Boe Riber" userId="a0746655-6c86-46e8-9fa0-3fdc9fc77da6" providerId="ADAL" clId="{4E480DD1-6EB6-40E9-AA5D-F0885641F18B}" dt="2022-11-18T10:27:09.663" v="2264" actId="790"/>
            <ac:spMkLst>
              <pc:docMk/>
              <pc:sldMasterMk cId="180999990" sldId="2147483648"/>
              <pc:sldLayoutMk cId="709031245" sldId="2147483693"/>
              <ac:spMk id="2" creationId="{00000000-0000-0000-0000-000000000000}"/>
            </ac:spMkLst>
          </pc:spChg>
          <pc:spChg chg="mod">
            <ac:chgData name="Lars Boe Riber" userId="a0746655-6c86-46e8-9fa0-3fdc9fc77da6" providerId="ADAL" clId="{4E480DD1-6EB6-40E9-AA5D-F0885641F18B}" dt="2022-11-18T10:27:09.665" v="2266" actId="790"/>
            <ac:spMkLst>
              <pc:docMk/>
              <pc:sldMasterMk cId="180999990" sldId="2147483648"/>
              <pc:sldLayoutMk cId="709031245" sldId="2147483693"/>
              <ac:spMk id="3" creationId="{00000000-0000-0000-0000-000000000000}"/>
            </ac:spMkLst>
          </pc:spChg>
          <pc:spChg chg="mod">
            <ac:chgData name="Lars Boe Riber" userId="a0746655-6c86-46e8-9fa0-3fdc9fc77da6" providerId="ADAL" clId="{4E480DD1-6EB6-40E9-AA5D-F0885641F18B}" dt="2022-11-18T10:27:09.667" v="2268" actId="790"/>
            <ac:spMkLst>
              <pc:docMk/>
              <pc:sldMasterMk cId="180999990" sldId="2147483648"/>
              <pc:sldLayoutMk cId="709031245" sldId="2147483693"/>
              <ac:spMk id="4" creationId="{4E3D603A-7559-4371-ACE3-B12E20084BAE}"/>
            </ac:spMkLst>
          </pc:spChg>
          <pc:spChg chg="mod">
            <ac:chgData name="Lars Boe Riber" userId="a0746655-6c86-46e8-9fa0-3fdc9fc77da6" providerId="ADAL" clId="{4E480DD1-6EB6-40E9-AA5D-F0885641F18B}" dt="2022-11-18T10:27:09.668" v="2269" actId="790"/>
            <ac:spMkLst>
              <pc:docMk/>
              <pc:sldMasterMk cId="180999990" sldId="2147483648"/>
              <pc:sldLayoutMk cId="709031245" sldId="2147483693"/>
              <ac:spMk id="5" creationId="{4518BCD5-ACF2-4924-B2F7-A3E3F0EBDB44}"/>
            </ac:spMkLst>
          </pc:spChg>
          <pc:spChg chg="mod">
            <ac:chgData name="Lars Boe Riber" userId="a0746655-6c86-46e8-9fa0-3fdc9fc77da6" providerId="ADAL" clId="{4E480DD1-6EB6-40E9-AA5D-F0885641F18B}" dt="2022-11-18T10:27:09.670" v="2271" actId="790"/>
            <ac:spMkLst>
              <pc:docMk/>
              <pc:sldMasterMk cId="180999990" sldId="2147483648"/>
              <pc:sldLayoutMk cId="709031245" sldId="2147483693"/>
              <ac:spMk id="6" creationId="{2FEB807C-31DA-4CEA-947C-A0D8107B02E3}"/>
            </ac:spMkLst>
          </pc:spChg>
          <pc:spChg chg="mod">
            <ac:chgData name="Lars Boe Riber" userId="a0746655-6c86-46e8-9fa0-3fdc9fc77da6" providerId="ADAL" clId="{4E480DD1-6EB6-40E9-AA5D-F0885641F18B}" dt="2022-11-18T10:27:09.661" v="2262" actId="790"/>
            <ac:spMkLst>
              <pc:docMk/>
              <pc:sldMasterMk cId="180999990" sldId="2147483648"/>
              <pc:sldLayoutMk cId="709031245" sldId="2147483693"/>
              <ac:spMk id="7" creationId="{00000000-0000-0000-0000-000000000000}"/>
            </ac:spMkLst>
          </pc:spChg>
          <pc:spChg chg="mod">
            <ac:chgData name="Lars Boe Riber" userId="a0746655-6c86-46e8-9fa0-3fdc9fc77da6" providerId="ADAL" clId="{4E480DD1-6EB6-40E9-AA5D-F0885641F18B}" dt="2022-11-18T10:27:09.671" v="2273" actId="790"/>
            <ac:spMkLst>
              <pc:docMk/>
              <pc:sldMasterMk cId="180999990" sldId="2147483648"/>
              <pc:sldLayoutMk cId="709031245" sldId="2147483693"/>
              <ac:spMk id="10" creationId="{0224D57B-23DE-43CD-A5E3-B1FD72D6C8DA}"/>
            </ac:spMkLst>
          </pc:spChg>
        </pc:sldLayoutChg>
        <pc:sldLayoutChg chg="modSp mod">
          <pc:chgData name="Lars Boe Riber" userId="a0746655-6c86-46e8-9fa0-3fdc9fc77da6" providerId="ADAL" clId="{4E480DD1-6EB6-40E9-AA5D-F0885641F18B}" dt="2022-11-18T10:27:09.684" v="2285" actId="790"/>
          <pc:sldLayoutMkLst>
            <pc:docMk/>
            <pc:sldMasterMk cId="180999990" sldId="2147483648"/>
            <pc:sldLayoutMk cId="223604310" sldId="2147483694"/>
          </pc:sldLayoutMkLst>
          <pc:spChg chg="mod">
            <ac:chgData name="Lars Boe Riber" userId="a0746655-6c86-46e8-9fa0-3fdc9fc77da6" providerId="ADAL" clId="{4E480DD1-6EB6-40E9-AA5D-F0885641F18B}" dt="2022-11-18T10:27:09.680" v="2281" actId="790"/>
            <ac:spMkLst>
              <pc:docMk/>
              <pc:sldMasterMk cId="180999990" sldId="2147483648"/>
              <pc:sldLayoutMk cId="223604310" sldId="2147483694"/>
              <ac:spMk id="8" creationId="{85D6EC3A-345A-46A8-866F-80BE98B51EA1}"/>
            </ac:spMkLst>
          </pc:spChg>
          <pc:spChg chg="mod">
            <ac:chgData name="Lars Boe Riber" userId="a0746655-6c86-46e8-9fa0-3fdc9fc77da6" providerId="ADAL" clId="{4E480DD1-6EB6-40E9-AA5D-F0885641F18B}" dt="2022-11-18T10:27:09.679" v="2279" actId="790"/>
            <ac:spMkLst>
              <pc:docMk/>
              <pc:sldMasterMk cId="180999990" sldId="2147483648"/>
              <pc:sldLayoutMk cId="223604310" sldId="2147483694"/>
              <ac:spMk id="10" creationId="{A870D1C3-7E2E-4C71-B669-3496D73E1AB6}"/>
            </ac:spMkLst>
          </pc:spChg>
          <pc:spChg chg="mod">
            <ac:chgData name="Lars Boe Riber" userId="a0746655-6c86-46e8-9fa0-3fdc9fc77da6" providerId="ADAL" clId="{4E480DD1-6EB6-40E9-AA5D-F0885641F18B}" dt="2022-11-18T10:27:09.674" v="2275" actId="790"/>
            <ac:spMkLst>
              <pc:docMk/>
              <pc:sldMasterMk cId="180999990" sldId="2147483648"/>
              <pc:sldLayoutMk cId="223604310" sldId="2147483694"/>
              <ac:spMk id="11" creationId="{7C5422F3-5F2C-463F-A5A3-46F0157D8240}"/>
            </ac:spMkLst>
          </pc:spChg>
          <pc:spChg chg="mod">
            <ac:chgData name="Lars Boe Riber" userId="a0746655-6c86-46e8-9fa0-3fdc9fc77da6" providerId="ADAL" clId="{4E480DD1-6EB6-40E9-AA5D-F0885641F18B}" dt="2022-11-18T10:27:09.677" v="2277" actId="790"/>
            <ac:spMkLst>
              <pc:docMk/>
              <pc:sldMasterMk cId="180999990" sldId="2147483648"/>
              <pc:sldLayoutMk cId="223604310" sldId="2147483694"/>
              <ac:spMk id="12" creationId="{98C6F70D-EDED-4332-A39E-FEB70236951D}"/>
            </ac:spMkLst>
          </pc:spChg>
          <pc:spChg chg="mod">
            <ac:chgData name="Lars Boe Riber" userId="a0746655-6c86-46e8-9fa0-3fdc9fc77da6" providerId="ADAL" clId="{4E480DD1-6EB6-40E9-AA5D-F0885641F18B}" dt="2022-11-18T10:27:09.678" v="2278" actId="790"/>
            <ac:spMkLst>
              <pc:docMk/>
              <pc:sldMasterMk cId="180999990" sldId="2147483648"/>
              <pc:sldLayoutMk cId="223604310" sldId="2147483694"/>
              <ac:spMk id="13" creationId="{967103C1-9540-4364-BCE9-15A87F07812F}"/>
            </ac:spMkLst>
          </pc:spChg>
          <pc:spChg chg="mod">
            <ac:chgData name="Lars Boe Riber" userId="a0746655-6c86-46e8-9fa0-3fdc9fc77da6" providerId="ADAL" clId="{4E480DD1-6EB6-40E9-AA5D-F0885641F18B}" dt="2022-11-18T10:27:09.682" v="2283" actId="790"/>
            <ac:spMkLst>
              <pc:docMk/>
              <pc:sldMasterMk cId="180999990" sldId="2147483648"/>
              <pc:sldLayoutMk cId="223604310" sldId="2147483694"/>
              <ac:spMk id="15" creationId="{9937409C-206B-454B-8F34-A6BF4D2A9B2A}"/>
            </ac:spMkLst>
          </pc:spChg>
          <pc:spChg chg="mod">
            <ac:chgData name="Lars Boe Riber" userId="a0746655-6c86-46e8-9fa0-3fdc9fc77da6" providerId="ADAL" clId="{4E480DD1-6EB6-40E9-AA5D-F0885641F18B}" dt="2022-11-18T10:27:09.684" v="2285" actId="790"/>
            <ac:spMkLst>
              <pc:docMk/>
              <pc:sldMasterMk cId="180999990" sldId="2147483648"/>
              <pc:sldLayoutMk cId="223604310" sldId="2147483694"/>
              <ac:spMk id="16" creationId="{AAC92615-713B-4965-8112-B0AF203E307A}"/>
            </ac:spMkLst>
          </pc:spChg>
        </pc:sldLayoutChg>
        <pc:sldLayoutChg chg="modSp mod">
          <pc:chgData name="Lars Boe Riber" userId="a0746655-6c86-46e8-9fa0-3fdc9fc77da6" providerId="ADAL" clId="{4E480DD1-6EB6-40E9-AA5D-F0885641F18B}" dt="2022-11-18T10:27:09.691" v="2292" actId="790"/>
          <pc:sldLayoutMkLst>
            <pc:docMk/>
            <pc:sldMasterMk cId="180999990" sldId="2147483648"/>
            <pc:sldLayoutMk cId="1990783902" sldId="2147483695"/>
          </pc:sldLayoutMkLst>
          <pc:spChg chg="mod">
            <ac:chgData name="Lars Boe Riber" userId="a0746655-6c86-46e8-9fa0-3fdc9fc77da6" providerId="ADAL" clId="{4E480DD1-6EB6-40E9-AA5D-F0885641F18B}" dt="2022-11-18T10:27:09.686" v="2287" actId="790"/>
            <ac:spMkLst>
              <pc:docMk/>
              <pc:sldMasterMk cId="180999990" sldId="2147483648"/>
              <pc:sldLayoutMk cId="1990783902" sldId="2147483695"/>
              <ac:spMk id="2" creationId="{00000000-0000-0000-0000-000000000000}"/>
            </ac:spMkLst>
          </pc:spChg>
          <pc:spChg chg="mod">
            <ac:chgData name="Lars Boe Riber" userId="a0746655-6c86-46e8-9fa0-3fdc9fc77da6" providerId="ADAL" clId="{4E480DD1-6EB6-40E9-AA5D-F0885641F18B}" dt="2022-11-18T10:27:09.688" v="2289" actId="790"/>
            <ac:spMkLst>
              <pc:docMk/>
              <pc:sldMasterMk cId="180999990" sldId="2147483648"/>
              <pc:sldLayoutMk cId="1990783902" sldId="2147483695"/>
              <ac:spMk id="6" creationId="{E3905E07-E31B-4F3D-8575-C55D9D8896A4}"/>
            </ac:spMkLst>
          </pc:spChg>
          <pc:spChg chg="mod">
            <ac:chgData name="Lars Boe Riber" userId="a0746655-6c86-46e8-9fa0-3fdc9fc77da6" providerId="ADAL" clId="{4E480DD1-6EB6-40E9-AA5D-F0885641F18B}" dt="2022-11-18T10:27:09.689" v="2290" actId="790"/>
            <ac:spMkLst>
              <pc:docMk/>
              <pc:sldMasterMk cId="180999990" sldId="2147483648"/>
              <pc:sldLayoutMk cId="1990783902" sldId="2147483695"/>
              <ac:spMk id="7" creationId="{3E2E6126-5A1A-4F07-8EC7-3F74BED72C43}"/>
            </ac:spMkLst>
          </pc:spChg>
          <pc:spChg chg="mod">
            <ac:chgData name="Lars Boe Riber" userId="a0746655-6c86-46e8-9fa0-3fdc9fc77da6" providerId="ADAL" clId="{4E480DD1-6EB6-40E9-AA5D-F0885641F18B}" dt="2022-11-18T10:27:09.691" v="2292" actId="790"/>
            <ac:spMkLst>
              <pc:docMk/>
              <pc:sldMasterMk cId="180999990" sldId="2147483648"/>
              <pc:sldLayoutMk cId="1990783902" sldId="2147483695"/>
              <ac:spMk id="8" creationId="{7FF46BFE-D75C-482A-B035-34180EC5D4B0}"/>
            </ac:spMkLst>
          </pc:spChg>
        </pc:sldLayoutChg>
        <pc:sldLayoutChg chg="modSp mod">
          <pc:chgData name="Lars Boe Riber" userId="a0746655-6c86-46e8-9fa0-3fdc9fc77da6" providerId="ADAL" clId="{4E480DD1-6EB6-40E9-AA5D-F0885641F18B}" dt="2022-11-18T10:27:09.696" v="2297" actId="790"/>
          <pc:sldLayoutMkLst>
            <pc:docMk/>
            <pc:sldMasterMk cId="180999990" sldId="2147483648"/>
            <pc:sldLayoutMk cId="1954852668" sldId="2147483696"/>
          </pc:sldLayoutMkLst>
          <pc:spChg chg="mod">
            <ac:chgData name="Lars Boe Riber" userId="a0746655-6c86-46e8-9fa0-3fdc9fc77da6" providerId="ADAL" clId="{4E480DD1-6EB6-40E9-AA5D-F0885641F18B}" dt="2022-11-18T10:27:09.693" v="2294" actId="790"/>
            <ac:spMkLst>
              <pc:docMk/>
              <pc:sldMasterMk cId="180999990" sldId="2147483648"/>
              <pc:sldLayoutMk cId="1954852668" sldId="2147483696"/>
              <ac:spMk id="5" creationId="{2BD2F7A9-B0D3-418A-9805-E4833A53A746}"/>
            </ac:spMkLst>
          </pc:spChg>
          <pc:spChg chg="mod">
            <ac:chgData name="Lars Boe Riber" userId="a0746655-6c86-46e8-9fa0-3fdc9fc77da6" providerId="ADAL" clId="{4E480DD1-6EB6-40E9-AA5D-F0885641F18B}" dt="2022-11-18T10:27:09.694" v="2295" actId="790"/>
            <ac:spMkLst>
              <pc:docMk/>
              <pc:sldMasterMk cId="180999990" sldId="2147483648"/>
              <pc:sldLayoutMk cId="1954852668" sldId="2147483696"/>
              <ac:spMk id="6" creationId="{0605BC24-963D-470F-A870-C18B9237C94E}"/>
            </ac:spMkLst>
          </pc:spChg>
          <pc:spChg chg="mod">
            <ac:chgData name="Lars Boe Riber" userId="a0746655-6c86-46e8-9fa0-3fdc9fc77da6" providerId="ADAL" clId="{4E480DD1-6EB6-40E9-AA5D-F0885641F18B}" dt="2022-11-18T10:27:09.696" v="2297" actId="790"/>
            <ac:spMkLst>
              <pc:docMk/>
              <pc:sldMasterMk cId="180999990" sldId="2147483648"/>
              <pc:sldLayoutMk cId="1954852668" sldId="2147483696"/>
              <ac:spMk id="7" creationId="{B9638358-50F7-4700-A532-2128C5051D8C}"/>
            </ac:spMkLst>
          </pc:spChg>
        </pc:sldLayoutChg>
        <pc:sldLayoutChg chg="modSp mod">
          <pc:chgData name="Lars Boe Riber" userId="a0746655-6c86-46e8-9fa0-3fdc9fc77da6" providerId="ADAL" clId="{4E480DD1-6EB6-40E9-AA5D-F0885641F18B}" dt="2022-11-18T10:27:09.706" v="2307" actId="790"/>
          <pc:sldLayoutMkLst>
            <pc:docMk/>
            <pc:sldMasterMk cId="180999990" sldId="2147483648"/>
            <pc:sldLayoutMk cId="3797425276" sldId="2147483697"/>
          </pc:sldLayoutMkLst>
          <pc:spChg chg="mod">
            <ac:chgData name="Lars Boe Riber" userId="a0746655-6c86-46e8-9fa0-3fdc9fc77da6" providerId="ADAL" clId="{4E480DD1-6EB6-40E9-AA5D-F0885641F18B}" dt="2022-11-18T10:27:09.704" v="2305" actId="790"/>
            <ac:spMkLst>
              <pc:docMk/>
              <pc:sldMasterMk cId="180999990" sldId="2147483648"/>
              <pc:sldLayoutMk cId="3797425276" sldId="2147483697"/>
              <ac:spMk id="2" creationId="{00000000-0000-0000-0000-000000000000}"/>
            </ac:spMkLst>
          </pc:spChg>
          <pc:spChg chg="mod">
            <ac:chgData name="Lars Boe Riber" userId="a0746655-6c86-46e8-9fa0-3fdc9fc77da6" providerId="ADAL" clId="{4E480DD1-6EB6-40E9-AA5D-F0885641F18B}" dt="2022-11-18T10:27:09.702" v="2303" actId="790"/>
            <ac:spMkLst>
              <pc:docMk/>
              <pc:sldMasterMk cId="180999990" sldId="2147483648"/>
              <pc:sldLayoutMk cId="3797425276" sldId="2147483697"/>
              <ac:spMk id="7" creationId="{00000000-0000-0000-0000-000000000000}"/>
            </ac:spMkLst>
          </pc:spChg>
          <pc:spChg chg="mod">
            <ac:chgData name="Lars Boe Riber" userId="a0746655-6c86-46e8-9fa0-3fdc9fc77da6" providerId="ADAL" clId="{4E480DD1-6EB6-40E9-AA5D-F0885641F18B}" dt="2022-11-18T10:27:09.698" v="2299" actId="790"/>
            <ac:spMkLst>
              <pc:docMk/>
              <pc:sldMasterMk cId="180999990" sldId="2147483648"/>
              <pc:sldLayoutMk cId="3797425276" sldId="2147483697"/>
              <ac:spMk id="10" creationId="{38B45A83-AD80-4AC8-A603-5DC2AFC3EBEE}"/>
            </ac:spMkLst>
          </pc:spChg>
          <pc:spChg chg="mod">
            <ac:chgData name="Lars Boe Riber" userId="a0746655-6c86-46e8-9fa0-3fdc9fc77da6" providerId="ADAL" clId="{4E480DD1-6EB6-40E9-AA5D-F0885641F18B}" dt="2022-11-18T10:27:09.698" v="2300" actId="790"/>
            <ac:spMkLst>
              <pc:docMk/>
              <pc:sldMasterMk cId="180999990" sldId="2147483648"/>
              <pc:sldLayoutMk cId="3797425276" sldId="2147483697"/>
              <ac:spMk id="11" creationId="{E6681B86-2D19-4D3D-A83D-CCC19C2ECE32}"/>
            </ac:spMkLst>
          </pc:spChg>
          <pc:spChg chg="mod">
            <ac:chgData name="Lars Boe Riber" userId="a0746655-6c86-46e8-9fa0-3fdc9fc77da6" providerId="ADAL" clId="{4E480DD1-6EB6-40E9-AA5D-F0885641F18B}" dt="2022-11-18T10:27:09.701" v="2302" actId="790"/>
            <ac:spMkLst>
              <pc:docMk/>
              <pc:sldMasterMk cId="180999990" sldId="2147483648"/>
              <pc:sldLayoutMk cId="3797425276" sldId="2147483697"/>
              <ac:spMk id="12" creationId="{454ABD19-90F9-480D-A030-70CEC9079BAB}"/>
            </ac:spMkLst>
          </pc:spChg>
          <pc:spChg chg="mod">
            <ac:chgData name="Lars Boe Riber" userId="a0746655-6c86-46e8-9fa0-3fdc9fc77da6" providerId="ADAL" clId="{4E480DD1-6EB6-40E9-AA5D-F0885641F18B}" dt="2022-11-18T10:27:09.706" v="2307" actId="790"/>
            <ac:spMkLst>
              <pc:docMk/>
              <pc:sldMasterMk cId="180999990" sldId="2147483648"/>
              <pc:sldLayoutMk cId="3797425276" sldId="2147483697"/>
              <ac:spMk id="15" creationId="{7D419BB8-DA67-44EC-8B75-16DF8EF149E9}"/>
            </ac:spMkLst>
          </pc:spChg>
        </pc:sldLayoutChg>
        <pc:sldLayoutChg chg="modSp mod">
          <pc:chgData name="Lars Boe Riber" userId="a0746655-6c86-46e8-9fa0-3fdc9fc77da6" providerId="ADAL" clId="{4E480DD1-6EB6-40E9-AA5D-F0885641F18B}" dt="2022-11-18T10:27:09.718" v="2321" actId="790"/>
          <pc:sldLayoutMkLst>
            <pc:docMk/>
            <pc:sldMasterMk cId="180999990" sldId="2147483648"/>
            <pc:sldLayoutMk cId="3980217615" sldId="2147483698"/>
          </pc:sldLayoutMkLst>
          <pc:spChg chg="mod">
            <ac:chgData name="Lars Boe Riber" userId="a0746655-6c86-46e8-9fa0-3fdc9fc77da6" providerId="ADAL" clId="{4E480DD1-6EB6-40E9-AA5D-F0885641F18B}" dt="2022-11-18T10:27:09.717" v="2319" actId="790"/>
            <ac:spMkLst>
              <pc:docMk/>
              <pc:sldMasterMk cId="180999990" sldId="2147483648"/>
              <pc:sldLayoutMk cId="3980217615" sldId="2147483698"/>
              <ac:spMk id="2" creationId="{00000000-0000-0000-0000-000000000000}"/>
            </ac:spMkLst>
          </pc:spChg>
          <pc:spChg chg="mod">
            <ac:chgData name="Lars Boe Riber" userId="a0746655-6c86-46e8-9fa0-3fdc9fc77da6" providerId="ADAL" clId="{4E480DD1-6EB6-40E9-AA5D-F0885641F18B}" dt="2022-11-18T10:27:09.708" v="2309" actId="790"/>
            <ac:spMkLst>
              <pc:docMk/>
              <pc:sldMasterMk cId="180999990" sldId="2147483648"/>
              <pc:sldLayoutMk cId="3980217615" sldId="2147483698"/>
              <ac:spMk id="10" creationId="{38B45A83-AD80-4AC8-A603-5DC2AFC3EBEE}"/>
            </ac:spMkLst>
          </pc:spChg>
          <pc:spChg chg="mod">
            <ac:chgData name="Lars Boe Riber" userId="a0746655-6c86-46e8-9fa0-3fdc9fc77da6" providerId="ADAL" clId="{4E480DD1-6EB6-40E9-AA5D-F0885641F18B}" dt="2022-11-18T10:27:09.709" v="2310" actId="790"/>
            <ac:spMkLst>
              <pc:docMk/>
              <pc:sldMasterMk cId="180999990" sldId="2147483648"/>
              <pc:sldLayoutMk cId="3980217615" sldId="2147483698"/>
              <ac:spMk id="11" creationId="{E6681B86-2D19-4D3D-A83D-CCC19C2ECE32}"/>
            </ac:spMkLst>
          </pc:spChg>
          <pc:spChg chg="mod">
            <ac:chgData name="Lars Boe Riber" userId="a0746655-6c86-46e8-9fa0-3fdc9fc77da6" providerId="ADAL" clId="{4E480DD1-6EB6-40E9-AA5D-F0885641F18B}" dt="2022-11-18T10:27:09.711" v="2312" actId="790"/>
            <ac:spMkLst>
              <pc:docMk/>
              <pc:sldMasterMk cId="180999990" sldId="2147483648"/>
              <pc:sldLayoutMk cId="3980217615" sldId="2147483698"/>
              <ac:spMk id="12" creationId="{454ABD19-90F9-480D-A030-70CEC9079BAB}"/>
            </ac:spMkLst>
          </pc:spChg>
          <pc:spChg chg="mod">
            <ac:chgData name="Lars Boe Riber" userId="a0746655-6c86-46e8-9fa0-3fdc9fc77da6" providerId="ADAL" clId="{4E480DD1-6EB6-40E9-AA5D-F0885641F18B}" dt="2022-11-18T10:27:09.718" v="2321" actId="790"/>
            <ac:spMkLst>
              <pc:docMk/>
              <pc:sldMasterMk cId="180999990" sldId="2147483648"/>
              <pc:sldLayoutMk cId="3980217615" sldId="2147483698"/>
              <ac:spMk id="13" creationId="{A17E5844-AA2E-48C4-91FF-39484DFE723C}"/>
            </ac:spMkLst>
          </pc:spChg>
          <pc:spChg chg="mod">
            <ac:chgData name="Lars Boe Riber" userId="a0746655-6c86-46e8-9fa0-3fdc9fc77da6" providerId="ADAL" clId="{4E480DD1-6EB6-40E9-AA5D-F0885641F18B}" dt="2022-11-18T10:27:09.712" v="2313" actId="790"/>
            <ac:spMkLst>
              <pc:docMk/>
              <pc:sldMasterMk cId="180999990" sldId="2147483648"/>
              <pc:sldLayoutMk cId="3980217615" sldId="2147483698"/>
              <ac:spMk id="14" creationId="{6E4254E8-0058-4B51-AE94-DF452D313C5C}"/>
            </ac:spMkLst>
          </pc:spChg>
          <pc:spChg chg="mod">
            <ac:chgData name="Lars Boe Riber" userId="a0746655-6c86-46e8-9fa0-3fdc9fc77da6" providerId="ADAL" clId="{4E480DD1-6EB6-40E9-AA5D-F0885641F18B}" dt="2022-11-18T10:27:09.715" v="2317" actId="790"/>
            <ac:spMkLst>
              <pc:docMk/>
              <pc:sldMasterMk cId="180999990" sldId="2147483648"/>
              <pc:sldLayoutMk cId="3980217615" sldId="2147483698"/>
              <ac:spMk id="15" creationId="{A2083184-4833-48EE-B693-FB3137B41BB0}"/>
            </ac:spMkLst>
          </pc:spChg>
          <pc:spChg chg="mod">
            <ac:chgData name="Lars Boe Riber" userId="a0746655-6c86-46e8-9fa0-3fdc9fc77da6" providerId="ADAL" clId="{4E480DD1-6EB6-40E9-AA5D-F0885641F18B}" dt="2022-11-18T10:27:09.713" v="2315" actId="790"/>
            <ac:spMkLst>
              <pc:docMk/>
              <pc:sldMasterMk cId="180999990" sldId="2147483648"/>
              <pc:sldLayoutMk cId="3980217615" sldId="2147483698"/>
              <ac:spMk id="18" creationId="{6AFBD548-0737-4492-BE87-1A3682008EB8}"/>
            </ac:spMkLst>
          </pc:spChg>
        </pc:sldLayoutChg>
        <pc:sldLayoutChg chg="modSp mod">
          <pc:chgData name="Lars Boe Riber" userId="a0746655-6c86-46e8-9fa0-3fdc9fc77da6" providerId="ADAL" clId="{4E480DD1-6EB6-40E9-AA5D-F0885641F18B}" dt="2022-11-18T10:27:09.730" v="2335" actId="790"/>
          <pc:sldLayoutMkLst>
            <pc:docMk/>
            <pc:sldMasterMk cId="180999990" sldId="2147483648"/>
            <pc:sldLayoutMk cId="2236477381" sldId="2147483699"/>
          </pc:sldLayoutMkLst>
          <pc:spChg chg="mod">
            <ac:chgData name="Lars Boe Riber" userId="a0746655-6c86-46e8-9fa0-3fdc9fc77da6" providerId="ADAL" clId="{4E480DD1-6EB6-40E9-AA5D-F0885641F18B}" dt="2022-11-18T10:27:09.729" v="2333" actId="790"/>
            <ac:spMkLst>
              <pc:docMk/>
              <pc:sldMasterMk cId="180999990" sldId="2147483648"/>
              <pc:sldLayoutMk cId="2236477381" sldId="2147483699"/>
              <ac:spMk id="2" creationId="{00000000-0000-0000-0000-000000000000}"/>
            </ac:spMkLst>
          </pc:spChg>
          <pc:spChg chg="mod">
            <ac:chgData name="Lars Boe Riber" userId="a0746655-6c86-46e8-9fa0-3fdc9fc77da6" providerId="ADAL" clId="{4E480DD1-6EB6-40E9-AA5D-F0885641F18B}" dt="2022-11-18T10:27:09.721" v="2323" actId="790"/>
            <ac:spMkLst>
              <pc:docMk/>
              <pc:sldMasterMk cId="180999990" sldId="2147483648"/>
              <pc:sldLayoutMk cId="2236477381" sldId="2147483699"/>
              <ac:spMk id="10" creationId="{38B45A83-AD80-4AC8-A603-5DC2AFC3EBEE}"/>
            </ac:spMkLst>
          </pc:spChg>
          <pc:spChg chg="mod">
            <ac:chgData name="Lars Boe Riber" userId="a0746655-6c86-46e8-9fa0-3fdc9fc77da6" providerId="ADAL" clId="{4E480DD1-6EB6-40E9-AA5D-F0885641F18B}" dt="2022-11-18T10:27:09.721" v="2324" actId="790"/>
            <ac:spMkLst>
              <pc:docMk/>
              <pc:sldMasterMk cId="180999990" sldId="2147483648"/>
              <pc:sldLayoutMk cId="2236477381" sldId="2147483699"/>
              <ac:spMk id="11" creationId="{E6681B86-2D19-4D3D-A83D-CCC19C2ECE32}"/>
            </ac:spMkLst>
          </pc:spChg>
          <pc:spChg chg="mod">
            <ac:chgData name="Lars Boe Riber" userId="a0746655-6c86-46e8-9fa0-3fdc9fc77da6" providerId="ADAL" clId="{4E480DD1-6EB6-40E9-AA5D-F0885641F18B}" dt="2022-11-18T10:27:09.723" v="2326" actId="790"/>
            <ac:spMkLst>
              <pc:docMk/>
              <pc:sldMasterMk cId="180999990" sldId="2147483648"/>
              <pc:sldLayoutMk cId="2236477381" sldId="2147483699"/>
              <ac:spMk id="12" creationId="{454ABD19-90F9-480D-A030-70CEC9079BAB}"/>
            </ac:spMkLst>
          </pc:spChg>
          <pc:spChg chg="mod">
            <ac:chgData name="Lars Boe Riber" userId="a0746655-6c86-46e8-9fa0-3fdc9fc77da6" providerId="ADAL" clId="{4E480DD1-6EB6-40E9-AA5D-F0885641F18B}" dt="2022-11-18T10:27:09.730" v="2335" actId="790"/>
            <ac:spMkLst>
              <pc:docMk/>
              <pc:sldMasterMk cId="180999990" sldId="2147483648"/>
              <pc:sldLayoutMk cId="2236477381" sldId="2147483699"/>
              <ac:spMk id="13" creationId="{A17E5844-AA2E-48C4-91FF-39484DFE723C}"/>
            </ac:spMkLst>
          </pc:spChg>
          <pc:spChg chg="mod">
            <ac:chgData name="Lars Boe Riber" userId="a0746655-6c86-46e8-9fa0-3fdc9fc77da6" providerId="ADAL" clId="{4E480DD1-6EB6-40E9-AA5D-F0885641F18B}" dt="2022-11-18T10:27:09.724" v="2327" actId="790"/>
            <ac:spMkLst>
              <pc:docMk/>
              <pc:sldMasterMk cId="180999990" sldId="2147483648"/>
              <pc:sldLayoutMk cId="2236477381" sldId="2147483699"/>
              <ac:spMk id="14" creationId="{6E4254E8-0058-4B51-AE94-DF452D313C5C}"/>
            </ac:spMkLst>
          </pc:spChg>
          <pc:spChg chg="mod">
            <ac:chgData name="Lars Boe Riber" userId="a0746655-6c86-46e8-9fa0-3fdc9fc77da6" providerId="ADAL" clId="{4E480DD1-6EB6-40E9-AA5D-F0885641F18B}" dt="2022-11-18T10:27:09.727" v="2331" actId="790"/>
            <ac:spMkLst>
              <pc:docMk/>
              <pc:sldMasterMk cId="180999990" sldId="2147483648"/>
              <pc:sldLayoutMk cId="2236477381" sldId="2147483699"/>
              <ac:spMk id="15" creationId="{93B5AFB1-79EB-42DA-8C67-9C34BAE10A4D}"/>
            </ac:spMkLst>
          </pc:spChg>
          <pc:spChg chg="mod">
            <ac:chgData name="Lars Boe Riber" userId="a0746655-6c86-46e8-9fa0-3fdc9fc77da6" providerId="ADAL" clId="{4E480DD1-6EB6-40E9-AA5D-F0885641F18B}" dt="2022-11-18T10:27:09.726" v="2329" actId="790"/>
            <ac:spMkLst>
              <pc:docMk/>
              <pc:sldMasterMk cId="180999990" sldId="2147483648"/>
              <pc:sldLayoutMk cId="2236477381" sldId="2147483699"/>
              <ac:spMk id="18" creationId="{6AFBD548-0737-4492-BE87-1A3682008EB8}"/>
            </ac:spMkLst>
          </pc:spChg>
        </pc:sldLayoutChg>
        <pc:sldLayoutChg chg="modSp mod">
          <pc:chgData name="Lars Boe Riber" userId="a0746655-6c86-46e8-9fa0-3fdc9fc77da6" providerId="ADAL" clId="{4E480DD1-6EB6-40E9-AA5D-F0885641F18B}" dt="2022-11-18T10:27:09.738" v="2341" actId="790"/>
          <pc:sldLayoutMkLst>
            <pc:docMk/>
            <pc:sldMasterMk cId="180999990" sldId="2147483648"/>
            <pc:sldLayoutMk cId="4184137119" sldId="2147483700"/>
          </pc:sldLayoutMkLst>
          <pc:spChg chg="mod">
            <ac:chgData name="Lars Boe Riber" userId="a0746655-6c86-46e8-9fa0-3fdc9fc77da6" providerId="ADAL" clId="{4E480DD1-6EB6-40E9-AA5D-F0885641F18B}" dt="2022-11-18T10:27:09.738" v="2341" actId="790"/>
            <ac:spMkLst>
              <pc:docMk/>
              <pc:sldMasterMk cId="180999990" sldId="2147483648"/>
              <pc:sldLayoutMk cId="4184137119" sldId="2147483700"/>
              <ac:spMk id="7" creationId="{00000000-0000-0000-0000-000000000000}"/>
            </ac:spMkLst>
          </pc:spChg>
          <pc:spChg chg="mod">
            <ac:chgData name="Lars Boe Riber" userId="a0746655-6c86-46e8-9fa0-3fdc9fc77da6" providerId="ADAL" clId="{4E480DD1-6EB6-40E9-AA5D-F0885641F18B}" dt="2022-11-18T10:27:09.733" v="2337" actId="790"/>
            <ac:spMkLst>
              <pc:docMk/>
              <pc:sldMasterMk cId="180999990" sldId="2147483648"/>
              <pc:sldLayoutMk cId="4184137119" sldId="2147483700"/>
              <ac:spMk id="10" creationId="{38B45A83-AD80-4AC8-A603-5DC2AFC3EBEE}"/>
            </ac:spMkLst>
          </pc:spChg>
          <pc:spChg chg="mod">
            <ac:chgData name="Lars Boe Riber" userId="a0746655-6c86-46e8-9fa0-3fdc9fc77da6" providerId="ADAL" clId="{4E480DD1-6EB6-40E9-AA5D-F0885641F18B}" dt="2022-11-18T10:27:09.734" v="2338" actId="790"/>
            <ac:spMkLst>
              <pc:docMk/>
              <pc:sldMasterMk cId="180999990" sldId="2147483648"/>
              <pc:sldLayoutMk cId="4184137119" sldId="2147483700"/>
              <ac:spMk id="11" creationId="{E6681B86-2D19-4D3D-A83D-CCC19C2ECE32}"/>
            </ac:spMkLst>
          </pc:spChg>
          <pc:spChg chg="mod">
            <ac:chgData name="Lars Boe Riber" userId="a0746655-6c86-46e8-9fa0-3fdc9fc77da6" providerId="ADAL" clId="{4E480DD1-6EB6-40E9-AA5D-F0885641F18B}" dt="2022-11-18T10:27:09.737" v="2340" actId="790"/>
            <ac:spMkLst>
              <pc:docMk/>
              <pc:sldMasterMk cId="180999990" sldId="2147483648"/>
              <pc:sldLayoutMk cId="4184137119" sldId="2147483700"/>
              <ac:spMk id="12" creationId="{454ABD19-90F9-480D-A030-70CEC9079BAB}"/>
            </ac:spMkLst>
          </pc:spChg>
        </pc:sldLayoutChg>
        <pc:sldLayoutChg chg="modSp mod">
          <pc:chgData name="Lars Boe Riber" userId="a0746655-6c86-46e8-9fa0-3fdc9fc77da6" providerId="ADAL" clId="{4E480DD1-6EB6-40E9-AA5D-F0885641F18B}" dt="2022-11-18T10:27:09.744" v="2347" actId="790"/>
          <pc:sldLayoutMkLst>
            <pc:docMk/>
            <pc:sldMasterMk cId="180999990" sldId="2147483648"/>
            <pc:sldLayoutMk cId="952240583" sldId="2147483701"/>
          </pc:sldLayoutMkLst>
          <pc:spChg chg="mod">
            <ac:chgData name="Lars Boe Riber" userId="a0746655-6c86-46e8-9fa0-3fdc9fc77da6" providerId="ADAL" clId="{4E480DD1-6EB6-40E9-AA5D-F0885641F18B}" dt="2022-11-18T10:27:09.744" v="2347" actId="790"/>
            <ac:spMkLst>
              <pc:docMk/>
              <pc:sldMasterMk cId="180999990" sldId="2147483648"/>
              <pc:sldLayoutMk cId="952240583" sldId="2147483701"/>
              <ac:spMk id="7" creationId="{00000000-0000-0000-0000-000000000000}"/>
            </ac:spMkLst>
          </pc:spChg>
          <pc:spChg chg="mod">
            <ac:chgData name="Lars Boe Riber" userId="a0746655-6c86-46e8-9fa0-3fdc9fc77da6" providerId="ADAL" clId="{4E480DD1-6EB6-40E9-AA5D-F0885641F18B}" dt="2022-11-18T10:27:09.740" v="2343" actId="790"/>
            <ac:spMkLst>
              <pc:docMk/>
              <pc:sldMasterMk cId="180999990" sldId="2147483648"/>
              <pc:sldLayoutMk cId="952240583" sldId="2147483701"/>
              <ac:spMk id="10" creationId="{38B45A83-AD80-4AC8-A603-5DC2AFC3EBEE}"/>
            </ac:spMkLst>
          </pc:spChg>
          <pc:spChg chg="mod">
            <ac:chgData name="Lars Boe Riber" userId="a0746655-6c86-46e8-9fa0-3fdc9fc77da6" providerId="ADAL" clId="{4E480DD1-6EB6-40E9-AA5D-F0885641F18B}" dt="2022-11-18T10:27:09.741" v="2344" actId="790"/>
            <ac:spMkLst>
              <pc:docMk/>
              <pc:sldMasterMk cId="180999990" sldId="2147483648"/>
              <pc:sldLayoutMk cId="952240583" sldId="2147483701"/>
              <ac:spMk id="11" creationId="{E6681B86-2D19-4D3D-A83D-CCC19C2ECE32}"/>
            </ac:spMkLst>
          </pc:spChg>
          <pc:spChg chg="mod">
            <ac:chgData name="Lars Boe Riber" userId="a0746655-6c86-46e8-9fa0-3fdc9fc77da6" providerId="ADAL" clId="{4E480DD1-6EB6-40E9-AA5D-F0885641F18B}" dt="2022-11-18T10:27:09.743" v="2346" actId="790"/>
            <ac:spMkLst>
              <pc:docMk/>
              <pc:sldMasterMk cId="180999990" sldId="2147483648"/>
              <pc:sldLayoutMk cId="952240583" sldId="2147483701"/>
              <ac:spMk id="12" creationId="{454ABD19-90F9-480D-A030-70CEC9079BAB}"/>
            </ac:spMkLst>
          </pc:spChg>
        </pc:sldLayoutChg>
        <pc:sldLayoutChg chg="modSp mod">
          <pc:chgData name="Lars Boe Riber" userId="a0746655-6c86-46e8-9fa0-3fdc9fc77da6" providerId="ADAL" clId="{4E480DD1-6EB6-40E9-AA5D-F0885641F18B}" dt="2022-11-18T10:27:09.793" v="2393"/>
          <pc:sldLayoutMkLst>
            <pc:docMk/>
            <pc:sldMasterMk cId="180999990" sldId="2147483648"/>
            <pc:sldLayoutMk cId="3525436810" sldId="2147483702"/>
          </pc:sldLayoutMkLst>
          <pc:spChg chg="mod">
            <ac:chgData name="Lars Boe Riber" userId="a0746655-6c86-46e8-9fa0-3fdc9fc77da6" providerId="ADAL" clId="{4E480DD1-6EB6-40E9-AA5D-F0885641F18B}" dt="2022-11-18T10:27:09.779" v="2378" actId="790"/>
            <ac:spMkLst>
              <pc:docMk/>
              <pc:sldMasterMk cId="180999990" sldId="2147483648"/>
              <pc:sldLayoutMk cId="3525436810" sldId="2147483702"/>
              <ac:spMk id="20" creationId="{56AA1691-6753-45B8-AB77-1105989467F7}"/>
            </ac:spMkLst>
          </pc:spChg>
          <pc:spChg chg="mod">
            <ac:chgData name="Lars Boe Riber" userId="a0746655-6c86-46e8-9fa0-3fdc9fc77da6" providerId="ADAL" clId="{4E480DD1-6EB6-40E9-AA5D-F0885641F18B}" dt="2022-11-18T10:27:09.779" v="2379" actId="790"/>
            <ac:spMkLst>
              <pc:docMk/>
              <pc:sldMasterMk cId="180999990" sldId="2147483648"/>
              <pc:sldLayoutMk cId="3525436810" sldId="2147483702"/>
              <ac:spMk id="21" creationId="{2F8C9320-E8BF-471F-8DD3-1BC479021917}"/>
            </ac:spMkLst>
          </pc:spChg>
          <pc:spChg chg="mod">
            <ac:chgData name="Lars Boe Riber" userId="a0746655-6c86-46e8-9fa0-3fdc9fc77da6" providerId="ADAL" clId="{4E480DD1-6EB6-40E9-AA5D-F0885641F18B}" dt="2022-11-18T10:27:09.781" v="2381" actId="790"/>
            <ac:spMkLst>
              <pc:docMk/>
              <pc:sldMasterMk cId="180999990" sldId="2147483648"/>
              <pc:sldLayoutMk cId="3525436810" sldId="2147483702"/>
              <ac:spMk id="22" creationId="{B01A309B-80AB-481C-AE3F-3C56C2C92EE2}"/>
            </ac:spMkLst>
          </pc:spChg>
          <pc:spChg chg="mod">
            <ac:chgData name="Lars Boe Riber" userId="a0746655-6c86-46e8-9fa0-3fdc9fc77da6" providerId="ADAL" clId="{4E480DD1-6EB6-40E9-AA5D-F0885641F18B}" dt="2022-11-18T10:27:09.763" v="2361"/>
            <ac:spMkLst>
              <pc:docMk/>
              <pc:sldMasterMk cId="180999990" sldId="2147483648"/>
              <pc:sldLayoutMk cId="3525436810" sldId="2147483702"/>
              <ac:spMk id="23" creationId="{19798472-DC87-414E-BC4E-CFAF99EF0ED7}"/>
            </ac:spMkLst>
          </pc:spChg>
          <pc:spChg chg="mod">
            <ac:chgData name="Lars Boe Riber" userId="a0746655-6c86-46e8-9fa0-3fdc9fc77da6" providerId="ADAL" clId="{4E480DD1-6EB6-40E9-AA5D-F0885641F18B}" dt="2022-11-18T10:27:09.793" v="2393"/>
            <ac:spMkLst>
              <pc:docMk/>
              <pc:sldMasterMk cId="180999990" sldId="2147483648"/>
              <pc:sldLayoutMk cId="3525436810" sldId="2147483702"/>
              <ac:spMk id="24" creationId="{8B1B4749-2B7E-4474-A2D3-2B2892ADCA26}"/>
            </ac:spMkLst>
          </pc:spChg>
          <pc:spChg chg="mod">
            <ac:chgData name="Lars Boe Riber" userId="a0746655-6c86-46e8-9fa0-3fdc9fc77da6" providerId="ADAL" clId="{4E480DD1-6EB6-40E9-AA5D-F0885641F18B}" dt="2022-11-18T10:27:09.775" v="2374"/>
            <ac:spMkLst>
              <pc:docMk/>
              <pc:sldMasterMk cId="180999990" sldId="2147483648"/>
              <pc:sldLayoutMk cId="3525436810" sldId="2147483702"/>
              <ac:spMk id="61" creationId="{DD6A81B7-1FEE-46CF-A623-23E99CFEAFBC}"/>
            </ac:spMkLst>
          </pc:spChg>
          <pc:spChg chg="mod">
            <ac:chgData name="Lars Boe Riber" userId="a0746655-6c86-46e8-9fa0-3fdc9fc77da6" providerId="ADAL" clId="{4E480DD1-6EB6-40E9-AA5D-F0885641F18B}" dt="2022-11-18T10:27:09.776" v="2376" actId="790"/>
            <ac:spMkLst>
              <pc:docMk/>
              <pc:sldMasterMk cId="180999990" sldId="2147483648"/>
              <pc:sldLayoutMk cId="3525436810" sldId="2147483702"/>
              <ac:spMk id="65" creationId="{09C05D50-8477-4113-8B72-9C373B0FF9F9}"/>
            </ac:spMkLst>
          </pc:spChg>
        </pc:sldLayoutChg>
        <pc:sldLayoutChg chg="modSp mod">
          <pc:chgData name="Lars Boe Riber" userId="a0746655-6c86-46e8-9fa0-3fdc9fc77da6" providerId="ADAL" clId="{4E480DD1-6EB6-40E9-AA5D-F0885641F18B}" dt="2022-11-18T10:27:09.811" v="2408" actId="790"/>
          <pc:sldLayoutMkLst>
            <pc:docMk/>
            <pc:sldMasterMk cId="180999990" sldId="2147483648"/>
            <pc:sldLayoutMk cId="2129834854" sldId="2147483703"/>
          </pc:sldLayoutMkLst>
          <pc:spChg chg="mod">
            <ac:chgData name="Lars Boe Riber" userId="a0746655-6c86-46e8-9fa0-3fdc9fc77da6" providerId="ADAL" clId="{4E480DD1-6EB6-40E9-AA5D-F0885641F18B}" dt="2022-11-18T10:27:09.794" v="2394" actId="790"/>
            <ac:spMkLst>
              <pc:docMk/>
              <pc:sldMasterMk cId="180999990" sldId="2147483648"/>
              <pc:sldLayoutMk cId="2129834854" sldId="2147483703"/>
              <ac:spMk id="2" creationId="{0F124504-36FD-4753-851D-5B7D02D4A2D1}"/>
            </ac:spMkLst>
          </pc:spChg>
          <pc:spChg chg="mod">
            <ac:chgData name="Lars Boe Riber" userId="a0746655-6c86-46e8-9fa0-3fdc9fc77da6" providerId="ADAL" clId="{4E480DD1-6EB6-40E9-AA5D-F0885641F18B}" dt="2022-11-18T10:27:09.798" v="2397" actId="790"/>
            <ac:spMkLst>
              <pc:docMk/>
              <pc:sldMasterMk cId="180999990" sldId="2147483648"/>
              <pc:sldLayoutMk cId="2129834854" sldId="2147483703"/>
              <ac:spMk id="3" creationId="{C823227E-A862-4A7F-BC20-0D107430AB2C}"/>
            </ac:spMkLst>
          </pc:spChg>
          <pc:spChg chg="mod">
            <ac:chgData name="Lars Boe Riber" userId="a0746655-6c86-46e8-9fa0-3fdc9fc77da6" providerId="ADAL" clId="{4E480DD1-6EB6-40E9-AA5D-F0885641F18B}" dt="2022-11-18T10:27:09.797" v="2396" actId="790"/>
            <ac:spMkLst>
              <pc:docMk/>
              <pc:sldMasterMk cId="180999990" sldId="2147483648"/>
              <pc:sldLayoutMk cId="2129834854" sldId="2147483703"/>
              <ac:spMk id="5" creationId="{00000000-0000-0000-0000-000000000000}"/>
            </ac:spMkLst>
          </pc:spChg>
          <pc:spChg chg="mod">
            <ac:chgData name="Lars Boe Riber" userId="a0746655-6c86-46e8-9fa0-3fdc9fc77da6" providerId="ADAL" clId="{4E480DD1-6EB6-40E9-AA5D-F0885641F18B}" dt="2022-11-18T10:27:09.799" v="2398" actId="790"/>
            <ac:spMkLst>
              <pc:docMk/>
              <pc:sldMasterMk cId="180999990" sldId="2147483648"/>
              <pc:sldLayoutMk cId="2129834854" sldId="2147483703"/>
              <ac:spMk id="6" creationId="{08501AE6-6504-4184-9443-E89AFACF769D}"/>
            </ac:spMkLst>
          </pc:spChg>
          <pc:spChg chg="mod">
            <ac:chgData name="Lars Boe Riber" userId="a0746655-6c86-46e8-9fa0-3fdc9fc77da6" providerId="ADAL" clId="{4E480DD1-6EB6-40E9-AA5D-F0885641F18B}" dt="2022-11-18T10:27:09.804" v="2400" actId="790"/>
            <ac:spMkLst>
              <pc:docMk/>
              <pc:sldMasterMk cId="180999990" sldId="2147483648"/>
              <pc:sldLayoutMk cId="2129834854" sldId="2147483703"/>
              <ac:spMk id="12" creationId="{67CEE09B-6EE1-4BF2-85A3-DE69E91BC4C6}"/>
            </ac:spMkLst>
          </pc:spChg>
          <pc:spChg chg="mod">
            <ac:chgData name="Lars Boe Riber" userId="a0746655-6c86-46e8-9fa0-3fdc9fc77da6" providerId="ADAL" clId="{4E480DD1-6EB6-40E9-AA5D-F0885641F18B}" dt="2022-11-18T10:27:09.809" v="2405" actId="790"/>
            <ac:spMkLst>
              <pc:docMk/>
              <pc:sldMasterMk cId="180999990" sldId="2147483648"/>
              <pc:sldLayoutMk cId="2129834854" sldId="2147483703"/>
              <ac:spMk id="13" creationId="{706505A8-87EA-4BA0-B698-35156BC765D0}"/>
            </ac:spMkLst>
          </pc:spChg>
          <pc:spChg chg="mod">
            <ac:chgData name="Lars Boe Riber" userId="a0746655-6c86-46e8-9fa0-3fdc9fc77da6" providerId="ADAL" clId="{4E480DD1-6EB6-40E9-AA5D-F0885641F18B}" dt="2022-11-18T10:27:09.810" v="2406" actId="790"/>
            <ac:spMkLst>
              <pc:docMk/>
              <pc:sldMasterMk cId="180999990" sldId="2147483648"/>
              <pc:sldLayoutMk cId="2129834854" sldId="2147483703"/>
              <ac:spMk id="14" creationId="{AB150C2C-2030-498B-8262-6BD5BCCBB345}"/>
            </ac:spMkLst>
          </pc:spChg>
          <pc:spChg chg="mod">
            <ac:chgData name="Lars Boe Riber" userId="a0746655-6c86-46e8-9fa0-3fdc9fc77da6" providerId="ADAL" clId="{4E480DD1-6EB6-40E9-AA5D-F0885641F18B}" dt="2022-11-18T10:27:09.811" v="2408" actId="790"/>
            <ac:spMkLst>
              <pc:docMk/>
              <pc:sldMasterMk cId="180999990" sldId="2147483648"/>
              <pc:sldLayoutMk cId="2129834854" sldId="2147483703"/>
              <ac:spMk id="15" creationId="{E81B246F-92C7-4EF8-ACD0-05F73C7095BE}"/>
            </ac:spMkLst>
          </pc:spChg>
          <pc:spChg chg="mod">
            <ac:chgData name="Lars Boe Riber" userId="a0746655-6c86-46e8-9fa0-3fdc9fc77da6" providerId="ADAL" clId="{4E480DD1-6EB6-40E9-AA5D-F0885641F18B}" dt="2022-11-18T10:27:09.806" v="2403" actId="790"/>
            <ac:spMkLst>
              <pc:docMk/>
              <pc:sldMasterMk cId="180999990" sldId="2147483648"/>
              <pc:sldLayoutMk cId="2129834854" sldId="2147483703"/>
              <ac:spMk id="16" creationId="{A8FA78FA-4D94-4717-B7C6-6F86378D6B01}"/>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942B987-EC31-4746-B4E6-062CD7AA3A1A}" type="datetime1">
              <a:rPr lang="en-GB" smtClean="0"/>
              <a:t>29/11/2022</a:t>
            </a:fld>
            <a:endParaRPr lang="en-GB" dirty="0"/>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D025B-ACD2-45C1-B156-1DDB470CE319}" type="slidenum">
              <a:rPr lang="en-GB" smtClean="0"/>
              <a:t>‹#›</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25BBF7-0B0C-48D4-ABAA-EF360EF241C5}" type="datetime1">
              <a:rPr lang="en-GB" smtClean="0"/>
              <a:t>29/11/2022</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1</a:t>
            </a:r>
          </a:p>
        </p:txBody>
      </p:sp>
      <p:sp>
        <p:nvSpPr>
          <p:cNvPr id="4" name="Slide Number Placeholder 3"/>
          <p:cNvSpPr>
            <a:spLocks noGrp="1"/>
          </p:cNvSpPr>
          <p:nvPr>
            <p:ph type="sldNum" sz="quarter" idx="5"/>
          </p:nvPr>
        </p:nvSpPr>
        <p:spPr/>
        <p:txBody>
          <a:bodyPr/>
          <a:lstStyle/>
          <a:p>
            <a:fld id="{1B1D025B-ACD2-45C1-B156-1DDB470CE319}" type="slidenum">
              <a:rPr lang="en-GB"/>
              <a:t>5</a:t>
            </a:fld>
            <a:endParaRPr lang="en-GB" dirty="0"/>
          </a:p>
        </p:txBody>
      </p:sp>
      <p:sp>
        <p:nvSpPr>
          <p:cNvPr id="5" name="Date Placeholder 4"/>
          <p:cNvSpPr>
            <a:spLocks noGrp="1"/>
          </p:cNvSpPr>
          <p:nvPr>
            <p:ph type="dt" idx="1"/>
          </p:nvPr>
        </p:nvSpPr>
        <p:spPr/>
        <p:txBody>
          <a:bodyPr/>
          <a:lstStyle/>
          <a:p>
            <a:fld id="{D325BBF7-0B0C-48D4-ABAA-EF360EF241C5}" type="datetime1">
              <a:rPr lang="en-GB"/>
              <a:t>29/11/2022</a:t>
            </a:fld>
            <a:endParaRPr lang="en-GB" dirty="0"/>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9054938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1903C8B-6A03-40C4-AD50-AACDEC5FDA0C}" type="datetime1">
              <a:rPr lang="en-GB" smtClean="0"/>
              <a:t>29/11/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dirty="0"/>
              <a:t>Mark placeholder to insert image </a:t>
            </a:r>
            <a:r>
              <a:rPr lang="en-GB" dirty="0"/>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dirty="0"/>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DE8F052-B495-40BE-9682-094846479C8E}" type="datetime1">
              <a:rPr lang="en-GB" smtClean="0"/>
              <a:t>29/11/2022</a:t>
            </a:fld>
            <a:endParaRPr lang="en-GB" dirty="0"/>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8018371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B4C9864-BFD0-4574-B370-8DFD1BF6363B}" type="datetime1">
              <a:rPr lang="en-GB" smtClean="0"/>
              <a:t>29/11/2022</a:t>
            </a:fld>
            <a:endParaRPr lang="en-GB" dirty="0"/>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dirty="0"/>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dirty="0"/>
              <a:t>Click to add title</a:t>
            </a:r>
            <a:endParaRPr lang="en-GB" dirty="0"/>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9941A0D-1A7D-4418-872D-0A573109AE3D}" type="datetime1">
              <a:rPr lang="en-GB" smtClean="0"/>
              <a:t>29/11/2022</a:t>
            </a:fld>
            <a:endParaRPr lang="en-GB" dirty="0"/>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dirty="0"/>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dirty="0"/>
              <a:t>Click to add title</a:t>
            </a:r>
            <a:endParaRPr lang="en-GB" dirty="0"/>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CE630481-804D-4542-835F-93D05E69FE5F}" type="datetime1">
              <a:rPr lang="en-GB" smtClean="0"/>
              <a:t>29/11/2022</a:t>
            </a:fld>
            <a:endParaRPr lang="en-GB" dirty="0"/>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dirty="0"/>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dirty="0"/>
              <a:t>Click to add title</a:t>
            </a:r>
            <a:endParaRPr lang="en-GB" dirty="0"/>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7BF43399-B145-4BBC-AF2A-C9EC8B4305A6}" type="datetime1">
              <a:rPr lang="en-GB" smtClean="0"/>
              <a:t>29/11/2022</a:t>
            </a:fld>
            <a:endParaRPr lang="en-GB" dirty="0"/>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dirty="0"/>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dirty="0"/>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dirty="0"/>
              <a:t>Click to add title</a:t>
            </a:r>
            <a:endParaRPr lang="en-GB" dirty="0"/>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D74F0F3-9842-478D-99B7-277D0E19CEC9}" type="datetime1">
              <a:rPr lang="en-GB" smtClean="0"/>
              <a:t>29/11/2022</a:t>
            </a:fld>
            <a:endParaRPr lang="en-GB" dirty="0"/>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dirty="0"/>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dirty="0"/>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dirty="0"/>
              <a:t>Click to add title</a:t>
            </a:r>
            <a:endParaRPr lang="en-GB" dirty="0"/>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33B4BAF-2B92-4850-839C-D15349852EB5}" type="datetime1">
              <a:rPr lang="en-GB" smtClean="0"/>
              <a:t>29/11/2022</a:t>
            </a:fld>
            <a:endParaRPr lang="en-GB" dirty="0"/>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dirty="0"/>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dirty="0"/>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dirty="0"/>
              <a:t>Click to add title</a:t>
            </a:r>
            <a:endParaRPr lang="en-GB" dirty="0"/>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dirty="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dirty="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dirty="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dirty="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B5352C5-81EC-4100-8EF4-0409291AC406}" type="datetime1">
              <a:rPr lang="en-GB" smtClean="0"/>
              <a:t>29/11/2022</a:t>
            </a:fld>
            <a:endParaRPr lang="en-GB" dirty="0"/>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dirty="0"/>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dirty="0"/>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dirty="0"/>
              <a:t>Click to add title</a:t>
            </a:r>
            <a:endParaRPr lang="en-GB" dirty="0"/>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8A4F6F59-6CB3-4166-9CD8-0F5BCD967261}" type="datetime1">
              <a:rPr lang="en-GB" smtClean="0"/>
              <a:t>29/11/2022</a:t>
            </a:fld>
            <a:endParaRPr lang="en-GB" dirty="0"/>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dirty="0"/>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dirty="0"/>
              <a:t>Click to add title</a:t>
            </a:r>
            <a:endParaRPr lang="en-GB" dirty="0"/>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4297496" y="654050"/>
            <a:ext cx="7524000" cy="938213"/>
          </a:xfrm>
        </p:spPr>
        <p:txBody>
          <a:bodyPr/>
          <a:lstStyle/>
          <a:p>
            <a:r>
              <a:rPr lang="en-GB" noProof="0" dirty="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6ACCEA19-5171-4127-A28C-C6D875C2D7D4}" type="datetime1">
              <a:rPr lang="en-GB" smtClean="0"/>
              <a:t>29/11/2022</a:t>
            </a:fld>
            <a:endParaRPr lang="en-GB" dirty="0"/>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dirty="0"/>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B42BF88-9EAB-4FF1-8C7D-3D1A57D94546}" type="datetime1">
              <a:rPr lang="en-GB" smtClean="0"/>
              <a:t>29/11/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dirty="0"/>
              <a:t>Mark placeholder to insert image </a:t>
            </a:r>
            <a:r>
              <a:rPr lang="en-GB" dirty="0"/>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dirty="0"/>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dirty="0"/>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9AA3F283-0871-412B-8A65-5C27135FA311}" type="datetime1">
              <a:rPr lang="en-GB" smtClean="0"/>
              <a:t>29/11/2022</a:t>
            </a:fld>
            <a:endParaRPr lang="en-GB" dirty="0"/>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dirty="0"/>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dirty="0"/>
              <a:t>Click to add title</a:t>
            </a:r>
            <a:endParaRPr lang="en-GB" dirty="0"/>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4302000" y="654050"/>
            <a:ext cx="7524000" cy="938213"/>
          </a:xfrm>
        </p:spPr>
        <p:txBody>
          <a:bodyPr/>
          <a:lstStyle/>
          <a:p>
            <a:r>
              <a:rPr lang="en-GB" noProof="0" dirty="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67BCEC0-92C2-4FF9-A782-344903368E13}" type="datetime1">
              <a:rPr lang="en-GB" smtClean="0"/>
              <a:t>29/11/2022</a:t>
            </a:fld>
            <a:endParaRPr lang="en-GB" dirty="0"/>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dirty="0"/>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dirty="0"/>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359999" y="654050"/>
            <a:ext cx="7524000" cy="938213"/>
          </a:xfrm>
        </p:spPr>
        <p:txBody>
          <a:bodyPr/>
          <a:lstStyle/>
          <a:p>
            <a:r>
              <a:rPr lang="en-GB" noProof="0" dirty="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14D1594-E68D-46B5-98E0-BADEBF2D8E2F}" type="datetime1">
              <a:rPr lang="en-GB" smtClean="0"/>
              <a:t>29/11/2022</a:t>
            </a:fld>
            <a:endParaRPr lang="en-GB" dirty="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dirty="0"/>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4297496" y="654050"/>
            <a:ext cx="7524000" cy="938213"/>
          </a:xfrm>
        </p:spPr>
        <p:txBody>
          <a:bodyPr/>
          <a:lstStyle/>
          <a:p>
            <a:r>
              <a:rPr lang="en-GB" noProof="0" dirty="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265A58E6-12DB-4BF0-8165-AE5E60E9367A}" type="datetime1">
              <a:rPr lang="en-GB" smtClean="0"/>
              <a:t>29/11/2022</a:t>
            </a:fld>
            <a:endParaRPr lang="en-GB" dirty="0"/>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dirty="0"/>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359999" y="654050"/>
            <a:ext cx="7524000" cy="938213"/>
          </a:xfrm>
        </p:spPr>
        <p:txBody>
          <a:bodyPr/>
          <a:lstStyle/>
          <a:p>
            <a:r>
              <a:rPr lang="en-GB" noProof="0" dirty="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904988D6-6DD0-4C39-8AE1-A7E25B5D1BF4}" type="datetime1">
              <a:rPr lang="en-GB" smtClean="0"/>
              <a:t>29/11/2022</a:t>
            </a:fld>
            <a:endParaRPr lang="en-GB" dirty="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dirty="0"/>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359999" y="654050"/>
            <a:ext cx="8514000" cy="938213"/>
          </a:xfrm>
        </p:spPr>
        <p:txBody>
          <a:bodyPr/>
          <a:lstStyle/>
          <a:p>
            <a:r>
              <a:rPr lang="en-GB" noProof="0" dirty="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C7F6929-E9B5-46A3-B5E9-6150C85426CE}" type="datetime1">
              <a:rPr lang="en-GB" smtClean="0"/>
              <a:t>29/11/2022</a:t>
            </a:fld>
            <a:endParaRPr lang="en-GB" dirty="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dirty="0"/>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dirty="0"/>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359999" y="654050"/>
            <a:ext cx="7524000" cy="938213"/>
          </a:xfrm>
        </p:spPr>
        <p:txBody>
          <a:bodyPr/>
          <a:lstStyle/>
          <a:p>
            <a:r>
              <a:rPr lang="en-GB" noProof="0" dirty="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59FA29BE-106E-4609-97DE-EDE0B0C087F7}" type="datetime1">
              <a:rPr lang="en-GB" smtClean="0"/>
              <a:t>29/11/2022</a:t>
            </a:fld>
            <a:endParaRPr lang="en-GB" dirty="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dirty="0"/>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dirty="0"/>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359999" y="654050"/>
            <a:ext cx="8514000" cy="938213"/>
          </a:xfrm>
        </p:spPr>
        <p:txBody>
          <a:bodyPr/>
          <a:lstStyle/>
          <a:p>
            <a:r>
              <a:rPr lang="en-GB" noProof="0" dirty="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EFAF684-C611-4113-B7D5-C3E527F22C4F}" type="datetime1">
              <a:rPr lang="en-GB" smtClean="0"/>
              <a:t>29/11/2022</a:t>
            </a:fld>
            <a:endParaRPr lang="en-GB" dirty="0"/>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dirty="0"/>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dirty="0"/>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C4B04AE4-03BB-4174-AD21-7567A4C959F4}" type="datetime1">
              <a:rPr lang="en-GB" smtClean="0"/>
              <a:t>29/11/2022</a:t>
            </a:fld>
            <a:endParaRPr lang="en-GB" dirty="0"/>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2" name="Title 1"/>
          <p:cNvSpPr>
            <a:spLocks noGrp="1"/>
          </p:cNvSpPr>
          <p:nvPr>
            <p:ph type="title" hasCustomPrompt="1"/>
          </p:nvPr>
        </p:nvSpPr>
        <p:spPr>
          <a:xfrm>
            <a:off x="359999" y="654050"/>
            <a:ext cx="7524000" cy="938213"/>
          </a:xfrm>
        </p:spPr>
        <p:txBody>
          <a:bodyPr/>
          <a:lstStyle/>
          <a:p>
            <a:r>
              <a:rPr lang="en-GB" noProof="0" dirty="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dirty="0"/>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dirty="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3A46E679-721E-4A44-A034-B3833441D488}" type="datetime1">
              <a:rPr lang="en-GB" smtClean="0"/>
              <a:t>29/11/2022</a:t>
            </a:fld>
            <a:endParaRPr lang="en-GB" dirty="0"/>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dirty="0"/>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D06D66A-00D9-479B-9856-27577BF36107}" type="datetime1">
              <a:rPr lang="en-GB" smtClean="0"/>
              <a:t>29/11/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dirty="0"/>
              <a:t>Mark placeholder to insert image </a:t>
            </a:r>
            <a:r>
              <a:rPr lang="en-GB" dirty="0"/>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dirty="0"/>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dirty="0"/>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F6C1ADEE-7B52-423A-9878-0398FEFAF71F}" type="datetime1">
              <a:rPr lang="en-GB" smtClean="0"/>
              <a:t>29/11/2022</a:t>
            </a:fld>
            <a:endParaRPr lang="en-GB" dirty="0"/>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dirty="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dirty="0"/>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dirty="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3FD627AC-F023-4E38-BBE2-8CC6A4B15F9B}" type="datetime1">
              <a:rPr lang="en-GB" smtClean="0"/>
              <a:t>29/11/2022</a:t>
            </a:fld>
            <a:endParaRPr lang="en-GB" dirty="0"/>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dirty="0"/>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791AE312-9C38-4B88-A1BD-03872F0FCB4A}" type="datetime1">
              <a:rPr lang="en-GB" smtClean="0"/>
              <a:t>29/11/2022</a:t>
            </a:fld>
            <a:endParaRPr lang="en-GB" dirty="0"/>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dirty="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dirty="0"/>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dirty="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B28D1D58-AB37-4343-ADE9-EEBE954DF792}" type="datetime1">
              <a:rPr lang="en-GB" smtClean="0"/>
              <a:t>29/11/2022</a:t>
            </a:fld>
            <a:endParaRPr lang="en-GB" dirty="0"/>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dirty="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06093368-26E3-4532-8FD8-7B783022E688}" type="datetime1">
              <a:rPr lang="en-GB" smtClean="0"/>
              <a:t>29/11/2022</a:t>
            </a:fld>
            <a:endParaRPr lang="en-GB" dirty="0"/>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dirty="0"/>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dirty="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51E3A26-CACC-472F-999E-6CEDC51DAFFB}" type="datetime1">
              <a:rPr lang="en-GB" smtClean="0"/>
              <a:t>29/11/2022</a:t>
            </a:fld>
            <a:endParaRPr lang="en-GB" dirty="0"/>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dirty="0"/>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dirty="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923212C7-A548-4370-9C24-272889F12011}" type="datetime1">
              <a:rPr lang="en-GB" smtClean="0"/>
              <a:t>29/11/2022</a:t>
            </a:fld>
            <a:endParaRPr lang="en-GB" dirty="0"/>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dirty="0"/>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dirty="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3393CB94-5BA6-4B5C-8025-21D6F4E52D5E}" type="datetime1">
              <a:rPr lang="en-GB" smtClean="0"/>
              <a:t>29/11/2022</a:t>
            </a:fld>
            <a:endParaRPr lang="en-GB" dirty="0"/>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dirty="0"/>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dirty="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29D73515-F0A6-4B30-A688-5D4CF44B9186}" type="datetime1">
              <a:rPr lang="en-GB" smtClean="0"/>
              <a:t>29/11/2022</a:t>
            </a:fld>
            <a:endParaRPr lang="en-GB" dirty="0"/>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dirty="0"/>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dirty="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B6F065B1-CCC8-4072-99B6-C71232109F4F}" type="datetime1">
              <a:rPr lang="en-GB" smtClean="0"/>
              <a:t>29/11/2022</a:t>
            </a:fld>
            <a:endParaRPr lang="en-GB" dirty="0"/>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dirty="0"/>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D3E1E10-4E6B-4C9C-B68B-DC96BC56ABFC}" type="datetime1">
              <a:rPr lang="en-GB" smtClean="0"/>
              <a:t>29/11/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dirty="0"/>
              <a:t>Mark placeholder to insert image </a:t>
            </a:r>
            <a:r>
              <a:rPr lang="en-GB" dirty="0"/>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dirty="0"/>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dirty="0"/>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dirty="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4C0216E3-463B-4CB8-BE43-497F498BEEEE}" type="datetime1">
              <a:rPr lang="en-GB" smtClean="0"/>
              <a:t>29/11/2022</a:t>
            </a:fld>
            <a:endParaRPr lang="en-GB" dirty="0"/>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dirty="0"/>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dirty="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49EE3078-35F5-4450-8DDB-1711F663AF0B}" type="datetime1">
              <a:rPr lang="en-GB" smtClean="0"/>
              <a:t>29/11/2022</a:t>
            </a:fld>
            <a:endParaRPr lang="en-GB" dirty="0"/>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dirty="0"/>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7CEE0B2-D606-4C87-BD16-18AC95AF549F}" type="datetime1">
              <a:rPr lang="en-GB" smtClean="0"/>
              <a:t>29/11/2022</a:t>
            </a:fld>
            <a:endParaRPr lang="en-GB" dirty="0"/>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dirty="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dirty="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dirty="0"/>
              <a:t>Click to add </a:t>
            </a:r>
            <a:r>
              <a:rPr lang="en-GB" dirty="0"/>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dirty="0"/>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075B1503-1805-4DC5-AF6E-FDE48DB177B4}" type="datetime1">
              <a:rPr lang="en-GB" smtClean="0"/>
              <a:t>29/11/2022</a:t>
            </a:fld>
            <a:endParaRPr lang="en-GB" dirty="0"/>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dirty="0"/>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dirty="0"/>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bg2"/>
                </a:solidFill>
              </a:rPr>
              <a:t>Ramboll</a:t>
            </a:r>
          </a:p>
        </p:txBody>
      </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dirty="0"/>
              <a:t>Click to add </a:t>
            </a:r>
            <a:r>
              <a:rPr lang="en-GB" dirty="0"/>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dirty="0"/>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F24941B2-5F7F-4165-B2DE-D010B7A4A5F5}" type="datetime1">
              <a:rPr lang="en-GB" smtClean="0"/>
              <a:t>29/11/2022</a:t>
            </a:fld>
            <a:endParaRPr lang="en-GB" dirty="0"/>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dirty="0"/>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tx1"/>
                </a:solidFill>
              </a:rPr>
              <a:t>Ramboll</a:t>
            </a:r>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dirty="0"/>
              <a:t>Click to add </a:t>
            </a:r>
            <a:r>
              <a:rPr lang="en-GB" dirty="0"/>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dirty="0"/>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E373EE1C-D19B-4EA0-9A15-DED1DEE449B9}" type="datetime1">
              <a:rPr lang="en-GB" smtClean="0"/>
              <a:t>29/11/2022</a:t>
            </a:fld>
            <a:endParaRPr lang="en-GB" dirty="0"/>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dirty="0"/>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dirty="0"/>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1466C188-1D45-4F08-8DB4-23F6002C2B91}" type="datetime1">
              <a:rPr lang="en-GB" smtClean="0"/>
              <a:t>29/11/2022</a:t>
            </a:fld>
            <a:endParaRPr lang="en-GB" dirty="0"/>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dirty="0"/>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dirty="0"/>
              <a:t>Click to add </a:t>
            </a:r>
            <a:r>
              <a:rPr lang="en-GB" dirty="0"/>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dirty="0"/>
              <a:t>Click to add subtitle</a:t>
            </a:r>
          </a:p>
        </p:txBody>
      </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7494C8F4-6B6A-48C1-B023-792B6BA54AED}" type="datetime1">
              <a:rPr lang="en-GB" smtClean="0"/>
              <a:t>29/11/2022</a:t>
            </a:fld>
            <a:endParaRPr lang="en-GB" dirty="0"/>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8C247F8E-8C20-40E4-A53C-3DA358D8C9A7}" type="datetime1">
              <a:rPr lang="en-GB" smtClean="0"/>
              <a:t>29/11/2022</a:t>
            </a:fld>
            <a:endParaRPr lang="en-GB" dirty="0"/>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E8C12B2-0AE5-428E-985F-E18D4DA17AC7}" type="datetime1">
              <a:rPr lang="en-GB" smtClean="0"/>
              <a:t>29/11/2022</a:t>
            </a:fld>
            <a:endParaRPr lang="en-GB" dirty="0"/>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dirty="0"/>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dirty="0"/>
              <a:t>Click to add </a:t>
            </a:r>
            <a:r>
              <a:rPr lang="en-GB" dirty="0"/>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dirty="0"/>
              <a:t>Click to add Name Last name</a:t>
            </a:r>
            <a:br>
              <a:rPr lang="en-GB" dirty="0"/>
            </a:br>
            <a:r>
              <a:rPr lang="en-GB" dirty="0"/>
              <a:t>Job title, Department</a:t>
            </a:r>
            <a:br>
              <a:rPr lang="en-GB" dirty="0"/>
            </a:br>
            <a:r>
              <a:rPr lang="en-GB" dirty="0"/>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5259D24-E6A6-4D69-90CB-83073E8387B2}" type="datetime1">
              <a:rPr lang="en-GB" smtClean="0"/>
              <a:t>29/11/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dirty="0"/>
              <a:t>Mark placeholder to insert image </a:t>
            </a:r>
            <a:r>
              <a:rPr lang="en-GB" dirty="0"/>
              <a:t>using the Insert tab – Pictures or from Templafy</a:t>
            </a:r>
          </a:p>
          <a:p>
            <a:endParaRPr lang="en-GB" dirty="0"/>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dirty="0"/>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dirty="0"/>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dirty="0"/>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dirty="0"/>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29/11/2022</a:t>
            </a:fld>
            <a:endParaRPr lang="en-GB" dirty="0"/>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dirty="0"/>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dirty="0"/>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dirty="0"/>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dirty="0"/>
              <a:t>Click to add </a:t>
            </a:r>
            <a:r>
              <a:rPr lang="en-GB" dirty="0"/>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dirty="0"/>
              <a:t>Click to add Name Last name</a:t>
            </a:r>
            <a:br>
              <a:rPr lang="en-GB" dirty="0"/>
            </a:br>
            <a:r>
              <a:rPr lang="en-GB" dirty="0"/>
              <a:t>Job title, Department</a:t>
            </a:r>
            <a:br>
              <a:rPr lang="en-GB" dirty="0"/>
            </a:br>
            <a:r>
              <a:rPr lang="en-GB" dirty="0"/>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29/11/2022</a:t>
            </a:fld>
            <a:endParaRPr lang="en-GB" dirty="0"/>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dirty="0"/>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dirty="0"/>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dirty="0"/>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dirty="0"/>
              <a:t>Click to add </a:t>
            </a:r>
            <a:r>
              <a:rPr lang="en-GB" dirty="0"/>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dirty="0"/>
              <a:t>Click to add Name Last name</a:t>
            </a:r>
            <a:br>
              <a:rPr lang="en-GB" dirty="0"/>
            </a:br>
            <a:r>
              <a:rPr lang="en-GB" dirty="0"/>
              <a:t>Job title, Department</a:t>
            </a:r>
            <a:br>
              <a:rPr lang="en-GB" dirty="0"/>
            </a:br>
            <a:r>
              <a:rPr lang="en-GB" dirty="0"/>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6F26645-C2A2-4B76-9EB3-5D9CA57B224A}" type="datetime1">
              <a:rPr lang="en-GB" smtClean="0"/>
              <a:t>29/11/2022</a:t>
            </a:fld>
            <a:endParaRPr lang="en-GB" dirty="0"/>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dirty="0"/>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25BA43C-8502-4266-A056-72866794E701}" type="datetime1">
              <a:rPr lang="en-GB" smtClean="0"/>
              <a:t>29/11/2022</a:t>
            </a:fld>
            <a:endParaRPr lang="en-GB" dirty="0"/>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dirty="0"/>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dirty="0"/>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solidFill>
                  <a:srgbClr val="333333"/>
                </a:solidFill>
                <a:latin typeface="+mn-lt"/>
                <a:cs typeface="Verdana" panose="020B0604030504040204" pitchFamily="34" charset="0"/>
              </a:rPr>
              <a:t>PICTURES</a:t>
            </a:r>
            <a:br>
              <a:rPr lang="en-GB" sz="900" dirty="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dirty="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A5B220B3-5DAB-45AB-9B6A-9B7C36B5A57F}" type="datetime1">
              <a:rPr lang="en-GB" smtClean="0"/>
              <a:t>29/11/2022</a:t>
            </a:fld>
            <a:endParaRPr lang="en-GB" dirty="0"/>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dirty="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dirty="0">
                <a:solidFill>
                  <a:srgbClr val="333333"/>
                </a:solidFill>
                <a:latin typeface="+mn-lt"/>
                <a:ea typeface="Verdana" panose="020B0604030504040204" pitchFamily="34" charset="0"/>
              </a:rPr>
              <a:t>Click on the arrow next to </a:t>
            </a:r>
            <a:r>
              <a:rPr lang="en-GB" sz="900" b="1" dirty="0">
                <a:solidFill>
                  <a:srgbClr val="333333"/>
                </a:solidFill>
                <a:latin typeface="+mn-lt"/>
                <a:ea typeface="Verdana" panose="020B0604030504040204" pitchFamily="34" charset="0"/>
              </a:rPr>
              <a:t>Layout </a:t>
            </a:r>
            <a:r>
              <a:rPr lang="en-GB" sz="900" dirty="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dirty="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dirty="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dirty="0">
                <a:solidFill>
                  <a:schemeClr val="tx1"/>
                </a:solidFill>
              </a:rPr>
              <a:t>If you see any </a:t>
            </a:r>
            <a:r>
              <a:rPr lang="en-GB" sz="4000" b="1" i="1" noProof="0" dirty="0">
                <a:solidFill>
                  <a:schemeClr val="tx1"/>
                </a:solidFill>
              </a:rPr>
              <a:t>layouts after this </a:t>
            </a:r>
            <a:r>
              <a:rPr lang="en-GB" sz="4000" b="0" i="0" noProof="0" dirty="0">
                <a:solidFill>
                  <a:schemeClr val="tx1"/>
                </a:solidFill>
              </a:rPr>
              <a:t>one</a:t>
            </a:r>
            <a:r>
              <a:rPr lang="en-GB" sz="4000" b="1" i="1" noProof="0" dirty="0">
                <a:solidFill>
                  <a:schemeClr val="tx1"/>
                </a:solidFill>
              </a:rPr>
              <a:t>,</a:t>
            </a:r>
            <a:br>
              <a:rPr lang="en-GB" sz="4000" b="0" i="0" noProof="0" dirty="0">
                <a:solidFill>
                  <a:schemeClr val="tx1"/>
                </a:solidFill>
              </a:rPr>
            </a:br>
            <a:r>
              <a:rPr lang="en-GB" sz="4000" b="0" noProof="0" dirty="0">
                <a:solidFill>
                  <a:schemeClr val="tx1"/>
                </a:solidFill>
              </a:rPr>
              <a:t>do not use them. These layouts </a:t>
            </a:r>
            <a:r>
              <a:rPr lang="en-GB" sz="4000" b="1" i="1" u="none" noProof="0" dirty="0">
                <a:solidFill>
                  <a:schemeClr val="tx1"/>
                </a:solidFill>
              </a:rPr>
              <a:t>are not </a:t>
            </a:r>
            <a:r>
              <a:rPr lang="en-GB" sz="4000" b="0" noProof="0" dirty="0">
                <a:solidFill>
                  <a:schemeClr val="tx1"/>
                </a:solidFill>
              </a:rPr>
              <a:t>part of our corporate template.</a:t>
            </a:r>
            <a:endParaRPr lang="en-GB" sz="2400" b="0" noProof="0" dirty="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dirty="0">
                <a:solidFill>
                  <a:schemeClr val="tx1"/>
                </a:solidFill>
              </a:rPr>
              <a:t>Do not use </a:t>
            </a:r>
            <a:endParaRPr lang="en-GB" sz="2000" b="1" i="1" dirty="0">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06357EC7-0D53-4A60-9E41-D75A47B48389}" type="datetime1">
              <a:rPr lang="en-GB" smtClean="0"/>
              <a:t>29/11/2022</a:t>
            </a:fld>
            <a:endParaRPr lang="en-GB"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BED15FA-6EE8-4B82-A537-F53ACAF84CA4}" type="datetime1">
              <a:rPr lang="en-GB" smtClean="0"/>
              <a:t>29/11/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dirty="0"/>
              <a:t>Mark placeholder to insert image </a:t>
            </a:r>
            <a:r>
              <a:rPr lang="en-GB" dirty="0"/>
              <a:t>using the Insert tab – Pictures or from Templafy</a:t>
            </a:r>
          </a:p>
          <a:p>
            <a:endParaRPr lang="en-GB" dirty="0"/>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dirty="0"/>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dirty="0"/>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dirty="0"/>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dirty="0"/>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6B010D-12BA-4529-B692-206652452F2C}" type="datetime1">
              <a:rPr lang="en-GB" smtClean="0"/>
              <a:t>29/11/2022</a:t>
            </a:fld>
            <a:endParaRPr lang="en-GB"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dirty="0"/>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dirty="0"/>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dirty="0"/>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dirty="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dirty="0"/>
              <a:t>Click to add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527E5059-8FC8-469D-AF5C-AED221334502}" type="datetime1">
              <a:rPr lang="en-GB" smtClean="0"/>
              <a:t>29/11/2022</a:t>
            </a:fld>
            <a:endParaRPr lang="en-GB" dirty="0"/>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dirty="0"/>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dirty="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dirty="0"/>
              <a:t>Click to add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B0A79E5A-EC3D-4F9C-8449-9968B8A873CD}" type="datetime1">
              <a:rPr lang="en-GB" smtClean="0"/>
              <a:t>29/11/2022</a:t>
            </a:fld>
            <a:endParaRPr lang="en-GB" dirty="0"/>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dirty="0"/>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dirty="0"/>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dirty="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dirty="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dirty="0"/>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dirty="0"/>
              <a:t>Level 1 (Enter+TAB for next text level, SHIFT+TAB to go back in levels)</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D7C7A626-396F-47CE-9599-33B16A849820}" type="datetime1">
              <a:rPr lang="en-GB" smtClean="0"/>
              <a:t>29/11/2022</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42.xml"/><Relationship Id="rId1" Type="http://schemas.openxmlformats.org/officeDocument/2006/relationships/tags" Target="../tags/tag9.xml"/><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slideLayout" Target="../slideLayouts/slideLayout12.xml"/><Relationship Id="rId7" Type="http://schemas.openxmlformats.org/officeDocument/2006/relationships/image" Target="../media/image32.svg"/><Relationship Id="rId12" Type="http://schemas.openxmlformats.org/officeDocument/2006/relationships/image" Target="../media/image37.png"/><Relationship Id="rId17" Type="http://schemas.openxmlformats.org/officeDocument/2006/relationships/image" Target="../media/image42.svg"/><Relationship Id="rId2" Type="http://schemas.openxmlformats.org/officeDocument/2006/relationships/tags" Target="../tags/tag10.xml"/><Relationship Id="rId16" Type="http://schemas.openxmlformats.org/officeDocument/2006/relationships/image" Target="../media/image41.png"/><Relationship Id="rId1" Type="http://schemas.openxmlformats.org/officeDocument/2006/relationships/vmlDrawing" Target="../drawings/vmlDrawing2.v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21.emf"/><Relationship Id="rId15" Type="http://schemas.openxmlformats.org/officeDocument/2006/relationships/image" Target="../media/image40.svg"/><Relationship Id="rId10" Type="http://schemas.openxmlformats.org/officeDocument/2006/relationships/image" Target="../media/image35.png"/><Relationship Id="rId4" Type="http://schemas.openxmlformats.org/officeDocument/2006/relationships/oleObject" Target="../embeddings/oleObject2.bin"/><Relationship Id="rId9" Type="http://schemas.openxmlformats.org/officeDocument/2006/relationships/image" Target="../media/image34.svg"/><Relationship Id="rId1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hyperlink" Target="https://c.ramboll.com/project-contract-management-white-paper" TargetMode="External"/><Relationship Id="rId2" Type="http://schemas.openxmlformats.org/officeDocument/2006/relationships/image" Target="../media/image43.png"/><Relationship Id="rId1" Type="http://schemas.openxmlformats.org/officeDocument/2006/relationships/slideLayout" Target="../slideLayouts/slideLayout10.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slideLayout" Target="../slideLayouts/slideLayout42.xml"/><Relationship Id="rId1" Type="http://schemas.openxmlformats.org/officeDocument/2006/relationships/tags" Target="../tags/tag11.xml"/></Relationships>
</file>

<file path=ppt/slides/_rels/slide1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10.xml"/><Relationship Id="rId5" Type="http://schemas.openxmlformats.org/officeDocument/2006/relationships/image" Target="../media/image51.sv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3.svg"/><Relationship Id="rId7" Type="http://schemas.openxmlformats.org/officeDocument/2006/relationships/image" Target="../media/image55.svg"/><Relationship Id="rId2" Type="http://schemas.openxmlformats.org/officeDocument/2006/relationships/image" Target="../media/image52.png"/><Relationship Id="rId1" Type="http://schemas.openxmlformats.org/officeDocument/2006/relationships/slideLayout" Target="../slideLayouts/slideLayout10.xml"/><Relationship Id="rId6" Type="http://schemas.openxmlformats.org/officeDocument/2006/relationships/image" Target="../media/image54.png"/><Relationship Id="rId5" Type="http://schemas.openxmlformats.org/officeDocument/2006/relationships/image" Target="../media/image40.svg"/><Relationship Id="rId4" Type="http://schemas.openxmlformats.org/officeDocument/2006/relationships/image" Target="../media/image39.png"/><Relationship Id="rId9" Type="http://schemas.openxmlformats.org/officeDocument/2006/relationships/image" Target="../media/image57.svg"/></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s://c.ramboll.com/project-contract-management-post-signing" TargetMode="External"/><Relationship Id="rId1" Type="http://schemas.openxmlformats.org/officeDocument/2006/relationships/slideLayout" Target="../slideLayouts/slideLayout1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10.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slideLayout" Target="../slideLayouts/slideLayout42.xml"/><Relationship Id="rId1" Type="http://schemas.openxmlformats.org/officeDocument/2006/relationships/tags" Target="../tags/tag12.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s://ramboll.com/ingenuity/sustainability-toolbox" TargetMode="Externa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hyperlink" Target="mailto:lbri@ramboll.com" TargetMode="External"/><Relationship Id="rId1" Type="http://schemas.openxmlformats.org/officeDocument/2006/relationships/slideLayout" Target="../slideLayouts/slideLayout49.xml"/><Relationship Id="rId5" Type="http://schemas.openxmlformats.org/officeDocument/2006/relationships/image" Target="../media/image19.png"/><Relationship Id="rId4" Type="http://schemas.openxmlformats.org/officeDocument/2006/relationships/hyperlink" Target="mailto:rsoe@ramboll.com" TargetMode="Externa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13.xml"/><Relationship Id="rId1" Type="http://schemas.openxmlformats.org/officeDocument/2006/relationships/vmlDrawing" Target="../drawings/vmlDrawing3.vml"/><Relationship Id="rId5" Type="http://schemas.openxmlformats.org/officeDocument/2006/relationships/image" Target="../media/image2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10.xml"/><Relationship Id="rId5" Type="http://schemas.openxmlformats.org/officeDocument/2006/relationships/hyperlink" Target="mailto:rsoe@ramboll.com" TargetMode="External"/><Relationship Id="rId4" Type="http://schemas.openxmlformats.org/officeDocument/2006/relationships/hyperlink" Target="mailto:lbri@ramboll.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33.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1.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42.xml"/><Relationship Id="rId1"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Layout" Target="../slideLayouts/slideLayout10.xml"/><Relationship Id="rId1" Type="http://schemas.openxmlformats.org/officeDocument/2006/relationships/tags" Target="../tags/tag8.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
            <a:extLst>
              <a:ext uri="{FF2B5EF4-FFF2-40B4-BE49-F238E27FC236}">
                <a16:creationId xmlns:a16="http://schemas.microsoft.com/office/drawing/2014/main" id="{14FE1731-E858-4A8A-91F0-D598845E062C}"/>
              </a:ext>
            </a:extLst>
          </p:cNvPr>
          <p:cNvPicPr>
            <a:picLocks noGrp="1" noChangeAspect="1"/>
          </p:cNvPicPr>
          <p:nvPr>
            <p:ph type="pic" sz="quarter" idx="13"/>
            <p:custDataLst>
              <p:tags r:id="rId1"/>
            </p:custDataLst>
          </p:nvPr>
        </p:nvPicPr>
        <p:blipFill rotWithShape="1">
          <a:blip r:embed="rId3">
            <a:extLst>
              <a:ext uri="{28A0092B-C50C-407E-A947-70E740481C1C}">
                <a14:useLocalDpi xmlns:a14="http://schemas.microsoft.com/office/drawing/2010/main" val="0"/>
              </a:ext>
            </a:extLst>
          </a:blip>
          <a:srcRect l="-10" r="10" b="15568"/>
          <a:stretch/>
        </p:blipFill>
        <p:spPr>
          <a:xfrm>
            <a:off x="-1200" y="0"/>
            <a:ext cx="12193200" cy="6861600"/>
          </a:xfrm>
        </p:spPr>
      </p:pic>
      <p:sp>
        <p:nvSpPr>
          <p:cNvPr id="3" name="Title 2">
            <a:extLst>
              <a:ext uri="{FF2B5EF4-FFF2-40B4-BE49-F238E27FC236}">
                <a16:creationId xmlns:a16="http://schemas.microsoft.com/office/drawing/2014/main" id="{7EFFBEA4-0BBB-45E7-97F7-9024D834AC97}"/>
              </a:ext>
            </a:extLst>
          </p:cNvPr>
          <p:cNvSpPr>
            <a:spLocks noGrp="1"/>
          </p:cNvSpPr>
          <p:nvPr>
            <p:ph type="ctrTitle"/>
          </p:nvPr>
        </p:nvSpPr>
        <p:spPr>
          <a:xfrm>
            <a:off x="360001" y="358842"/>
            <a:ext cx="5423942" cy="1512000"/>
          </a:xfrm>
        </p:spPr>
        <p:txBody>
          <a:bodyPr/>
          <a:lstStyle/>
          <a:p>
            <a:r>
              <a:rPr lang="en-GB" dirty="0"/>
              <a:t>Integrating Sustainability in Construction Contracts</a:t>
            </a:r>
          </a:p>
        </p:txBody>
      </p:sp>
    </p:spTree>
    <p:extLst>
      <p:ext uri="{BB962C8B-B14F-4D97-AF65-F5344CB8AC3E}">
        <p14:creationId xmlns:p14="http://schemas.microsoft.com/office/powerpoint/2010/main" val="29331910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3C390BB-4451-43CC-A5EE-4C09658BA186}"/>
              </a:ext>
            </a:extLst>
          </p:cNvPr>
          <p:cNvSpPr/>
          <p:nvPr/>
        </p:nvSpPr>
        <p:spPr>
          <a:xfrm>
            <a:off x="4072537" y="6419020"/>
            <a:ext cx="8119461" cy="438980"/>
          </a:xfrm>
          <a:prstGeom prst="rect">
            <a:avLst/>
          </a:prstGeom>
          <a:solidFill>
            <a:srgbClr val="EAE66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a:extLst>
              <a:ext uri="{FF2B5EF4-FFF2-40B4-BE49-F238E27FC236}">
                <a16:creationId xmlns:a16="http://schemas.microsoft.com/office/drawing/2014/main" id="{B6F763EE-0553-49D7-AD06-2F72BA2E0850}"/>
              </a:ext>
            </a:extLst>
          </p:cNvPr>
          <p:cNvSpPr>
            <a:spLocks noGrp="1"/>
          </p:cNvSpPr>
          <p:nvPr>
            <p:ph type="title"/>
          </p:nvPr>
        </p:nvSpPr>
        <p:spPr>
          <a:xfrm>
            <a:off x="360000" y="655200"/>
            <a:ext cx="5503771" cy="936000"/>
          </a:xfrm>
        </p:spPr>
        <p:txBody>
          <a:bodyPr/>
          <a:lstStyle/>
          <a:p>
            <a:r>
              <a:rPr lang="en-GB" dirty="0"/>
              <a:t>Case example 2:</a:t>
            </a:r>
            <a:br>
              <a:rPr lang="en-GB" dirty="0"/>
            </a:br>
            <a:r>
              <a:rPr lang="en-GB" dirty="0" err="1"/>
              <a:t>Aflandshage</a:t>
            </a:r>
            <a:endParaRPr lang="en-GB" dirty="0"/>
          </a:p>
        </p:txBody>
      </p:sp>
      <p:sp>
        <p:nvSpPr>
          <p:cNvPr id="38" name="Content Placeholder 37">
            <a:extLst>
              <a:ext uri="{FF2B5EF4-FFF2-40B4-BE49-F238E27FC236}">
                <a16:creationId xmlns:a16="http://schemas.microsoft.com/office/drawing/2014/main" id="{31A0B557-2F7C-4B94-A5A2-F7A21780B114}"/>
              </a:ext>
            </a:extLst>
          </p:cNvPr>
          <p:cNvSpPr>
            <a:spLocks noGrp="1"/>
          </p:cNvSpPr>
          <p:nvPr>
            <p:ph idx="1"/>
          </p:nvPr>
        </p:nvSpPr>
        <p:spPr>
          <a:xfrm>
            <a:off x="341952" y="1846847"/>
            <a:ext cx="3326175" cy="4294800"/>
          </a:xfrm>
        </p:spPr>
        <p:txBody>
          <a:bodyPr/>
          <a:lstStyle/>
          <a:p>
            <a:pPr>
              <a:spcAft>
                <a:spcPts val="1200"/>
              </a:spcAft>
            </a:pPr>
            <a:r>
              <a:rPr lang="en-GB" sz="1400" b="1" dirty="0">
                <a:solidFill>
                  <a:schemeClr val="tx2"/>
                </a:solidFill>
              </a:rPr>
              <a:t>Coastal windfarm 10 kilometres south of Copenhagen.</a:t>
            </a:r>
          </a:p>
          <a:p>
            <a:pPr>
              <a:spcAft>
                <a:spcPts val="1200"/>
              </a:spcAft>
            </a:pPr>
            <a:r>
              <a:rPr lang="en-GB" sz="1400" dirty="0">
                <a:solidFill>
                  <a:srgbClr val="A6A6A6"/>
                </a:solidFill>
              </a:rPr>
              <a:t>300 MW effect when finished.</a:t>
            </a:r>
          </a:p>
          <a:p>
            <a:pPr>
              <a:spcAft>
                <a:spcPts val="1200"/>
              </a:spcAft>
            </a:pPr>
            <a:r>
              <a:rPr lang="en-GB" sz="1400" dirty="0">
                <a:solidFill>
                  <a:srgbClr val="A6A6A6"/>
                </a:solidFill>
              </a:rPr>
              <a:t>Goal of contributing to </a:t>
            </a:r>
            <a:r>
              <a:rPr lang="en-GB" sz="1400" b="1" dirty="0">
                <a:solidFill>
                  <a:schemeClr val="tx2"/>
                </a:solidFill>
              </a:rPr>
              <a:t>green transition.</a:t>
            </a:r>
          </a:p>
          <a:p>
            <a:pPr>
              <a:spcAft>
                <a:spcPts val="1200"/>
              </a:spcAft>
            </a:pPr>
            <a:r>
              <a:rPr lang="en-GB" sz="1400" dirty="0">
                <a:solidFill>
                  <a:srgbClr val="A6A6A6"/>
                </a:solidFill>
              </a:rPr>
              <a:t>Goal of utilising multiple aspects of the project for sustainability purposes – e.g., through the construction of </a:t>
            </a:r>
            <a:r>
              <a:rPr lang="en-GB" sz="1400" b="1" dirty="0">
                <a:solidFill>
                  <a:schemeClr val="tx2"/>
                </a:solidFill>
              </a:rPr>
              <a:t>artificial reefs </a:t>
            </a:r>
            <a:r>
              <a:rPr lang="en-GB" sz="1400" dirty="0">
                <a:solidFill>
                  <a:srgbClr val="A6A6A6"/>
                </a:solidFill>
              </a:rPr>
              <a:t>as part of a “nature inclusive design”.</a:t>
            </a:r>
          </a:p>
          <a:p>
            <a:pPr>
              <a:spcAft>
                <a:spcPts val="1200"/>
              </a:spcAft>
            </a:pPr>
            <a:r>
              <a:rPr lang="en-GB" sz="1400" dirty="0">
                <a:solidFill>
                  <a:srgbClr val="A6A6A6"/>
                </a:solidFill>
              </a:rPr>
              <a:t>Ramboll is currently advising on various aspects of the project.</a:t>
            </a:r>
          </a:p>
        </p:txBody>
      </p:sp>
      <p:sp>
        <p:nvSpPr>
          <p:cNvPr id="4" name="Slide Number Placeholder 3">
            <a:extLst>
              <a:ext uri="{FF2B5EF4-FFF2-40B4-BE49-F238E27FC236}">
                <a16:creationId xmlns:a16="http://schemas.microsoft.com/office/drawing/2014/main" id="{6A9A7116-CF6A-4877-9B16-6268A79AFDCD}"/>
              </a:ext>
            </a:extLst>
          </p:cNvPr>
          <p:cNvSpPr>
            <a:spLocks noGrp="1"/>
          </p:cNvSpPr>
          <p:nvPr>
            <p:ph type="sldNum" sz="quarter" idx="12"/>
          </p:nvPr>
        </p:nvSpPr>
        <p:spPr/>
        <p:txBody>
          <a:bodyPr/>
          <a:lstStyle/>
          <a:p>
            <a:fld id="{23AA811B-2EBD-4900-905E-5BE206449611}" type="slidenum">
              <a:rPr lang="en-GB" smtClean="0"/>
              <a:pPr/>
              <a:t>10</a:t>
            </a:fld>
            <a:endParaRPr lang="en-GB" dirty="0"/>
          </a:p>
        </p:txBody>
      </p:sp>
      <p:sp>
        <p:nvSpPr>
          <p:cNvPr id="5" name="TextBox 4">
            <a:extLst>
              <a:ext uri="{FF2B5EF4-FFF2-40B4-BE49-F238E27FC236}">
                <a16:creationId xmlns:a16="http://schemas.microsoft.com/office/drawing/2014/main" id="{E674344D-1568-4800-9521-8D7B693922CB}"/>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chemeClr val="accent1"/>
                </a:solidFill>
                <a:latin typeface="Verdana"/>
              </a:rPr>
              <a:t>Sustainability</a:t>
            </a:r>
            <a:r>
              <a:rPr lang="en-GB" sz="800" dirty="0">
                <a:solidFill>
                  <a:schemeClr val="bg1">
                    <a:lumMod val="65000"/>
                  </a:schemeClr>
                </a:solidFill>
                <a:latin typeface="Verdana"/>
              </a:rPr>
              <a:t> </a:t>
            </a:r>
            <a:r>
              <a:rPr lang="en-GB" sz="800" dirty="0">
                <a:solidFill>
                  <a:schemeClr val="accent1"/>
                </a:solidFill>
                <a:latin typeface="Verdana"/>
              </a:rPr>
              <a:t>│</a:t>
            </a:r>
            <a:r>
              <a:rPr lang="en-GB" sz="800" dirty="0">
                <a:solidFill>
                  <a:schemeClr val="bg1">
                    <a:lumMod val="65000"/>
                  </a:schemeClr>
                </a:solidFill>
                <a:latin typeface="Verdana"/>
              </a:rPr>
              <a:t> Procurement │ Contract Management │ How to do it</a:t>
            </a:r>
          </a:p>
        </p:txBody>
      </p:sp>
      <p:sp>
        <p:nvSpPr>
          <p:cNvPr id="14" name="TextBox 13">
            <a:extLst>
              <a:ext uri="{FF2B5EF4-FFF2-40B4-BE49-F238E27FC236}">
                <a16:creationId xmlns:a16="http://schemas.microsoft.com/office/drawing/2014/main" id="{F39EC336-F82A-4D94-9D42-B72F4E9D8AAF}"/>
              </a:ext>
            </a:extLst>
          </p:cNvPr>
          <p:cNvSpPr txBox="1"/>
          <p:nvPr/>
        </p:nvSpPr>
        <p:spPr>
          <a:xfrm>
            <a:off x="7569200" y="6476062"/>
            <a:ext cx="4068000" cy="76944"/>
          </a:xfrm>
          <a:prstGeom prst="rect">
            <a:avLst/>
          </a:prstGeom>
          <a:noFill/>
        </p:spPr>
        <p:txBody>
          <a:bodyPr wrap="square" lIns="0" tIns="0" rIns="0" bIns="0" rtlCol="0">
            <a:spAutoFit/>
          </a:bodyPr>
          <a:lstStyle/>
          <a:p>
            <a:r>
              <a:rPr lang="en-GB" sz="500" dirty="0">
                <a:solidFill>
                  <a:schemeClr val="bg1">
                    <a:lumMod val="50000"/>
                  </a:schemeClr>
                </a:solidFill>
              </a:rPr>
              <a:t>Source: https://www.energy-supply.dk/article/view/877476/fundamentertil_havvindmoller_skal_give_flere_torsk_i_oresund</a:t>
            </a:r>
          </a:p>
        </p:txBody>
      </p:sp>
      <p:pic>
        <p:nvPicPr>
          <p:cNvPr id="15" name="Picture 2" descr="For torsk gælder det, at sten udlagt op til 15 meter under havoverfladen, er særligt velegnede til at forbedre levebetingelserne.">
            <a:extLst>
              <a:ext uri="{FF2B5EF4-FFF2-40B4-BE49-F238E27FC236}">
                <a16:creationId xmlns:a16="http://schemas.microsoft.com/office/drawing/2014/main" id="{80852752-F2BB-474A-BF6C-95A8CEFE881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303" r="2463"/>
          <a:stretch/>
        </p:blipFill>
        <p:spPr bwMode="auto">
          <a:xfrm>
            <a:off x="4072538" y="240708"/>
            <a:ext cx="2729301" cy="62028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57585194-B4E6-4901-B3D9-77101023F2D9}"/>
              </a:ext>
            </a:extLst>
          </p:cNvPr>
          <p:cNvSpPr txBox="1"/>
          <p:nvPr/>
        </p:nvSpPr>
        <p:spPr>
          <a:xfrm>
            <a:off x="7569200" y="6600464"/>
            <a:ext cx="4068000" cy="153888"/>
          </a:xfrm>
          <a:prstGeom prst="rect">
            <a:avLst/>
          </a:prstGeom>
          <a:noFill/>
        </p:spPr>
        <p:txBody>
          <a:bodyPr wrap="square" lIns="0" tIns="0" rIns="0" bIns="0" rtlCol="0">
            <a:spAutoFit/>
          </a:bodyPr>
          <a:lstStyle/>
          <a:p>
            <a:r>
              <a:rPr lang="en-GB" sz="500" dirty="0">
                <a:solidFill>
                  <a:schemeClr val="bg1">
                    <a:lumMod val="50000"/>
                  </a:schemeClr>
                </a:solidFill>
              </a:rPr>
              <a:t>Source: HOFOR – https://www.hofor.dk/baeredygtige-byer/vind-og-sol/nye-vind-og-solprojekter-paa-vej/nye-havvindmoeller-i-oeresund/aflandshage-vindmoellepark/</a:t>
            </a:r>
          </a:p>
        </p:txBody>
      </p:sp>
      <p:pic>
        <p:nvPicPr>
          <p:cNvPr id="18" name="Picture 2" descr="For torsk gælder det, at sten udlagt op til 15 meter under havoverfladen, er særligt velegnede til at forbedre levebetingelserne.">
            <a:extLst>
              <a:ext uri="{FF2B5EF4-FFF2-40B4-BE49-F238E27FC236}">
                <a16:creationId xmlns:a16="http://schemas.microsoft.com/office/drawing/2014/main" id="{6E4BA46D-6D61-435D-A988-244D560E732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303" r="2463"/>
          <a:stretch/>
        </p:blipFill>
        <p:spPr bwMode="auto">
          <a:xfrm>
            <a:off x="9461620" y="239484"/>
            <a:ext cx="2730379" cy="62052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For torsk gælder det, at sten udlagt op til 15 meter under havoverfladen, er særligt velegnede til at forbedre levebetingelserne.">
            <a:extLst>
              <a:ext uri="{FF2B5EF4-FFF2-40B4-BE49-F238E27FC236}">
                <a16:creationId xmlns:a16="http://schemas.microsoft.com/office/drawing/2014/main" id="{A9BB8585-5770-413C-A92F-8A27C66383D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303" r="2463"/>
          <a:stretch/>
        </p:blipFill>
        <p:spPr bwMode="auto">
          <a:xfrm flipH="1">
            <a:off x="6767077" y="239484"/>
            <a:ext cx="2730379" cy="6205249"/>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B6203EA0-B72A-449B-8F63-A8DBB1BE7466}"/>
              </a:ext>
            </a:extLst>
          </p:cNvPr>
          <p:cNvSpPr/>
          <p:nvPr/>
        </p:nvSpPr>
        <p:spPr>
          <a:xfrm>
            <a:off x="5677494" y="5903685"/>
            <a:ext cx="1804672" cy="459400"/>
          </a:xfrm>
          <a:prstGeom prst="rect">
            <a:avLst/>
          </a:prstGeom>
          <a:solidFill>
            <a:srgbClr val="EAE66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 name="Rectangle 2">
            <a:extLst>
              <a:ext uri="{FF2B5EF4-FFF2-40B4-BE49-F238E27FC236}">
                <a16:creationId xmlns:a16="http://schemas.microsoft.com/office/drawing/2014/main" id="{E935D2B9-8A7A-4F23-8ADC-DC57B7099635}"/>
              </a:ext>
            </a:extLst>
          </p:cNvPr>
          <p:cNvSpPr/>
          <p:nvPr/>
        </p:nvSpPr>
        <p:spPr>
          <a:xfrm>
            <a:off x="4072537" y="0"/>
            <a:ext cx="8119464" cy="249860"/>
          </a:xfrm>
          <a:prstGeom prst="rect">
            <a:avLst/>
          </a:prstGeom>
          <a:solidFill>
            <a:srgbClr val="D9EDE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6700055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AC010F8-1807-4463-997D-8E072E891052}"/>
              </a:ext>
            </a:extLst>
          </p:cNvPr>
          <p:cNvPicPr>
            <a:picLocks noChangeAspect="1"/>
          </p:cNvPicPr>
          <p:nvPr/>
        </p:nvPicPr>
        <p:blipFill rotWithShape="1">
          <a:blip r:embed="rId2"/>
          <a:srcRect r="23133"/>
          <a:stretch/>
        </p:blipFill>
        <p:spPr>
          <a:xfrm>
            <a:off x="4287136" y="0"/>
            <a:ext cx="7904864" cy="6858000"/>
          </a:xfrm>
          <a:prstGeom prst="rect">
            <a:avLst/>
          </a:prstGeom>
        </p:spPr>
      </p:pic>
      <p:sp>
        <p:nvSpPr>
          <p:cNvPr id="2" name="Title 1">
            <a:extLst>
              <a:ext uri="{FF2B5EF4-FFF2-40B4-BE49-F238E27FC236}">
                <a16:creationId xmlns:a16="http://schemas.microsoft.com/office/drawing/2014/main" id="{B6F763EE-0553-49D7-AD06-2F72BA2E0850}"/>
              </a:ext>
            </a:extLst>
          </p:cNvPr>
          <p:cNvSpPr>
            <a:spLocks noGrp="1"/>
          </p:cNvSpPr>
          <p:nvPr>
            <p:ph type="title"/>
          </p:nvPr>
        </p:nvSpPr>
        <p:spPr>
          <a:xfrm>
            <a:off x="360000" y="655200"/>
            <a:ext cx="5503771" cy="936000"/>
          </a:xfrm>
        </p:spPr>
        <p:txBody>
          <a:bodyPr/>
          <a:lstStyle/>
          <a:p>
            <a:r>
              <a:rPr lang="en-GB" dirty="0"/>
              <a:t>Case example 3:</a:t>
            </a:r>
            <a:br>
              <a:rPr lang="en-GB" dirty="0"/>
            </a:br>
            <a:r>
              <a:rPr lang="en-GB" dirty="0"/>
              <a:t>Fehmarn Tunnel</a:t>
            </a:r>
          </a:p>
        </p:txBody>
      </p:sp>
      <p:sp>
        <p:nvSpPr>
          <p:cNvPr id="38" name="Content Placeholder 37">
            <a:extLst>
              <a:ext uri="{FF2B5EF4-FFF2-40B4-BE49-F238E27FC236}">
                <a16:creationId xmlns:a16="http://schemas.microsoft.com/office/drawing/2014/main" id="{31A0B557-2F7C-4B94-A5A2-F7A21780B114}"/>
              </a:ext>
            </a:extLst>
          </p:cNvPr>
          <p:cNvSpPr>
            <a:spLocks noGrp="1"/>
          </p:cNvSpPr>
          <p:nvPr>
            <p:ph idx="1"/>
          </p:nvPr>
        </p:nvSpPr>
        <p:spPr>
          <a:xfrm>
            <a:off x="360000" y="1828800"/>
            <a:ext cx="3326175" cy="4294800"/>
          </a:xfrm>
        </p:spPr>
        <p:txBody>
          <a:bodyPr/>
          <a:lstStyle/>
          <a:p>
            <a:pPr>
              <a:spcAft>
                <a:spcPts val="1200"/>
              </a:spcAft>
            </a:pPr>
            <a:r>
              <a:rPr lang="en-GB" sz="1400" dirty="0">
                <a:solidFill>
                  <a:srgbClr val="AFAFAF"/>
                </a:solidFill>
              </a:rPr>
              <a:t>The Fehmarn Belt Fixed Link tunnel will be the longest ever constructed </a:t>
            </a:r>
            <a:r>
              <a:rPr lang="en-GB" sz="1400" b="1" dirty="0">
                <a:solidFill>
                  <a:schemeClr val="tx2"/>
                </a:solidFill>
              </a:rPr>
              <a:t>immersed tunnel </a:t>
            </a:r>
            <a:r>
              <a:rPr lang="en-GB" sz="1400" dirty="0">
                <a:solidFill>
                  <a:srgbClr val="AFAFAF"/>
                </a:solidFill>
              </a:rPr>
              <a:t>at a </a:t>
            </a:r>
            <a:r>
              <a:rPr lang="en-GB" sz="1400" b="1" dirty="0">
                <a:solidFill>
                  <a:schemeClr val="tx2"/>
                </a:solidFill>
              </a:rPr>
              <a:t>length of 17,6 kilometres</a:t>
            </a:r>
            <a:r>
              <a:rPr lang="en-GB" sz="1400" dirty="0">
                <a:solidFill>
                  <a:srgbClr val="AFAFAF"/>
                </a:solidFill>
              </a:rPr>
              <a:t>.</a:t>
            </a:r>
          </a:p>
          <a:p>
            <a:pPr>
              <a:spcAft>
                <a:spcPts val="1200"/>
              </a:spcAft>
            </a:pPr>
            <a:r>
              <a:rPr lang="en-GB" sz="1400" dirty="0">
                <a:solidFill>
                  <a:srgbClr val="AFAFAF"/>
                </a:solidFill>
              </a:rPr>
              <a:t>Enabling traffic to use </a:t>
            </a:r>
            <a:r>
              <a:rPr lang="en-GB" sz="1400" b="1" dirty="0">
                <a:solidFill>
                  <a:schemeClr val="tx2"/>
                </a:solidFill>
              </a:rPr>
              <a:t>the shortest and fastest route will reduce CO2 emissions</a:t>
            </a:r>
            <a:r>
              <a:rPr lang="en-GB" sz="1400" dirty="0">
                <a:solidFill>
                  <a:srgbClr val="AFAFAF"/>
                </a:solidFill>
              </a:rPr>
              <a:t> and free up capacity on roads and railways.</a:t>
            </a:r>
          </a:p>
          <a:p>
            <a:pPr>
              <a:spcAft>
                <a:spcPts val="1200"/>
              </a:spcAft>
            </a:pPr>
            <a:r>
              <a:rPr lang="en-GB" sz="1400" dirty="0">
                <a:solidFill>
                  <a:srgbClr val="AFAFAF"/>
                </a:solidFill>
              </a:rPr>
              <a:t>The contractors have committed to the establishment of at least </a:t>
            </a:r>
            <a:r>
              <a:rPr lang="en-GB" sz="1400" b="1" dirty="0">
                <a:solidFill>
                  <a:schemeClr val="tx2"/>
                </a:solidFill>
              </a:rPr>
              <a:t>500 full-time apprenticeships</a:t>
            </a:r>
            <a:r>
              <a:rPr lang="en-GB" sz="1400" dirty="0">
                <a:solidFill>
                  <a:srgbClr val="AFAFAF"/>
                </a:solidFill>
              </a:rPr>
              <a:t>.</a:t>
            </a:r>
          </a:p>
          <a:p>
            <a:pPr>
              <a:spcAft>
                <a:spcPts val="1200"/>
              </a:spcAft>
            </a:pPr>
            <a:r>
              <a:rPr lang="en-GB" sz="1400" dirty="0">
                <a:solidFill>
                  <a:srgbClr val="AFAFAF"/>
                </a:solidFill>
              </a:rPr>
              <a:t>To ensure optimal conditions for the 500 apprentices, the project will construct an </a:t>
            </a:r>
            <a:r>
              <a:rPr lang="en-GB" sz="1400" b="1" dirty="0">
                <a:solidFill>
                  <a:schemeClr val="tx2"/>
                </a:solidFill>
              </a:rPr>
              <a:t>apprentice city</a:t>
            </a:r>
            <a:r>
              <a:rPr lang="en-GB" sz="1400" dirty="0">
                <a:solidFill>
                  <a:srgbClr val="AFAFAF"/>
                </a:solidFill>
              </a:rPr>
              <a:t>.</a:t>
            </a:r>
          </a:p>
          <a:p>
            <a:pPr>
              <a:spcAft>
                <a:spcPts val="1200"/>
              </a:spcAft>
            </a:pPr>
            <a:r>
              <a:rPr lang="en-GB" sz="1400" dirty="0">
                <a:solidFill>
                  <a:srgbClr val="A6A6A6"/>
                </a:solidFill>
              </a:rPr>
              <a:t>Ramboll is currently advising on various aspects of the project.</a:t>
            </a:r>
          </a:p>
          <a:p>
            <a:pPr marL="0" indent="0">
              <a:spcAft>
                <a:spcPts val="1200"/>
              </a:spcAft>
              <a:buNone/>
            </a:pPr>
            <a:endParaRPr lang="en-GB" sz="1400" dirty="0"/>
          </a:p>
        </p:txBody>
      </p:sp>
      <p:sp>
        <p:nvSpPr>
          <p:cNvPr id="4" name="Slide Number Placeholder 3">
            <a:extLst>
              <a:ext uri="{FF2B5EF4-FFF2-40B4-BE49-F238E27FC236}">
                <a16:creationId xmlns:a16="http://schemas.microsoft.com/office/drawing/2014/main" id="{6A9A7116-CF6A-4877-9B16-6268A79AFDCD}"/>
              </a:ext>
            </a:extLst>
          </p:cNvPr>
          <p:cNvSpPr>
            <a:spLocks noGrp="1"/>
          </p:cNvSpPr>
          <p:nvPr>
            <p:ph type="sldNum" sz="quarter" idx="12"/>
          </p:nvPr>
        </p:nvSpPr>
        <p:spPr/>
        <p:txBody>
          <a:bodyPr/>
          <a:lstStyle/>
          <a:p>
            <a:fld id="{23AA811B-2EBD-4900-905E-5BE206449611}" type="slidenum">
              <a:rPr lang="en-GB" smtClean="0">
                <a:solidFill>
                  <a:schemeClr val="bg1"/>
                </a:solidFill>
              </a:rPr>
              <a:pPr/>
              <a:t>11</a:t>
            </a:fld>
            <a:endParaRPr lang="en-GB" dirty="0">
              <a:solidFill>
                <a:schemeClr val="bg1"/>
              </a:solidFill>
            </a:endParaRPr>
          </a:p>
        </p:txBody>
      </p:sp>
      <p:sp>
        <p:nvSpPr>
          <p:cNvPr id="5" name="TextBox 4">
            <a:extLst>
              <a:ext uri="{FF2B5EF4-FFF2-40B4-BE49-F238E27FC236}">
                <a16:creationId xmlns:a16="http://schemas.microsoft.com/office/drawing/2014/main" id="{E674344D-1568-4800-9521-8D7B693922CB}"/>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chemeClr val="accent1"/>
                </a:solidFill>
                <a:latin typeface="Verdana"/>
              </a:rPr>
              <a:t>Sustainability</a:t>
            </a:r>
            <a:r>
              <a:rPr lang="en-GB" sz="800" dirty="0">
                <a:solidFill>
                  <a:schemeClr val="bg1">
                    <a:lumMod val="65000"/>
                  </a:schemeClr>
                </a:solidFill>
                <a:latin typeface="Verdana"/>
              </a:rPr>
              <a:t> </a:t>
            </a:r>
            <a:r>
              <a:rPr lang="en-GB" sz="800" dirty="0">
                <a:solidFill>
                  <a:schemeClr val="accent1"/>
                </a:solidFill>
                <a:latin typeface="Verdana"/>
              </a:rPr>
              <a:t>│</a:t>
            </a:r>
            <a:r>
              <a:rPr lang="en-GB" sz="800" dirty="0">
                <a:solidFill>
                  <a:schemeClr val="bg1">
                    <a:lumMod val="65000"/>
                  </a:schemeClr>
                </a:solidFill>
                <a:latin typeface="Verdana"/>
              </a:rPr>
              <a:t> Procurement │ Contract Management │ How to do it</a:t>
            </a:r>
          </a:p>
        </p:txBody>
      </p:sp>
      <p:sp>
        <p:nvSpPr>
          <p:cNvPr id="14" name="TextBox 13">
            <a:extLst>
              <a:ext uri="{FF2B5EF4-FFF2-40B4-BE49-F238E27FC236}">
                <a16:creationId xmlns:a16="http://schemas.microsoft.com/office/drawing/2014/main" id="{F39EC336-F82A-4D94-9D42-B72F4E9D8AAF}"/>
              </a:ext>
            </a:extLst>
          </p:cNvPr>
          <p:cNvSpPr txBox="1"/>
          <p:nvPr/>
        </p:nvSpPr>
        <p:spPr>
          <a:xfrm>
            <a:off x="7119257" y="6476062"/>
            <a:ext cx="4464000" cy="76944"/>
          </a:xfrm>
          <a:prstGeom prst="rect">
            <a:avLst/>
          </a:prstGeom>
          <a:noFill/>
        </p:spPr>
        <p:txBody>
          <a:bodyPr wrap="square" lIns="0" tIns="0" rIns="0" bIns="0" rtlCol="0">
            <a:spAutoFit/>
          </a:bodyPr>
          <a:lstStyle/>
          <a:p>
            <a:r>
              <a:rPr lang="en-GB" sz="500" dirty="0">
                <a:solidFill>
                  <a:schemeClr val="bg1">
                    <a:lumMod val="85000"/>
                  </a:schemeClr>
                </a:solidFill>
              </a:rPr>
              <a:t>Source: https://jyllands-posten.dk/jperhverv/ECE13715028/fra-holte-til-roedbyhavn-for-en-laereplads-oktay-tas-kan-lide-stilheden/</a:t>
            </a:r>
          </a:p>
        </p:txBody>
      </p:sp>
      <p:sp>
        <p:nvSpPr>
          <p:cNvPr id="16" name="TextBox 15">
            <a:extLst>
              <a:ext uri="{FF2B5EF4-FFF2-40B4-BE49-F238E27FC236}">
                <a16:creationId xmlns:a16="http://schemas.microsoft.com/office/drawing/2014/main" id="{57585194-B4E6-4901-B3D9-77101023F2D9}"/>
              </a:ext>
            </a:extLst>
          </p:cNvPr>
          <p:cNvSpPr txBox="1"/>
          <p:nvPr/>
        </p:nvSpPr>
        <p:spPr>
          <a:xfrm>
            <a:off x="7119257" y="6600464"/>
            <a:ext cx="4068000" cy="76944"/>
          </a:xfrm>
          <a:prstGeom prst="rect">
            <a:avLst/>
          </a:prstGeom>
          <a:noFill/>
        </p:spPr>
        <p:txBody>
          <a:bodyPr wrap="square" lIns="0" tIns="0" rIns="0" bIns="0" rtlCol="0">
            <a:spAutoFit/>
          </a:bodyPr>
          <a:lstStyle/>
          <a:p>
            <a:r>
              <a:rPr lang="en-GB" sz="500" dirty="0">
                <a:solidFill>
                  <a:schemeClr val="bg1">
                    <a:lumMod val="85000"/>
                  </a:schemeClr>
                </a:solidFill>
              </a:rPr>
              <a:t>Source: </a:t>
            </a:r>
            <a:r>
              <a:rPr lang="en-GB" sz="500" dirty="0" err="1">
                <a:solidFill>
                  <a:schemeClr val="bg1">
                    <a:lumMod val="85000"/>
                  </a:schemeClr>
                </a:solidFill>
              </a:rPr>
              <a:t>Femern</a:t>
            </a:r>
            <a:r>
              <a:rPr lang="en-GB" sz="500" dirty="0">
                <a:solidFill>
                  <a:schemeClr val="bg1">
                    <a:lumMod val="85000"/>
                  </a:schemeClr>
                </a:solidFill>
              </a:rPr>
              <a:t> – https://femern.com/da/baeredygtighed/baeredygtighed/</a:t>
            </a:r>
          </a:p>
        </p:txBody>
      </p:sp>
    </p:spTree>
    <p:extLst>
      <p:ext uri="{BB962C8B-B14F-4D97-AF65-F5344CB8AC3E}">
        <p14:creationId xmlns:p14="http://schemas.microsoft.com/office/powerpoint/2010/main" val="1252934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A04173-CF48-4FEB-A624-FCA9BC2A8662}"/>
              </a:ext>
            </a:extLst>
          </p:cNvPr>
          <p:cNvSpPr>
            <a:spLocks noGrp="1"/>
          </p:cNvSpPr>
          <p:nvPr>
            <p:ph type="sldNum" sz="quarter" idx="17"/>
          </p:nvPr>
        </p:nvSpPr>
        <p:spPr/>
        <p:txBody>
          <a:bodyPr/>
          <a:lstStyle/>
          <a:p>
            <a:fld id="{23AA811B-2EBD-4900-905E-5BE206449611}" type="slidenum">
              <a:rPr lang="en-GB" smtClean="0"/>
              <a:pPr/>
              <a:t>12</a:t>
            </a:fld>
            <a:endParaRPr lang="en-GB" dirty="0"/>
          </a:p>
        </p:txBody>
      </p:sp>
      <p:sp>
        <p:nvSpPr>
          <p:cNvPr id="7" name="Rectangle 6">
            <a:extLst>
              <a:ext uri="{FF2B5EF4-FFF2-40B4-BE49-F238E27FC236}">
                <a16:creationId xmlns:a16="http://schemas.microsoft.com/office/drawing/2014/main" id="{36C4B18A-0758-4DAD-B57B-E5A6BE206099}"/>
              </a:ext>
            </a:extLst>
          </p:cNvPr>
          <p:cNvSpPr/>
          <p:nvPr/>
        </p:nvSpPr>
        <p:spPr>
          <a:xfrm>
            <a:off x="5239657" y="910772"/>
            <a:ext cx="6952343" cy="13062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800" noProof="0" dirty="0"/>
              <a:t>Sustainability in major projects</a:t>
            </a:r>
            <a:br>
              <a:rPr lang="en-GB" sz="2800" noProof="0" dirty="0"/>
            </a:br>
            <a:r>
              <a:rPr lang="en-GB" sz="2800" noProof="0" dirty="0"/>
              <a:t>- what does good look like?</a:t>
            </a:r>
          </a:p>
        </p:txBody>
      </p:sp>
      <p:sp>
        <p:nvSpPr>
          <p:cNvPr id="51" name="Rectangle 50">
            <a:extLst>
              <a:ext uri="{FF2B5EF4-FFF2-40B4-BE49-F238E27FC236}">
                <a16:creationId xmlns:a16="http://schemas.microsoft.com/office/drawing/2014/main" id="{88BCB7A5-896C-400E-8CF4-DBF373CE1587}"/>
              </a:ext>
            </a:extLst>
          </p:cNvPr>
          <p:cNvSpPr/>
          <p:nvPr/>
        </p:nvSpPr>
        <p:spPr>
          <a:xfrm>
            <a:off x="0" y="396421"/>
            <a:ext cx="6952343" cy="16206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800" noProof="0" dirty="0"/>
              <a:t>How Procurement can play a key role in integrating sustainability from an early phase of a project?</a:t>
            </a:r>
          </a:p>
        </p:txBody>
      </p:sp>
      <p:pic>
        <p:nvPicPr>
          <p:cNvPr id="53" name="Picture 52">
            <a:extLst>
              <a:ext uri="{FF2B5EF4-FFF2-40B4-BE49-F238E27FC236}">
                <a16:creationId xmlns:a16="http://schemas.microsoft.com/office/drawing/2014/main" id="{E34C7C92-68AA-411F-8737-426F6DB5F834}"/>
              </a:ext>
            </a:extLst>
          </p:cNvPr>
          <p:cNvPicPr>
            <a:picLocks noChangeAspect="1"/>
          </p:cNvPicPr>
          <p:nvPr/>
        </p:nvPicPr>
        <p:blipFill>
          <a:blip r:embed="rId3"/>
          <a:stretch>
            <a:fillRect/>
          </a:stretch>
        </p:blipFill>
        <p:spPr>
          <a:xfrm>
            <a:off x="0" y="0"/>
            <a:ext cx="419211" cy="268514"/>
          </a:xfrm>
          <a:prstGeom prst="rect">
            <a:avLst/>
          </a:prstGeom>
        </p:spPr>
      </p:pic>
      <p:pic>
        <p:nvPicPr>
          <p:cNvPr id="57" name="Picture Placeholder 54">
            <a:extLst>
              <a:ext uri="{FF2B5EF4-FFF2-40B4-BE49-F238E27FC236}">
                <a16:creationId xmlns:a16="http://schemas.microsoft.com/office/drawing/2014/main" id="{306F6ED3-D11E-48C8-A4D2-0EC30E48491F}"/>
              </a:ext>
            </a:extLst>
          </p:cNvPr>
          <p:cNvPicPr>
            <a:picLocks noGrp="1" noChangeAspect="1"/>
          </p:cNvPicPr>
          <p:nvPr>
            <p:ph type="pic" sz="quarter" idx="14"/>
            <p:custDataLst>
              <p:tags r:id="rId1"/>
            </p:custDataLst>
          </p:nvPr>
        </p:nvPicPr>
        <p:blipFill rotWithShape="1">
          <a:blip r:embed="rId4">
            <a:extLst>
              <a:ext uri="{28A0092B-C50C-407E-A947-70E740481C1C}">
                <a14:useLocalDpi xmlns:a14="http://schemas.microsoft.com/office/drawing/2010/main" val="0"/>
              </a:ext>
            </a:extLst>
          </a:blip>
          <a:srcRect t="14966"/>
          <a:stretch/>
        </p:blipFill>
        <p:spPr>
          <a:xfrm>
            <a:off x="0" y="0"/>
            <a:ext cx="12192000" cy="6858000"/>
          </a:xfrm>
        </p:spPr>
      </p:pic>
      <p:sp>
        <p:nvSpPr>
          <p:cNvPr id="58" name="Rectangle 57">
            <a:extLst>
              <a:ext uri="{FF2B5EF4-FFF2-40B4-BE49-F238E27FC236}">
                <a16:creationId xmlns:a16="http://schemas.microsoft.com/office/drawing/2014/main" id="{70A81755-D1F8-46B3-A799-71E1B51CE805}"/>
              </a:ext>
            </a:extLst>
          </p:cNvPr>
          <p:cNvSpPr/>
          <p:nvPr/>
        </p:nvSpPr>
        <p:spPr>
          <a:xfrm>
            <a:off x="-1" y="3379345"/>
            <a:ext cx="6952343" cy="1715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800" noProof="0" dirty="0"/>
              <a:t>How Procurement can play a key role in integrating sustainability from an early phase of a project?</a:t>
            </a:r>
          </a:p>
        </p:txBody>
      </p:sp>
    </p:spTree>
    <p:extLst>
      <p:ext uri="{BB962C8B-B14F-4D97-AF65-F5344CB8AC3E}">
        <p14:creationId xmlns:p14="http://schemas.microsoft.com/office/powerpoint/2010/main" val="35885612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CA52E-44CE-4D95-91A5-A01311FA6884}"/>
              </a:ext>
            </a:extLst>
          </p:cNvPr>
          <p:cNvSpPr>
            <a:spLocks noGrp="1"/>
          </p:cNvSpPr>
          <p:nvPr>
            <p:ph type="title"/>
          </p:nvPr>
        </p:nvSpPr>
        <p:spPr/>
        <p:txBody>
          <a:bodyPr/>
          <a:lstStyle/>
          <a:p>
            <a:r>
              <a:rPr lang="en-GB" dirty="0"/>
              <a:t>Consider sustainability goals as an integrated part of the procurement process</a:t>
            </a:r>
          </a:p>
        </p:txBody>
      </p:sp>
      <p:sp>
        <p:nvSpPr>
          <p:cNvPr id="4" name="Slide Number Placeholder 3">
            <a:extLst>
              <a:ext uri="{FF2B5EF4-FFF2-40B4-BE49-F238E27FC236}">
                <a16:creationId xmlns:a16="http://schemas.microsoft.com/office/drawing/2014/main" id="{375FDB22-A8FB-4947-AA74-55C3AFCC9837}"/>
              </a:ext>
            </a:extLst>
          </p:cNvPr>
          <p:cNvSpPr>
            <a:spLocks noGrp="1"/>
          </p:cNvSpPr>
          <p:nvPr>
            <p:ph type="sldNum" sz="quarter" idx="12"/>
          </p:nvPr>
        </p:nvSpPr>
        <p:spPr/>
        <p:txBody>
          <a:bodyPr/>
          <a:lstStyle/>
          <a:p>
            <a:fld id="{23AA811B-2EBD-4900-905E-5BE206449611}" type="slidenum">
              <a:rPr lang="en-GB" smtClean="0"/>
              <a:pPr/>
              <a:t>13</a:t>
            </a:fld>
            <a:endParaRPr lang="en-GB" dirty="0"/>
          </a:p>
        </p:txBody>
      </p:sp>
      <p:sp>
        <p:nvSpPr>
          <p:cNvPr id="48" name="TextBox 47">
            <a:extLst>
              <a:ext uri="{FF2B5EF4-FFF2-40B4-BE49-F238E27FC236}">
                <a16:creationId xmlns:a16="http://schemas.microsoft.com/office/drawing/2014/main" id="{3C91852D-885E-4ABC-B918-1F41E8F1E510}"/>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rgbClr val="A6A6A6"/>
                </a:solidFill>
                <a:latin typeface="Verdana"/>
              </a:rPr>
              <a:t>Sustainability </a:t>
            </a:r>
            <a:r>
              <a:rPr lang="en-GB" sz="800" dirty="0">
                <a:solidFill>
                  <a:schemeClr val="accent1"/>
                </a:solidFill>
                <a:latin typeface="Verdana"/>
              </a:rPr>
              <a:t>│</a:t>
            </a:r>
            <a:r>
              <a:rPr lang="en-GB" sz="800" dirty="0">
                <a:solidFill>
                  <a:schemeClr val="bg1">
                    <a:lumMod val="65000"/>
                  </a:schemeClr>
                </a:solidFill>
                <a:latin typeface="Verdana"/>
              </a:rPr>
              <a:t> </a:t>
            </a:r>
            <a:r>
              <a:rPr lang="en-GB" sz="800" dirty="0">
                <a:solidFill>
                  <a:schemeClr val="accent1"/>
                </a:solidFill>
                <a:latin typeface="Verdana"/>
              </a:rPr>
              <a:t>Procurement</a:t>
            </a:r>
            <a:r>
              <a:rPr lang="en-GB" sz="800" dirty="0">
                <a:solidFill>
                  <a:schemeClr val="bg1">
                    <a:lumMod val="65000"/>
                  </a:schemeClr>
                </a:solidFill>
                <a:latin typeface="Verdana"/>
              </a:rPr>
              <a:t> </a:t>
            </a:r>
            <a:r>
              <a:rPr lang="en-GB" sz="800" dirty="0">
                <a:solidFill>
                  <a:schemeClr val="accent1"/>
                </a:solidFill>
                <a:latin typeface="Verdana"/>
              </a:rPr>
              <a:t>│</a:t>
            </a:r>
            <a:r>
              <a:rPr lang="en-GB" sz="800" dirty="0">
                <a:solidFill>
                  <a:schemeClr val="bg1">
                    <a:lumMod val="65000"/>
                  </a:schemeClr>
                </a:solidFill>
                <a:latin typeface="Verdana"/>
              </a:rPr>
              <a:t> Contract Management │ How to do it</a:t>
            </a:r>
          </a:p>
        </p:txBody>
      </p:sp>
      <p:sp>
        <p:nvSpPr>
          <p:cNvPr id="45" name="Rectangle 44">
            <a:extLst>
              <a:ext uri="{FF2B5EF4-FFF2-40B4-BE49-F238E27FC236}">
                <a16:creationId xmlns:a16="http://schemas.microsoft.com/office/drawing/2014/main" id="{05DD32BE-538A-4AB2-AF94-4AA2A35D091F}"/>
              </a:ext>
            </a:extLst>
          </p:cNvPr>
          <p:cNvSpPr/>
          <p:nvPr/>
        </p:nvSpPr>
        <p:spPr>
          <a:xfrm>
            <a:off x="360000" y="2021564"/>
            <a:ext cx="5727814" cy="2328291"/>
          </a:xfrm>
          <a:prstGeom prst="rect">
            <a:avLst/>
          </a:prstGeom>
          <a:solidFill>
            <a:srgbClr val="F9F9F7"/>
          </a:solidFill>
          <a:ln w="9525">
            <a:solidFill>
              <a:srgbClr val="E9E7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spc="0" dirty="0"/>
          </a:p>
        </p:txBody>
      </p:sp>
      <p:sp>
        <p:nvSpPr>
          <p:cNvPr id="46" name="Rectangle 45">
            <a:extLst>
              <a:ext uri="{FF2B5EF4-FFF2-40B4-BE49-F238E27FC236}">
                <a16:creationId xmlns:a16="http://schemas.microsoft.com/office/drawing/2014/main" id="{8B0FFDC6-B49B-4DDE-97E8-3047A6D220B1}"/>
              </a:ext>
            </a:extLst>
          </p:cNvPr>
          <p:cNvSpPr/>
          <p:nvPr/>
        </p:nvSpPr>
        <p:spPr>
          <a:xfrm>
            <a:off x="6189022" y="2021564"/>
            <a:ext cx="5644178" cy="2328292"/>
          </a:xfrm>
          <a:prstGeom prst="rect">
            <a:avLst/>
          </a:prstGeom>
          <a:solidFill>
            <a:srgbClr val="F9F9F7"/>
          </a:solidFill>
          <a:ln w="9525">
            <a:solidFill>
              <a:srgbClr val="E9E7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spc="0" dirty="0"/>
          </a:p>
        </p:txBody>
      </p:sp>
      <p:sp>
        <p:nvSpPr>
          <p:cNvPr id="47" name="Rectangle 46">
            <a:extLst>
              <a:ext uri="{FF2B5EF4-FFF2-40B4-BE49-F238E27FC236}">
                <a16:creationId xmlns:a16="http://schemas.microsoft.com/office/drawing/2014/main" id="{9BB38FB5-93D7-4AC1-B0D1-BEDD5F0805E7}"/>
              </a:ext>
            </a:extLst>
          </p:cNvPr>
          <p:cNvSpPr/>
          <p:nvPr/>
        </p:nvSpPr>
        <p:spPr>
          <a:xfrm>
            <a:off x="2365855" y="2790004"/>
            <a:ext cx="1714743" cy="228385"/>
          </a:xfrm>
          <a:prstGeom prst="rect">
            <a:avLst/>
          </a:prstGeom>
          <a:solidFill>
            <a:srgbClr val="ADD0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rgbClr val="125A40"/>
                </a:solidFill>
              </a:rPr>
              <a:t>Technical aspects</a:t>
            </a:r>
          </a:p>
        </p:txBody>
      </p:sp>
      <p:sp>
        <p:nvSpPr>
          <p:cNvPr id="49" name="Rectangle 48">
            <a:extLst>
              <a:ext uri="{FF2B5EF4-FFF2-40B4-BE49-F238E27FC236}">
                <a16:creationId xmlns:a16="http://schemas.microsoft.com/office/drawing/2014/main" id="{42305F45-0BC5-4FD7-BE6E-2C4F1D4E29E7}"/>
              </a:ext>
            </a:extLst>
          </p:cNvPr>
          <p:cNvSpPr/>
          <p:nvPr/>
        </p:nvSpPr>
        <p:spPr>
          <a:xfrm>
            <a:off x="550791" y="2193354"/>
            <a:ext cx="5322140" cy="457057"/>
          </a:xfrm>
          <a:prstGeom prst="rect">
            <a:avLst/>
          </a:prstGeom>
          <a:solidFill>
            <a:srgbClr val="009D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chemeClr val="bg1"/>
                </a:solidFill>
              </a:rPr>
              <a:t>Address how selected sustainability topics can be delivered by potential suppliers by considering the following elements:  </a:t>
            </a:r>
          </a:p>
        </p:txBody>
      </p:sp>
      <p:sp>
        <p:nvSpPr>
          <p:cNvPr id="50" name="Rectangle 49">
            <a:extLst>
              <a:ext uri="{FF2B5EF4-FFF2-40B4-BE49-F238E27FC236}">
                <a16:creationId xmlns:a16="http://schemas.microsoft.com/office/drawing/2014/main" id="{0A7FB339-A723-4E44-9343-850B08BCE423}"/>
              </a:ext>
            </a:extLst>
          </p:cNvPr>
          <p:cNvSpPr/>
          <p:nvPr/>
        </p:nvSpPr>
        <p:spPr>
          <a:xfrm>
            <a:off x="7147119" y="3629582"/>
            <a:ext cx="1159775" cy="553413"/>
          </a:xfrm>
          <a:prstGeom prst="rect">
            <a:avLst/>
          </a:prstGeom>
          <a:solidFill>
            <a:srgbClr val="009D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chemeClr val="bg1"/>
                </a:solidFill>
              </a:rPr>
              <a:t>Contractual requirement</a:t>
            </a:r>
          </a:p>
        </p:txBody>
      </p:sp>
      <p:sp>
        <p:nvSpPr>
          <p:cNvPr id="51" name="Rectangle 50">
            <a:extLst>
              <a:ext uri="{FF2B5EF4-FFF2-40B4-BE49-F238E27FC236}">
                <a16:creationId xmlns:a16="http://schemas.microsoft.com/office/drawing/2014/main" id="{2F92F14D-9A2D-4E5F-85D8-85508EDAF1FE}"/>
              </a:ext>
            </a:extLst>
          </p:cNvPr>
          <p:cNvSpPr/>
          <p:nvPr/>
        </p:nvSpPr>
        <p:spPr>
          <a:xfrm>
            <a:off x="8428629" y="3629580"/>
            <a:ext cx="1159775" cy="553413"/>
          </a:xfrm>
          <a:prstGeom prst="rect">
            <a:avLst/>
          </a:prstGeom>
          <a:solidFill>
            <a:srgbClr val="009D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chemeClr val="bg1"/>
                </a:solidFill>
              </a:rPr>
              <a:t>Minimum requirement</a:t>
            </a:r>
          </a:p>
        </p:txBody>
      </p:sp>
      <p:sp>
        <p:nvSpPr>
          <p:cNvPr id="52" name="Rectangle 51">
            <a:extLst>
              <a:ext uri="{FF2B5EF4-FFF2-40B4-BE49-F238E27FC236}">
                <a16:creationId xmlns:a16="http://schemas.microsoft.com/office/drawing/2014/main" id="{EBE748AB-A282-4C66-B8B4-F875F1129179}"/>
              </a:ext>
            </a:extLst>
          </p:cNvPr>
          <p:cNvSpPr/>
          <p:nvPr/>
        </p:nvSpPr>
        <p:spPr>
          <a:xfrm>
            <a:off x="9691646" y="3629581"/>
            <a:ext cx="1159775" cy="553413"/>
          </a:xfrm>
          <a:prstGeom prst="rect">
            <a:avLst/>
          </a:prstGeom>
          <a:solidFill>
            <a:srgbClr val="009D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chemeClr val="bg1"/>
                </a:solidFill>
              </a:rPr>
              <a:t>Evaluation requirement</a:t>
            </a:r>
          </a:p>
        </p:txBody>
      </p:sp>
      <p:sp>
        <p:nvSpPr>
          <p:cNvPr id="53" name="TextBox 52">
            <a:extLst>
              <a:ext uri="{FF2B5EF4-FFF2-40B4-BE49-F238E27FC236}">
                <a16:creationId xmlns:a16="http://schemas.microsoft.com/office/drawing/2014/main" id="{34868D81-3479-4A74-BFDF-D881FAB5F268}"/>
              </a:ext>
            </a:extLst>
          </p:cNvPr>
          <p:cNvSpPr txBox="1"/>
          <p:nvPr/>
        </p:nvSpPr>
        <p:spPr bwMode="auto">
          <a:xfrm>
            <a:off x="360000" y="1807438"/>
            <a:ext cx="5422035" cy="15388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200" eaLnBrk="0" hangingPunct="0"/>
            <a:r>
              <a:rPr kumimoji="0" lang="en-GB" sz="1000" i="0" u="none" strike="noStrike" kern="1200" cap="none" spc="0" normalizeH="0" noProof="0" dirty="0">
                <a:ln>
                  <a:noFill/>
                </a:ln>
                <a:solidFill>
                  <a:srgbClr val="009DF0"/>
                </a:solidFill>
                <a:effectLst/>
                <a:uLnTx/>
                <a:uFillTx/>
                <a:latin typeface="Verdana"/>
                <a:ea typeface="Verdana" pitchFamily="34" charset="0"/>
                <a:cs typeface="Verdana" pitchFamily="34" charset="0"/>
              </a:rPr>
              <a:t>Step </a:t>
            </a:r>
            <a:r>
              <a:rPr lang="en-GB" sz="1000" spc="0" dirty="0">
                <a:solidFill>
                  <a:srgbClr val="009DF0"/>
                </a:solidFill>
              </a:rPr>
              <a:t>1: Assessing sustainability topics in procurement routes</a:t>
            </a:r>
            <a:endParaRPr kumimoji="0" lang="en-GB" sz="1000" i="0" u="none" strike="noStrike" kern="1200" cap="none" spc="0" normalizeH="0" noProof="0" dirty="0">
              <a:ln>
                <a:noFill/>
              </a:ln>
              <a:solidFill>
                <a:srgbClr val="009DF0"/>
              </a:solidFill>
              <a:effectLst/>
              <a:uLnTx/>
              <a:uFillTx/>
              <a:latin typeface="Verdana"/>
              <a:ea typeface="Verdana" pitchFamily="34" charset="0"/>
              <a:cs typeface="Verdana" pitchFamily="34" charset="0"/>
            </a:endParaRPr>
          </a:p>
        </p:txBody>
      </p:sp>
      <p:sp>
        <p:nvSpPr>
          <p:cNvPr id="54" name="TextBox 53">
            <a:extLst>
              <a:ext uri="{FF2B5EF4-FFF2-40B4-BE49-F238E27FC236}">
                <a16:creationId xmlns:a16="http://schemas.microsoft.com/office/drawing/2014/main" id="{FD894A63-455D-4DAD-ACD2-9D7C6A7F2720}"/>
              </a:ext>
            </a:extLst>
          </p:cNvPr>
          <p:cNvSpPr txBox="1"/>
          <p:nvPr/>
        </p:nvSpPr>
        <p:spPr bwMode="auto">
          <a:xfrm>
            <a:off x="6189022" y="1807438"/>
            <a:ext cx="5776825" cy="15388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200" eaLnBrk="0" hangingPunct="0"/>
            <a:r>
              <a:rPr lang="en-GB" sz="1000" spc="0" dirty="0">
                <a:solidFill>
                  <a:srgbClr val="009DF0"/>
                </a:solidFill>
              </a:rPr>
              <a:t>Step 2: Requirement suggestions for sustainability topics </a:t>
            </a:r>
            <a:endParaRPr kumimoji="0" lang="en-GB" sz="1000" i="0" u="none" strike="noStrike" kern="1200" cap="none" spc="0" normalizeH="0" noProof="0" dirty="0">
              <a:ln>
                <a:noFill/>
              </a:ln>
              <a:solidFill>
                <a:srgbClr val="009DF0"/>
              </a:solidFill>
              <a:effectLst/>
              <a:uLnTx/>
              <a:uFillTx/>
              <a:latin typeface="Verdana"/>
              <a:ea typeface="Verdana" pitchFamily="34" charset="0"/>
              <a:cs typeface="Verdana" pitchFamily="34" charset="0"/>
            </a:endParaRPr>
          </a:p>
        </p:txBody>
      </p:sp>
      <p:cxnSp>
        <p:nvCxnSpPr>
          <p:cNvPr id="55" name="Connector: Elbow 6">
            <a:extLst>
              <a:ext uri="{FF2B5EF4-FFF2-40B4-BE49-F238E27FC236}">
                <a16:creationId xmlns:a16="http://schemas.microsoft.com/office/drawing/2014/main" id="{1E1E5B8B-E2EB-4B70-8C04-6D9CDDCFA5C3}"/>
              </a:ext>
            </a:extLst>
          </p:cNvPr>
          <p:cNvCxnSpPr>
            <a:cxnSpLocks/>
          </p:cNvCxnSpPr>
          <p:nvPr/>
        </p:nvCxnSpPr>
        <p:spPr>
          <a:xfrm>
            <a:off x="1816088" y="2904196"/>
            <a:ext cx="549767" cy="0"/>
          </a:xfrm>
          <a:prstGeom prst="straightConnector1">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sp>
        <p:nvSpPr>
          <p:cNvPr id="56" name="Rectangle 55">
            <a:extLst>
              <a:ext uri="{FF2B5EF4-FFF2-40B4-BE49-F238E27FC236}">
                <a16:creationId xmlns:a16="http://schemas.microsoft.com/office/drawing/2014/main" id="{8C073EDD-5882-4B51-987B-F1B2ECD84FF9}"/>
              </a:ext>
            </a:extLst>
          </p:cNvPr>
          <p:cNvSpPr/>
          <p:nvPr/>
        </p:nvSpPr>
        <p:spPr>
          <a:xfrm>
            <a:off x="2371530" y="3089978"/>
            <a:ext cx="1714743" cy="228385"/>
          </a:xfrm>
          <a:prstGeom prst="rect">
            <a:avLst/>
          </a:prstGeom>
          <a:solidFill>
            <a:srgbClr val="ADD0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rgbClr val="125A40"/>
                </a:solidFill>
              </a:rPr>
              <a:t>Market perspective</a:t>
            </a:r>
          </a:p>
        </p:txBody>
      </p:sp>
      <p:cxnSp>
        <p:nvCxnSpPr>
          <p:cNvPr id="57" name="Connector: Elbow 56">
            <a:extLst>
              <a:ext uri="{FF2B5EF4-FFF2-40B4-BE49-F238E27FC236}">
                <a16:creationId xmlns:a16="http://schemas.microsoft.com/office/drawing/2014/main" id="{C150FC43-8565-408E-A125-68E26B67C91B}"/>
              </a:ext>
            </a:extLst>
          </p:cNvPr>
          <p:cNvCxnSpPr>
            <a:cxnSpLocks/>
            <a:endCxn id="56" idx="1"/>
          </p:cNvCxnSpPr>
          <p:nvPr/>
        </p:nvCxnSpPr>
        <p:spPr>
          <a:xfrm rot="16200000" flipH="1">
            <a:off x="1818782" y="2651423"/>
            <a:ext cx="555730" cy="549766"/>
          </a:xfrm>
          <a:prstGeom prst="bentConnector2">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sp>
        <p:nvSpPr>
          <p:cNvPr id="58" name="Rectangle 57">
            <a:extLst>
              <a:ext uri="{FF2B5EF4-FFF2-40B4-BE49-F238E27FC236}">
                <a16:creationId xmlns:a16="http://schemas.microsoft.com/office/drawing/2014/main" id="{9E10FE66-494A-4409-A441-3A080AB16C08}"/>
              </a:ext>
            </a:extLst>
          </p:cNvPr>
          <p:cNvSpPr/>
          <p:nvPr/>
        </p:nvSpPr>
        <p:spPr>
          <a:xfrm>
            <a:off x="2365637" y="3384796"/>
            <a:ext cx="1714743" cy="228385"/>
          </a:xfrm>
          <a:prstGeom prst="rect">
            <a:avLst/>
          </a:prstGeom>
          <a:solidFill>
            <a:srgbClr val="ADD0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rgbClr val="125A40"/>
                </a:solidFill>
              </a:rPr>
              <a:t>Suppliers perspective</a:t>
            </a:r>
          </a:p>
        </p:txBody>
      </p:sp>
      <p:cxnSp>
        <p:nvCxnSpPr>
          <p:cNvPr id="59" name="Connector: Elbow 58">
            <a:extLst>
              <a:ext uri="{FF2B5EF4-FFF2-40B4-BE49-F238E27FC236}">
                <a16:creationId xmlns:a16="http://schemas.microsoft.com/office/drawing/2014/main" id="{B2FD34B4-5EB9-42F5-A226-327577032FC5}"/>
              </a:ext>
            </a:extLst>
          </p:cNvPr>
          <p:cNvCxnSpPr>
            <a:cxnSpLocks/>
            <a:endCxn id="58" idx="1"/>
          </p:cNvCxnSpPr>
          <p:nvPr/>
        </p:nvCxnSpPr>
        <p:spPr>
          <a:xfrm rot="16200000" flipH="1">
            <a:off x="1668425" y="2801777"/>
            <a:ext cx="850550" cy="543874"/>
          </a:xfrm>
          <a:prstGeom prst="bentConnector2">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sp>
        <p:nvSpPr>
          <p:cNvPr id="60" name="Rectangle 59">
            <a:extLst>
              <a:ext uri="{FF2B5EF4-FFF2-40B4-BE49-F238E27FC236}">
                <a16:creationId xmlns:a16="http://schemas.microsoft.com/office/drawing/2014/main" id="{6585E9BF-A835-4DA4-9233-9FC16060674E}"/>
              </a:ext>
            </a:extLst>
          </p:cNvPr>
          <p:cNvSpPr/>
          <p:nvPr/>
        </p:nvSpPr>
        <p:spPr>
          <a:xfrm>
            <a:off x="550768" y="3745084"/>
            <a:ext cx="5323288" cy="451901"/>
          </a:xfrm>
          <a:prstGeom prst="rect">
            <a:avLst/>
          </a:prstGeom>
          <a:solidFill>
            <a:srgbClr val="009D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chemeClr val="bg1"/>
                </a:solidFill>
              </a:rPr>
              <a:t>Based on these aspects, we recommend which topics to include in which procurement route</a:t>
            </a:r>
          </a:p>
        </p:txBody>
      </p:sp>
      <p:cxnSp>
        <p:nvCxnSpPr>
          <p:cNvPr id="61" name="Connector: Elbow 60">
            <a:extLst>
              <a:ext uri="{FF2B5EF4-FFF2-40B4-BE49-F238E27FC236}">
                <a16:creationId xmlns:a16="http://schemas.microsoft.com/office/drawing/2014/main" id="{D7233C83-5168-47E7-A7BB-09078C451F0F}"/>
              </a:ext>
            </a:extLst>
          </p:cNvPr>
          <p:cNvCxnSpPr>
            <a:cxnSpLocks/>
            <a:stCxn id="47" idx="3"/>
          </p:cNvCxnSpPr>
          <p:nvPr/>
        </p:nvCxnSpPr>
        <p:spPr>
          <a:xfrm>
            <a:off x="4080598" y="2904197"/>
            <a:ext cx="468220" cy="806331"/>
          </a:xfrm>
          <a:prstGeom prst="bentConnector2">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2" name="Connector: Elbow 61">
            <a:extLst>
              <a:ext uri="{FF2B5EF4-FFF2-40B4-BE49-F238E27FC236}">
                <a16:creationId xmlns:a16="http://schemas.microsoft.com/office/drawing/2014/main" id="{D8DA9874-B1DF-4B19-9D70-3215321D0502}"/>
              </a:ext>
            </a:extLst>
          </p:cNvPr>
          <p:cNvCxnSpPr>
            <a:cxnSpLocks/>
            <a:stCxn id="60" idx="3"/>
            <a:endCxn id="82" idx="1"/>
          </p:cNvCxnSpPr>
          <p:nvPr/>
        </p:nvCxnSpPr>
        <p:spPr>
          <a:xfrm flipV="1">
            <a:off x="5874056" y="3078886"/>
            <a:ext cx="1890855" cy="892149"/>
          </a:xfrm>
          <a:prstGeom prst="bentConnector3">
            <a:avLst>
              <a:gd name="adj1" fmla="val 50000"/>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3" name="Connector: Elbow 62">
            <a:extLst>
              <a:ext uri="{FF2B5EF4-FFF2-40B4-BE49-F238E27FC236}">
                <a16:creationId xmlns:a16="http://schemas.microsoft.com/office/drawing/2014/main" id="{F213C478-E08E-4968-80D2-25FF216F626F}"/>
              </a:ext>
            </a:extLst>
          </p:cNvPr>
          <p:cNvCxnSpPr>
            <a:cxnSpLocks/>
            <a:stCxn id="60" idx="3"/>
            <a:endCxn id="83" idx="1"/>
          </p:cNvCxnSpPr>
          <p:nvPr/>
        </p:nvCxnSpPr>
        <p:spPr>
          <a:xfrm flipV="1">
            <a:off x="5874056" y="2444947"/>
            <a:ext cx="1892088" cy="1526088"/>
          </a:xfrm>
          <a:prstGeom prst="bentConnector3">
            <a:avLst>
              <a:gd name="adj1" fmla="val 50000"/>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4" name="Connector: Elbow 63">
            <a:extLst>
              <a:ext uri="{FF2B5EF4-FFF2-40B4-BE49-F238E27FC236}">
                <a16:creationId xmlns:a16="http://schemas.microsoft.com/office/drawing/2014/main" id="{8EC638B3-1028-49EB-886E-9DD250E19110}"/>
              </a:ext>
            </a:extLst>
          </p:cNvPr>
          <p:cNvCxnSpPr>
            <a:cxnSpLocks/>
            <a:stCxn id="82" idx="2"/>
            <a:endCxn id="52" idx="0"/>
          </p:cNvCxnSpPr>
          <p:nvPr/>
        </p:nvCxnSpPr>
        <p:spPr>
          <a:xfrm rot="16200000" flipH="1">
            <a:off x="9493742" y="2851788"/>
            <a:ext cx="295279" cy="1260306"/>
          </a:xfrm>
          <a:prstGeom prst="bentConnector3">
            <a:avLst>
              <a:gd name="adj1" fmla="val 50000"/>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5" name="Connector: Elbow 64">
            <a:extLst>
              <a:ext uri="{FF2B5EF4-FFF2-40B4-BE49-F238E27FC236}">
                <a16:creationId xmlns:a16="http://schemas.microsoft.com/office/drawing/2014/main" id="{37820700-16F5-4B9E-9D90-680C3FBF6AA0}"/>
              </a:ext>
            </a:extLst>
          </p:cNvPr>
          <p:cNvCxnSpPr>
            <a:cxnSpLocks/>
            <a:stCxn id="82" idx="2"/>
            <a:endCxn id="50" idx="0"/>
          </p:cNvCxnSpPr>
          <p:nvPr/>
        </p:nvCxnSpPr>
        <p:spPr>
          <a:xfrm rot="5400000">
            <a:off x="8221478" y="2839832"/>
            <a:ext cx="295280" cy="1284221"/>
          </a:xfrm>
          <a:prstGeom prst="bentConnector3">
            <a:avLst>
              <a:gd name="adj1" fmla="val 50000"/>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E166AECA-CF1E-41A9-8B72-B95F0E105139}"/>
              </a:ext>
            </a:extLst>
          </p:cNvPr>
          <p:cNvSpPr/>
          <p:nvPr/>
        </p:nvSpPr>
        <p:spPr>
          <a:xfrm>
            <a:off x="360001" y="4579025"/>
            <a:ext cx="11473199" cy="1548152"/>
          </a:xfrm>
          <a:prstGeom prst="rect">
            <a:avLst/>
          </a:prstGeom>
          <a:solidFill>
            <a:srgbClr val="F9F9F7"/>
          </a:solidFill>
          <a:ln w="9525">
            <a:solidFill>
              <a:srgbClr val="E9E7E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00" spc="0" dirty="0"/>
          </a:p>
        </p:txBody>
      </p:sp>
      <p:sp>
        <p:nvSpPr>
          <p:cNvPr id="67" name="TextBox 66">
            <a:extLst>
              <a:ext uri="{FF2B5EF4-FFF2-40B4-BE49-F238E27FC236}">
                <a16:creationId xmlns:a16="http://schemas.microsoft.com/office/drawing/2014/main" id="{D5B20127-05ED-45B7-8178-30D66055B187}"/>
              </a:ext>
            </a:extLst>
          </p:cNvPr>
          <p:cNvSpPr txBox="1"/>
          <p:nvPr/>
        </p:nvSpPr>
        <p:spPr bwMode="auto">
          <a:xfrm>
            <a:off x="360001" y="4392091"/>
            <a:ext cx="8839301" cy="15388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defTabSz="457200" eaLnBrk="0" fontAlgn="base" latinLnBrk="0" hangingPunct="0">
              <a:spcBef>
                <a:spcPct val="0"/>
              </a:spcBef>
              <a:buClrTx/>
              <a:buSzTx/>
              <a:tabLst/>
            </a:pPr>
            <a:r>
              <a:rPr kumimoji="0" lang="en-GB" sz="1000" i="0" u="none" strike="noStrike" kern="1200" cap="none" spc="0" normalizeH="0" noProof="0" dirty="0">
                <a:ln>
                  <a:noFill/>
                </a:ln>
                <a:solidFill>
                  <a:schemeClr val="tx2"/>
                </a:solidFill>
                <a:effectLst/>
                <a:uLnTx/>
                <a:uFillTx/>
                <a:latin typeface="Verdana"/>
                <a:ea typeface="Verdana" pitchFamily="34" charset="0"/>
                <a:cs typeface="Verdana" pitchFamily="34" charset="0"/>
              </a:rPr>
              <a:t>Step 3: Balancing and executing on the sustainability goals</a:t>
            </a:r>
          </a:p>
        </p:txBody>
      </p:sp>
      <p:cxnSp>
        <p:nvCxnSpPr>
          <p:cNvPr id="68" name="Connector: Elbow 67">
            <a:extLst>
              <a:ext uri="{FF2B5EF4-FFF2-40B4-BE49-F238E27FC236}">
                <a16:creationId xmlns:a16="http://schemas.microsoft.com/office/drawing/2014/main" id="{77258698-F7BD-46BD-85E1-337B438E8EC3}"/>
              </a:ext>
            </a:extLst>
          </p:cNvPr>
          <p:cNvCxnSpPr>
            <a:cxnSpLocks/>
            <a:stCxn id="82" idx="2"/>
            <a:endCxn id="51" idx="0"/>
          </p:cNvCxnSpPr>
          <p:nvPr/>
        </p:nvCxnSpPr>
        <p:spPr>
          <a:xfrm rot="5400000">
            <a:off x="8862234" y="3480586"/>
            <a:ext cx="295278" cy="2711"/>
          </a:xfrm>
          <a:prstGeom prst="bentConnector3">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sp>
        <p:nvSpPr>
          <p:cNvPr id="69" name="Rectangle 68">
            <a:extLst>
              <a:ext uri="{FF2B5EF4-FFF2-40B4-BE49-F238E27FC236}">
                <a16:creationId xmlns:a16="http://schemas.microsoft.com/office/drawing/2014/main" id="{04A2B56F-488A-4427-9CD5-8B3785A3ADDF}"/>
              </a:ext>
            </a:extLst>
          </p:cNvPr>
          <p:cNvSpPr/>
          <p:nvPr/>
        </p:nvSpPr>
        <p:spPr>
          <a:xfrm>
            <a:off x="7148300" y="4876035"/>
            <a:ext cx="4211484" cy="1020952"/>
          </a:xfrm>
          <a:prstGeom prst="rect">
            <a:avLst/>
          </a:prstGeom>
          <a:solidFill>
            <a:srgbClr val="009DF0"/>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r>
              <a:rPr lang="en-GB" sz="1000" spc="0" dirty="0">
                <a:solidFill>
                  <a:schemeClr val="bg1"/>
                </a:solidFill>
              </a:rPr>
              <a:t>Formulate procurement strategy: Define which of the sustainability topics to include in the tender package, which goals they must meet and draft outline of the requirements supporting the selected sustainability topics. Also consider contract management during execution. </a:t>
            </a:r>
          </a:p>
        </p:txBody>
      </p:sp>
      <p:sp>
        <p:nvSpPr>
          <p:cNvPr id="70" name="Rectangle 69">
            <a:extLst>
              <a:ext uri="{FF2B5EF4-FFF2-40B4-BE49-F238E27FC236}">
                <a16:creationId xmlns:a16="http://schemas.microsoft.com/office/drawing/2014/main" id="{E154BB77-6724-4A24-98BA-75CD9C72E13A}"/>
              </a:ext>
            </a:extLst>
          </p:cNvPr>
          <p:cNvSpPr/>
          <p:nvPr/>
        </p:nvSpPr>
        <p:spPr>
          <a:xfrm>
            <a:off x="3012194" y="4728663"/>
            <a:ext cx="3643821" cy="583840"/>
          </a:xfrm>
          <a:prstGeom prst="rect">
            <a:avLst/>
          </a:prstGeom>
          <a:solidFill>
            <a:srgbClr val="009DF0"/>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r>
              <a:rPr lang="en-GB" sz="1000" spc="0" dirty="0">
                <a:solidFill>
                  <a:schemeClr val="bg1"/>
                </a:solidFill>
              </a:rPr>
              <a:t>The procurement strategy harms competition significantly or project becomes too expensive</a:t>
            </a:r>
          </a:p>
        </p:txBody>
      </p:sp>
      <p:cxnSp>
        <p:nvCxnSpPr>
          <p:cNvPr id="71" name="Connector: Elbow 70">
            <a:extLst>
              <a:ext uri="{FF2B5EF4-FFF2-40B4-BE49-F238E27FC236}">
                <a16:creationId xmlns:a16="http://schemas.microsoft.com/office/drawing/2014/main" id="{E26D83E0-D4F1-4E9D-9A15-E2D9F33891B8}"/>
              </a:ext>
            </a:extLst>
          </p:cNvPr>
          <p:cNvCxnSpPr>
            <a:cxnSpLocks/>
            <a:stCxn id="69" idx="1"/>
            <a:endCxn id="70" idx="3"/>
          </p:cNvCxnSpPr>
          <p:nvPr/>
        </p:nvCxnSpPr>
        <p:spPr>
          <a:xfrm rot="10800000">
            <a:off x="6656016" y="5020583"/>
            <a:ext cx="492285" cy="365928"/>
          </a:xfrm>
          <a:prstGeom prst="bentConnector3">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sp>
        <p:nvSpPr>
          <p:cNvPr id="72" name="Rectangle 71">
            <a:extLst>
              <a:ext uri="{FF2B5EF4-FFF2-40B4-BE49-F238E27FC236}">
                <a16:creationId xmlns:a16="http://schemas.microsoft.com/office/drawing/2014/main" id="{213BB0A8-D75D-459E-909E-46A4AAFC8499}"/>
              </a:ext>
            </a:extLst>
          </p:cNvPr>
          <p:cNvSpPr/>
          <p:nvPr/>
        </p:nvSpPr>
        <p:spPr>
          <a:xfrm>
            <a:off x="3007264" y="5386512"/>
            <a:ext cx="3648751" cy="583840"/>
          </a:xfrm>
          <a:prstGeom prst="rect">
            <a:avLst/>
          </a:prstGeom>
          <a:solidFill>
            <a:srgbClr val="009DF0"/>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GB" sz="1000" spc="0" dirty="0">
                <a:solidFill>
                  <a:schemeClr val="bg1"/>
                </a:solidFill>
              </a:rPr>
              <a:t>The procurement strategy does </a:t>
            </a:r>
            <a:r>
              <a:rPr lang="en-GB" sz="1000" u="sng" spc="0" dirty="0">
                <a:solidFill>
                  <a:schemeClr val="bg1"/>
                </a:solidFill>
              </a:rPr>
              <a:t>not</a:t>
            </a:r>
            <a:r>
              <a:rPr lang="en-GB" sz="1000" spc="0" dirty="0">
                <a:solidFill>
                  <a:schemeClr val="bg1"/>
                </a:solidFill>
              </a:rPr>
              <a:t> harm competition significantly or make project too expensive</a:t>
            </a:r>
          </a:p>
        </p:txBody>
      </p:sp>
      <p:cxnSp>
        <p:nvCxnSpPr>
          <p:cNvPr id="73" name="Connector: Elbow 72">
            <a:extLst>
              <a:ext uri="{FF2B5EF4-FFF2-40B4-BE49-F238E27FC236}">
                <a16:creationId xmlns:a16="http://schemas.microsoft.com/office/drawing/2014/main" id="{8E03CE52-F96C-4121-A2C9-5CA7382F22D0}"/>
              </a:ext>
            </a:extLst>
          </p:cNvPr>
          <p:cNvCxnSpPr>
            <a:cxnSpLocks/>
            <a:stCxn id="69" idx="1"/>
            <a:endCxn id="72" idx="3"/>
          </p:cNvCxnSpPr>
          <p:nvPr/>
        </p:nvCxnSpPr>
        <p:spPr>
          <a:xfrm rot="10800000" flipV="1">
            <a:off x="6656016" y="5386510"/>
            <a:ext cx="492285" cy="291921"/>
          </a:xfrm>
          <a:prstGeom prst="bentConnector3">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sp>
        <p:nvSpPr>
          <p:cNvPr id="74" name="Rectangle 73">
            <a:extLst>
              <a:ext uri="{FF2B5EF4-FFF2-40B4-BE49-F238E27FC236}">
                <a16:creationId xmlns:a16="http://schemas.microsoft.com/office/drawing/2014/main" id="{69DFF6D3-96A5-48C8-96D2-311E2768B991}"/>
              </a:ext>
            </a:extLst>
          </p:cNvPr>
          <p:cNvSpPr/>
          <p:nvPr/>
        </p:nvSpPr>
        <p:spPr>
          <a:xfrm>
            <a:off x="550791" y="5095136"/>
            <a:ext cx="2039531" cy="519646"/>
          </a:xfrm>
          <a:prstGeom prst="rect">
            <a:avLst/>
          </a:prstGeom>
          <a:solidFill>
            <a:srgbClr val="009DF0"/>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GB" sz="1000" spc="0" dirty="0">
                <a:solidFill>
                  <a:schemeClr val="bg1"/>
                </a:solidFill>
              </a:rPr>
              <a:t>Prepare tender package and execute tender</a:t>
            </a:r>
          </a:p>
        </p:txBody>
      </p:sp>
      <p:cxnSp>
        <p:nvCxnSpPr>
          <p:cNvPr id="75" name="Connector: Elbow 74">
            <a:extLst>
              <a:ext uri="{FF2B5EF4-FFF2-40B4-BE49-F238E27FC236}">
                <a16:creationId xmlns:a16="http://schemas.microsoft.com/office/drawing/2014/main" id="{F989750E-BDBB-4D93-8345-DBE8285223BA}"/>
              </a:ext>
            </a:extLst>
          </p:cNvPr>
          <p:cNvCxnSpPr>
            <a:cxnSpLocks/>
            <a:stCxn id="72" idx="1"/>
            <a:endCxn id="74" idx="3"/>
          </p:cNvCxnSpPr>
          <p:nvPr/>
        </p:nvCxnSpPr>
        <p:spPr>
          <a:xfrm rot="10800000">
            <a:off x="2590322" y="5354960"/>
            <a:ext cx="416942" cy="323473"/>
          </a:xfrm>
          <a:prstGeom prst="bentConnector3">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6" name="Connector: Elbow 75">
            <a:extLst>
              <a:ext uri="{FF2B5EF4-FFF2-40B4-BE49-F238E27FC236}">
                <a16:creationId xmlns:a16="http://schemas.microsoft.com/office/drawing/2014/main" id="{7FC3286B-4273-4068-B660-33EBF9643513}"/>
              </a:ext>
            </a:extLst>
          </p:cNvPr>
          <p:cNvCxnSpPr>
            <a:cxnSpLocks/>
            <a:endCxn id="69" idx="0"/>
          </p:cNvCxnSpPr>
          <p:nvPr/>
        </p:nvCxnSpPr>
        <p:spPr>
          <a:xfrm flipV="1">
            <a:off x="6656014" y="4876035"/>
            <a:ext cx="2598028" cy="37467"/>
          </a:xfrm>
          <a:prstGeom prst="bentConnector4">
            <a:avLst>
              <a:gd name="adj1" fmla="val 9474"/>
              <a:gd name="adj2" fmla="val 710137"/>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7" name="Connector: Elbow 6">
            <a:extLst>
              <a:ext uri="{FF2B5EF4-FFF2-40B4-BE49-F238E27FC236}">
                <a16:creationId xmlns:a16="http://schemas.microsoft.com/office/drawing/2014/main" id="{C33E24BD-C75A-4329-9B01-208184C8C374}"/>
              </a:ext>
            </a:extLst>
          </p:cNvPr>
          <p:cNvCxnSpPr>
            <a:cxnSpLocks/>
          </p:cNvCxnSpPr>
          <p:nvPr/>
        </p:nvCxnSpPr>
        <p:spPr>
          <a:xfrm flipV="1">
            <a:off x="4088736" y="3482889"/>
            <a:ext cx="460083" cy="1"/>
          </a:xfrm>
          <a:prstGeom prst="straightConnector1">
            <a:avLst/>
          </a:prstGeom>
          <a:ln w="9525">
            <a:solidFill>
              <a:srgbClr val="7D888E"/>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8" name="Connector: Elbow 6">
            <a:extLst>
              <a:ext uri="{FF2B5EF4-FFF2-40B4-BE49-F238E27FC236}">
                <a16:creationId xmlns:a16="http://schemas.microsoft.com/office/drawing/2014/main" id="{E8F7C4EE-9C2F-4A83-ACC7-C6432B751E94}"/>
              </a:ext>
            </a:extLst>
          </p:cNvPr>
          <p:cNvCxnSpPr>
            <a:cxnSpLocks/>
          </p:cNvCxnSpPr>
          <p:nvPr/>
        </p:nvCxnSpPr>
        <p:spPr>
          <a:xfrm flipV="1">
            <a:off x="4088736" y="3184923"/>
            <a:ext cx="460083" cy="1"/>
          </a:xfrm>
          <a:prstGeom prst="straightConnector1">
            <a:avLst/>
          </a:prstGeom>
          <a:ln w="9525">
            <a:solidFill>
              <a:srgbClr val="7D888E"/>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9" name="Connector: Elbow 6">
            <a:extLst>
              <a:ext uri="{FF2B5EF4-FFF2-40B4-BE49-F238E27FC236}">
                <a16:creationId xmlns:a16="http://schemas.microsoft.com/office/drawing/2014/main" id="{3B3447DB-C61F-4780-8354-B51DF7440B9E}"/>
              </a:ext>
            </a:extLst>
          </p:cNvPr>
          <p:cNvCxnSpPr>
            <a:cxnSpLocks/>
          </p:cNvCxnSpPr>
          <p:nvPr/>
        </p:nvCxnSpPr>
        <p:spPr>
          <a:xfrm flipV="1">
            <a:off x="9871424" y="2387271"/>
            <a:ext cx="1732352" cy="1"/>
          </a:xfrm>
          <a:prstGeom prst="straightConnector1">
            <a:avLst/>
          </a:prstGeom>
          <a:ln w="9525">
            <a:solidFill>
              <a:srgbClr val="7D888E"/>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0" name="Connector: Elbow 6">
            <a:extLst>
              <a:ext uri="{FF2B5EF4-FFF2-40B4-BE49-F238E27FC236}">
                <a16:creationId xmlns:a16="http://schemas.microsoft.com/office/drawing/2014/main" id="{C5FAB125-5079-4BC2-BE34-2B1D94B8190D}"/>
              </a:ext>
            </a:extLst>
          </p:cNvPr>
          <p:cNvCxnSpPr>
            <a:cxnSpLocks/>
          </p:cNvCxnSpPr>
          <p:nvPr/>
        </p:nvCxnSpPr>
        <p:spPr>
          <a:xfrm>
            <a:off x="9871424" y="3078886"/>
            <a:ext cx="1731118" cy="0"/>
          </a:xfrm>
          <a:prstGeom prst="straightConnector1">
            <a:avLst/>
          </a:prstGeom>
          <a:ln w="9525">
            <a:solidFill>
              <a:srgbClr val="7D888E"/>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1" name="Connector: Elbow 6">
            <a:extLst>
              <a:ext uri="{FF2B5EF4-FFF2-40B4-BE49-F238E27FC236}">
                <a16:creationId xmlns:a16="http://schemas.microsoft.com/office/drawing/2014/main" id="{78C2F2E0-06D8-4BC8-8ECD-9B4F3FB1AFD8}"/>
              </a:ext>
            </a:extLst>
          </p:cNvPr>
          <p:cNvCxnSpPr>
            <a:cxnSpLocks/>
          </p:cNvCxnSpPr>
          <p:nvPr/>
        </p:nvCxnSpPr>
        <p:spPr>
          <a:xfrm flipH="1">
            <a:off x="11360888" y="5386511"/>
            <a:ext cx="243992" cy="1"/>
          </a:xfrm>
          <a:prstGeom prst="straightConnector1">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sp>
        <p:nvSpPr>
          <p:cNvPr id="82" name="Rectangle 81">
            <a:extLst>
              <a:ext uri="{FF2B5EF4-FFF2-40B4-BE49-F238E27FC236}">
                <a16:creationId xmlns:a16="http://schemas.microsoft.com/office/drawing/2014/main" id="{F568B2FB-73D9-4370-A2F8-01B4B4409CB0}"/>
              </a:ext>
            </a:extLst>
          </p:cNvPr>
          <p:cNvSpPr/>
          <p:nvPr/>
        </p:nvSpPr>
        <p:spPr>
          <a:xfrm>
            <a:off x="7764911" y="2823470"/>
            <a:ext cx="2492634" cy="510832"/>
          </a:xfrm>
          <a:prstGeom prst="rect">
            <a:avLst/>
          </a:prstGeom>
          <a:solidFill>
            <a:srgbClr val="009D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chemeClr val="bg1"/>
                </a:solidFill>
              </a:rPr>
              <a:t>Here-and-now integration of sustainability topics in tenders </a:t>
            </a:r>
          </a:p>
        </p:txBody>
      </p:sp>
      <p:sp>
        <p:nvSpPr>
          <p:cNvPr id="83" name="Rectangle 82">
            <a:extLst>
              <a:ext uri="{FF2B5EF4-FFF2-40B4-BE49-F238E27FC236}">
                <a16:creationId xmlns:a16="http://schemas.microsoft.com/office/drawing/2014/main" id="{E882D922-9F18-48A2-A1FD-95D98EA00DEF}"/>
              </a:ext>
            </a:extLst>
          </p:cNvPr>
          <p:cNvSpPr/>
          <p:nvPr/>
        </p:nvSpPr>
        <p:spPr>
          <a:xfrm>
            <a:off x="7766144" y="2188915"/>
            <a:ext cx="2492635" cy="512064"/>
          </a:xfrm>
          <a:prstGeom prst="rect">
            <a:avLst/>
          </a:prstGeom>
          <a:solidFill>
            <a:srgbClr val="009D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spc="0" dirty="0">
                <a:solidFill>
                  <a:schemeClr val="bg1"/>
                </a:solidFill>
              </a:rPr>
              <a:t>Long-term initiatives</a:t>
            </a:r>
          </a:p>
        </p:txBody>
      </p:sp>
      <p:cxnSp>
        <p:nvCxnSpPr>
          <p:cNvPr id="84" name="Connector: Elbow 6">
            <a:extLst>
              <a:ext uri="{FF2B5EF4-FFF2-40B4-BE49-F238E27FC236}">
                <a16:creationId xmlns:a16="http://schemas.microsoft.com/office/drawing/2014/main" id="{5A764CAD-4DB0-4E7A-B75F-FBA92F58551B}"/>
              </a:ext>
            </a:extLst>
          </p:cNvPr>
          <p:cNvCxnSpPr>
            <a:cxnSpLocks/>
          </p:cNvCxnSpPr>
          <p:nvPr/>
        </p:nvCxnSpPr>
        <p:spPr>
          <a:xfrm>
            <a:off x="11604880" y="2387271"/>
            <a:ext cx="0" cy="1962584"/>
          </a:xfrm>
          <a:prstGeom prst="straightConnector1">
            <a:avLst/>
          </a:prstGeom>
          <a:ln w="9525">
            <a:solidFill>
              <a:srgbClr val="7D888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5" name="Connector: Elbow 6">
            <a:extLst>
              <a:ext uri="{FF2B5EF4-FFF2-40B4-BE49-F238E27FC236}">
                <a16:creationId xmlns:a16="http://schemas.microsoft.com/office/drawing/2014/main" id="{E60D6D8A-9446-43CA-B2C3-34E848894F7E}"/>
              </a:ext>
            </a:extLst>
          </p:cNvPr>
          <p:cNvCxnSpPr>
            <a:cxnSpLocks/>
          </p:cNvCxnSpPr>
          <p:nvPr/>
        </p:nvCxnSpPr>
        <p:spPr>
          <a:xfrm>
            <a:off x="11604880" y="4324350"/>
            <a:ext cx="0" cy="1062162"/>
          </a:xfrm>
          <a:prstGeom prst="straightConnector1">
            <a:avLst/>
          </a:prstGeom>
          <a:ln w="9525">
            <a:solidFill>
              <a:srgbClr val="7D888E"/>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844063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25D581-3B87-424B-AE8F-FC178D1BB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532" imgH="533" progId="TCLayout.ActiveDocument.1">
                  <p:embed/>
                </p:oleObj>
              </mc:Choice>
              <mc:Fallback>
                <p:oleObj name="think-cell Slide" r:id="rId4" imgW="532" imgH="533" progId="TCLayout.ActiveDocument.1">
                  <p:embed/>
                  <p:pic>
                    <p:nvPicPr>
                      <p:cNvPr id="5" name="Object 4" hidden="1">
                        <a:extLst>
                          <a:ext uri="{FF2B5EF4-FFF2-40B4-BE49-F238E27FC236}">
                            <a16:creationId xmlns:a16="http://schemas.microsoft.com/office/drawing/2014/main" id="{2325D581-3B87-424B-AE8F-FC178D1BB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Content Placeholder 37">
            <a:extLst>
              <a:ext uri="{FF2B5EF4-FFF2-40B4-BE49-F238E27FC236}">
                <a16:creationId xmlns:a16="http://schemas.microsoft.com/office/drawing/2014/main" id="{1CAF4A50-053F-4CA7-B389-DE91934D11BB}"/>
              </a:ext>
            </a:extLst>
          </p:cNvPr>
          <p:cNvSpPr txBox="1">
            <a:spLocks/>
          </p:cNvSpPr>
          <p:nvPr/>
        </p:nvSpPr>
        <p:spPr>
          <a:xfrm>
            <a:off x="359999" y="1829496"/>
            <a:ext cx="3583349" cy="4294800"/>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r>
              <a:rPr lang="en-GB" sz="1400" dirty="0">
                <a:solidFill>
                  <a:schemeClr val="bg1">
                    <a:lumMod val="65000"/>
                  </a:schemeClr>
                </a:solidFill>
              </a:rPr>
              <a:t>For many projects, it will become increasingly relevant to consider </a:t>
            </a:r>
            <a:r>
              <a:rPr lang="en-GB" sz="1400" b="1" dirty="0">
                <a:solidFill>
                  <a:schemeClr val="tx2"/>
                </a:solidFill>
              </a:rPr>
              <a:t>sustainability policies  and regulations </a:t>
            </a:r>
            <a:r>
              <a:rPr lang="en-GB" sz="1400" dirty="0">
                <a:solidFill>
                  <a:schemeClr val="bg1">
                    <a:lumMod val="65000"/>
                  </a:schemeClr>
                </a:solidFill>
              </a:rPr>
              <a:t>dictated by various authorities and organisations. One example is the </a:t>
            </a:r>
            <a:r>
              <a:rPr lang="en-GB" sz="1400" b="1" dirty="0">
                <a:solidFill>
                  <a:schemeClr val="tx2"/>
                </a:solidFill>
              </a:rPr>
              <a:t>EU Taxonomy.</a:t>
            </a:r>
          </a:p>
          <a:p>
            <a:r>
              <a:rPr lang="en-GB" sz="1400" dirty="0">
                <a:solidFill>
                  <a:schemeClr val="bg1">
                    <a:lumMod val="65000"/>
                  </a:schemeClr>
                </a:solidFill>
              </a:rPr>
              <a:t>For the projects to actually comply, these </a:t>
            </a:r>
            <a:r>
              <a:rPr lang="en-GB" sz="1400" b="1" dirty="0">
                <a:solidFill>
                  <a:schemeClr val="tx2"/>
                </a:solidFill>
              </a:rPr>
              <a:t>policies/regulations must be integrated from the early stages of the procurement processes.</a:t>
            </a:r>
          </a:p>
          <a:p>
            <a:r>
              <a:rPr lang="en-GB" sz="1400" dirty="0">
                <a:solidFill>
                  <a:schemeClr val="bg1">
                    <a:lumMod val="65000"/>
                  </a:schemeClr>
                </a:solidFill>
              </a:rPr>
              <a:t>This can be done through, e.g., the use of requirements </a:t>
            </a:r>
            <a:r>
              <a:rPr lang="en-GB" sz="1400" dirty="0">
                <a:solidFill>
                  <a:srgbClr val="A6A6A6"/>
                </a:solidFill>
              </a:rPr>
              <a:t>and</a:t>
            </a:r>
            <a:r>
              <a:rPr lang="en-GB" sz="1400" dirty="0">
                <a:solidFill>
                  <a:schemeClr val="bg1">
                    <a:lumMod val="65000"/>
                  </a:schemeClr>
                </a:solidFill>
              </a:rPr>
              <a:t> evaluation criteria.</a:t>
            </a:r>
          </a:p>
        </p:txBody>
      </p:sp>
      <p:sp>
        <p:nvSpPr>
          <p:cNvPr id="4" name="Slide Number Placeholder 3">
            <a:extLst>
              <a:ext uri="{FF2B5EF4-FFF2-40B4-BE49-F238E27FC236}">
                <a16:creationId xmlns:a16="http://schemas.microsoft.com/office/drawing/2014/main" id="{BE8EDE4A-135A-4B72-839B-A9C233FC4C97}"/>
              </a:ext>
            </a:extLst>
          </p:cNvPr>
          <p:cNvSpPr>
            <a:spLocks noGrp="1"/>
          </p:cNvSpPr>
          <p:nvPr>
            <p:ph type="sldNum" sz="quarter" idx="12"/>
          </p:nvPr>
        </p:nvSpPr>
        <p:spPr/>
        <p:txBody>
          <a:bodyPr/>
          <a:lstStyle/>
          <a:p>
            <a:fld id="{23AA811B-2EBD-4900-905E-5BE206449611}" type="slidenum">
              <a:rPr lang="en-GB" smtClean="0"/>
              <a:pPr/>
              <a:t>14</a:t>
            </a:fld>
            <a:endParaRPr lang="en-GB" dirty="0"/>
          </a:p>
        </p:txBody>
      </p:sp>
      <p:sp>
        <p:nvSpPr>
          <p:cNvPr id="2" name="Title 1">
            <a:extLst>
              <a:ext uri="{FF2B5EF4-FFF2-40B4-BE49-F238E27FC236}">
                <a16:creationId xmlns:a16="http://schemas.microsoft.com/office/drawing/2014/main" id="{AE49A06D-7930-4B5F-B5A0-41474ABABEED}"/>
              </a:ext>
            </a:extLst>
          </p:cNvPr>
          <p:cNvSpPr>
            <a:spLocks noGrp="1"/>
          </p:cNvSpPr>
          <p:nvPr>
            <p:ph type="title"/>
          </p:nvPr>
        </p:nvSpPr>
        <p:spPr/>
        <p:txBody>
          <a:bodyPr vert="horz"/>
          <a:lstStyle/>
          <a:p>
            <a:r>
              <a:rPr lang="en-GB" dirty="0"/>
              <a:t>Aligning sustainability policies/regulations</a:t>
            </a:r>
            <a:br>
              <a:rPr lang="en-GB"/>
            </a:br>
            <a:r>
              <a:rPr lang="en-GB"/>
              <a:t>– </a:t>
            </a:r>
            <a:r>
              <a:rPr lang="en-GB" dirty="0"/>
              <a:t>e.g., EU Taxonomy</a:t>
            </a:r>
          </a:p>
        </p:txBody>
      </p:sp>
      <p:sp>
        <p:nvSpPr>
          <p:cNvPr id="6" name="TextBox 5">
            <a:extLst>
              <a:ext uri="{FF2B5EF4-FFF2-40B4-BE49-F238E27FC236}">
                <a16:creationId xmlns:a16="http://schemas.microsoft.com/office/drawing/2014/main" id="{E58F7D17-D675-4F3B-920D-8E6AC7755896}"/>
              </a:ext>
            </a:extLst>
          </p:cNvPr>
          <p:cNvSpPr txBox="1"/>
          <p:nvPr/>
        </p:nvSpPr>
        <p:spPr>
          <a:xfrm>
            <a:off x="4303712" y="5960791"/>
            <a:ext cx="7528287" cy="138499"/>
          </a:xfrm>
          <a:prstGeom prst="rect">
            <a:avLst/>
          </a:prstGeom>
          <a:noFill/>
        </p:spPr>
        <p:txBody>
          <a:bodyPr wrap="square" lIns="0" tIns="0" rIns="0" bIns="0" rtlCol="0">
            <a:spAutoFit/>
          </a:bodyPr>
          <a:lstStyle/>
          <a:p>
            <a:r>
              <a:rPr lang="en-GB" sz="900" spc="-10" dirty="0">
                <a:solidFill>
                  <a:srgbClr val="273943"/>
                </a:solidFill>
              </a:rPr>
              <a:t>The six environmental objectives established in the Taxonomy Regulation – please see more at https://c.ramboll.com/eu-taxonomy</a:t>
            </a:r>
          </a:p>
        </p:txBody>
      </p:sp>
      <p:sp>
        <p:nvSpPr>
          <p:cNvPr id="8" name="Rectangle 7">
            <a:extLst>
              <a:ext uri="{FF2B5EF4-FFF2-40B4-BE49-F238E27FC236}">
                <a16:creationId xmlns:a16="http://schemas.microsoft.com/office/drawing/2014/main" id="{08C9B489-1409-48D5-8ECC-87965B2F43FC}"/>
              </a:ext>
            </a:extLst>
          </p:cNvPr>
          <p:cNvSpPr/>
          <p:nvPr/>
        </p:nvSpPr>
        <p:spPr>
          <a:xfrm>
            <a:off x="4303715" y="1828799"/>
            <a:ext cx="3648538" cy="1162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r>
              <a:rPr lang="en-GB" sz="1400" noProof="0" dirty="0"/>
              <a:t>Climate change</a:t>
            </a:r>
            <a:r>
              <a:rPr lang="en-GB" sz="1400" dirty="0"/>
              <a:t> </a:t>
            </a:r>
            <a:r>
              <a:rPr lang="en-GB" sz="1400" noProof="0" dirty="0"/>
              <a:t>mitigation</a:t>
            </a:r>
          </a:p>
        </p:txBody>
      </p:sp>
      <p:sp>
        <p:nvSpPr>
          <p:cNvPr id="9" name="Rectangle 8">
            <a:extLst>
              <a:ext uri="{FF2B5EF4-FFF2-40B4-BE49-F238E27FC236}">
                <a16:creationId xmlns:a16="http://schemas.microsoft.com/office/drawing/2014/main" id="{73EF7EE2-4EE4-4B36-AA54-473087E499C5}"/>
              </a:ext>
            </a:extLst>
          </p:cNvPr>
          <p:cNvSpPr/>
          <p:nvPr/>
        </p:nvSpPr>
        <p:spPr>
          <a:xfrm>
            <a:off x="8183462" y="1828799"/>
            <a:ext cx="3648538" cy="1162419"/>
          </a:xfrm>
          <a:prstGeom prst="rect">
            <a:avLst/>
          </a:prstGeom>
          <a:solidFill>
            <a:srgbClr val="125A40"/>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r>
              <a:rPr lang="en-GB" sz="1400" noProof="0" dirty="0"/>
              <a:t>Climate change adaptation</a:t>
            </a:r>
          </a:p>
        </p:txBody>
      </p:sp>
      <p:sp>
        <p:nvSpPr>
          <p:cNvPr id="10" name="Rectangle 9">
            <a:extLst>
              <a:ext uri="{FF2B5EF4-FFF2-40B4-BE49-F238E27FC236}">
                <a16:creationId xmlns:a16="http://schemas.microsoft.com/office/drawing/2014/main" id="{55F11466-F485-4E2D-9BD2-D889A29A7DB2}"/>
              </a:ext>
            </a:extLst>
          </p:cNvPr>
          <p:cNvSpPr/>
          <p:nvPr/>
        </p:nvSpPr>
        <p:spPr>
          <a:xfrm>
            <a:off x="8183462" y="3243077"/>
            <a:ext cx="3648538" cy="1162419"/>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r>
              <a:rPr lang="en-GB" sz="1400" noProof="0" dirty="0"/>
              <a:t>Circular economy</a:t>
            </a:r>
          </a:p>
        </p:txBody>
      </p:sp>
      <p:sp>
        <p:nvSpPr>
          <p:cNvPr id="11" name="Rectangle 10">
            <a:extLst>
              <a:ext uri="{FF2B5EF4-FFF2-40B4-BE49-F238E27FC236}">
                <a16:creationId xmlns:a16="http://schemas.microsoft.com/office/drawing/2014/main" id="{23F52D40-F2E1-4152-AE74-33FBAB9A4D93}"/>
              </a:ext>
            </a:extLst>
          </p:cNvPr>
          <p:cNvSpPr/>
          <p:nvPr/>
        </p:nvSpPr>
        <p:spPr>
          <a:xfrm>
            <a:off x="4303714" y="3243077"/>
            <a:ext cx="3648538" cy="1162419"/>
          </a:xfrm>
          <a:prstGeom prst="rect">
            <a:avLst/>
          </a:prstGeom>
          <a:solidFill>
            <a:srgbClr val="ADD095"/>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r>
              <a:rPr lang="en-GB" sz="1400" noProof="0" dirty="0"/>
              <a:t>Sustainable use of</a:t>
            </a:r>
            <a:br>
              <a:rPr lang="en-GB" sz="1400" noProof="0" dirty="0"/>
            </a:br>
            <a:r>
              <a:rPr lang="en-GB" sz="1400" noProof="0" dirty="0"/>
              <a:t>water and marine sources</a:t>
            </a:r>
          </a:p>
        </p:txBody>
      </p:sp>
      <p:sp>
        <p:nvSpPr>
          <p:cNvPr id="12" name="Rectangle 11">
            <a:extLst>
              <a:ext uri="{FF2B5EF4-FFF2-40B4-BE49-F238E27FC236}">
                <a16:creationId xmlns:a16="http://schemas.microsoft.com/office/drawing/2014/main" id="{4520221B-705C-41F4-8BAB-4560FB91E9CD}"/>
              </a:ext>
            </a:extLst>
          </p:cNvPr>
          <p:cNvSpPr/>
          <p:nvPr/>
        </p:nvSpPr>
        <p:spPr>
          <a:xfrm>
            <a:off x="4303713" y="4657355"/>
            <a:ext cx="3648538" cy="1162419"/>
          </a:xfrm>
          <a:prstGeom prst="rect">
            <a:avLst/>
          </a:prstGeom>
          <a:solidFill>
            <a:srgbClr val="61294B"/>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r>
              <a:rPr lang="en-GB" sz="1400" noProof="0" dirty="0"/>
              <a:t>Pollution prevention</a:t>
            </a:r>
          </a:p>
        </p:txBody>
      </p:sp>
      <p:sp>
        <p:nvSpPr>
          <p:cNvPr id="13" name="Rectangle 12">
            <a:extLst>
              <a:ext uri="{FF2B5EF4-FFF2-40B4-BE49-F238E27FC236}">
                <a16:creationId xmlns:a16="http://schemas.microsoft.com/office/drawing/2014/main" id="{CF6EE739-19AE-4CB4-B835-75FDA532F0D9}"/>
              </a:ext>
            </a:extLst>
          </p:cNvPr>
          <p:cNvSpPr/>
          <p:nvPr/>
        </p:nvSpPr>
        <p:spPr>
          <a:xfrm>
            <a:off x="8183461" y="4657353"/>
            <a:ext cx="3648538" cy="1162419"/>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r>
              <a:rPr lang="en-GB" sz="1400" noProof="0" dirty="0">
                <a:solidFill>
                  <a:srgbClr val="273943"/>
                </a:solidFill>
              </a:rPr>
              <a:t>Healthy ecosystem</a:t>
            </a:r>
          </a:p>
        </p:txBody>
      </p:sp>
      <p:sp>
        <p:nvSpPr>
          <p:cNvPr id="38" name="TextBox 37">
            <a:extLst>
              <a:ext uri="{FF2B5EF4-FFF2-40B4-BE49-F238E27FC236}">
                <a16:creationId xmlns:a16="http://schemas.microsoft.com/office/drawing/2014/main" id="{CE1B5D5F-FAA5-4D1E-963A-1EB455C4238F}"/>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rgbClr val="A6A6A6"/>
                </a:solidFill>
                <a:latin typeface="Verdana"/>
              </a:rPr>
              <a:t>Sustainability </a:t>
            </a:r>
            <a:r>
              <a:rPr lang="en-GB" sz="800" dirty="0">
                <a:solidFill>
                  <a:schemeClr val="accent1"/>
                </a:solidFill>
                <a:latin typeface="Verdana"/>
              </a:rPr>
              <a:t>│ Procurement │ </a:t>
            </a:r>
            <a:r>
              <a:rPr lang="en-GB" sz="800" dirty="0">
                <a:solidFill>
                  <a:schemeClr val="bg1">
                    <a:lumMod val="65000"/>
                  </a:schemeClr>
                </a:solidFill>
                <a:latin typeface="Verdana"/>
              </a:rPr>
              <a:t>Contract Management │ How to do it</a:t>
            </a:r>
          </a:p>
        </p:txBody>
      </p:sp>
      <p:pic>
        <p:nvPicPr>
          <p:cNvPr id="40" name="Graphic 39">
            <a:extLst>
              <a:ext uri="{FF2B5EF4-FFF2-40B4-BE49-F238E27FC236}">
                <a16:creationId xmlns:a16="http://schemas.microsoft.com/office/drawing/2014/main" id="{6FF8E2B0-E77B-4455-8BA1-C826499404E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99312" y="2081396"/>
            <a:ext cx="438150" cy="657225"/>
          </a:xfrm>
          <a:prstGeom prst="rect">
            <a:avLst/>
          </a:prstGeom>
        </p:spPr>
      </p:pic>
      <p:pic>
        <p:nvPicPr>
          <p:cNvPr id="42" name="Graphic 41">
            <a:extLst>
              <a:ext uri="{FF2B5EF4-FFF2-40B4-BE49-F238E27FC236}">
                <a16:creationId xmlns:a16="http://schemas.microsoft.com/office/drawing/2014/main" id="{D21C82D8-C92C-4E06-B436-681EDF1579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8350" y="3543299"/>
            <a:ext cx="600075" cy="561975"/>
          </a:xfrm>
          <a:prstGeom prst="rect">
            <a:avLst/>
          </a:prstGeom>
        </p:spPr>
      </p:pic>
      <p:pic>
        <p:nvPicPr>
          <p:cNvPr id="44" name="Graphic 43">
            <a:extLst>
              <a:ext uri="{FF2B5EF4-FFF2-40B4-BE49-F238E27FC236}">
                <a16:creationId xmlns:a16="http://schemas.microsoft.com/office/drawing/2014/main" id="{A1074F1D-43D7-4D37-B4B4-CB8CA0AFB54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85012" y="4909952"/>
            <a:ext cx="666750" cy="657225"/>
          </a:xfrm>
          <a:prstGeom prst="rect">
            <a:avLst/>
          </a:prstGeom>
        </p:spPr>
      </p:pic>
      <p:pic>
        <p:nvPicPr>
          <p:cNvPr id="46" name="Graphic 45">
            <a:extLst>
              <a:ext uri="{FF2B5EF4-FFF2-40B4-BE49-F238E27FC236}">
                <a16:creationId xmlns:a16="http://schemas.microsoft.com/office/drawing/2014/main" id="{2D19D0B5-B963-461D-9439-5BAD57E283D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993335" y="4909950"/>
            <a:ext cx="666750" cy="657225"/>
          </a:xfrm>
          <a:prstGeom prst="rect">
            <a:avLst/>
          </a:prstGeom>
        </p:spPr>
      </p:pic>
      <p:pic>
        <p:nvPicPr>
          <p:cNvPr id="48" name="Graphic 47">
            <a:extLst>
              <a:ext uri="{FF2B5EF4-FFF2-40B4-BE49-F238E27FC236}">
                <a16:creationId xmlns:a16="http://schemas.microsoft.com/office/drawing/2014/main" id="{37279AFC-AE13-4134-BFA1-074CEC5BA6D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050485" y="3486149"/>
            <a:ext cx="552450" cy="676275"/>
          </a:xfrm>
          <a:prstGeom prst="rect">
            <a:avLst/>
          </a:prstGeom>
        </p:spPr>
      </p:pic>
      <p:pic>
        <p:nvPicPr>
          <p:cNvPr id="50" name="Graphic 49">
            <a:extLst>
              <a:ext uri="{FF2B5EF4-FFF2-40B4-BE49-F238E27FC236}">
                <a16:creationId xmlns:a16="http://schemas.microsoft.com/office/drawing/2014/main" id="{9C1E12FE-A1AC-4DE2-95AC-7A4307D9161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998098" y="2124258"/>
            <a:ext cx="657225" cy="571500"/>
          </a:xfrm>
          <a:prstGeom prst="rect">
            <a:avLst/>
          </a:prstGeom>
        </p:spPr>
      </p:pic>
    </p:spTree>
    <p:extLst>
      <p:ext uri="{BB962C8B-B14F-4D97-AF65-F5344CB8AC3E}">
        <p14:creationId xmlns:p14="http://schemas.microsoft.com/office/powerpoint/2010/main" val="31338826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7B0D4-2555-4F60-BC41-B3FCBE280E4A}"/>
              </a:ext>
            </a:extLst>
          </p:cNvPr>
          <p:cNvSpPr>
            <a:spLocks noGrp="1"/>
          </p:cNvSpPr>
          <p:nvPr>
            <p:ph type="title"/>
          </p:nvPr>
        </p:nvSpPr>
        <p:spPr>
          <a:xfrm>
            <a:off x="360000" y="655200"/>
            <a:ext cx="10228171" cy="936000"/>
          </a:xfrm>
        </p:spPr>
        <p:txBody>
          <a:bodyPr/>
          <a:lstStyle/>
          <a:p>
            <a:r>
              <a:rPr lang="en-GB" dirty="0"/>
              <a:t>There are no secret tricks – it all comes down to good and consistent practices, which can be tough to maintain</a:t>
            </a:r>
          </a:p>
        </p:txBody>
      </p:sp>
      <p:sp>
        <p:nvSpPr>
          <p:cNvPr id="4" name="Slide Number Placeholder 3">
            <a:extLst>
              <a:ext uri="{FF2B5EF4-FFF2-40B4-BE49-F238E27FC236}">
                <a16:creationId xmlns:a16="http://schemas.microsoft.com/office/drawing/2014/main" id="{10DC5963-7621-4F13-85C6-F3DEB87E9688}"/>
              </a:ext>
            </a:extLst>
          </p:cNvPr>
          <p:cNvSpPr>
            <a:spLocks noGrp="1"/>
          </p:cNvSpPr>
          <p:nvPr>
            <p:ph type="sldNum" sz="quarter" idx="12"/>
          </p:nvPr>
        </p:nvSpPr>
        <p:spPr/>
        <p:txBody>
          <a:bodyPr/>
          <a:lstStyle/>
          <a:p>
            <a:fld id="{23AA811B-2EBD-4900-905E-5BE206449611}" type="slidenum">
              <a:rPr lang="en-GB" smtClean="0"/>
              <a:pPr/>
              <a:t>15</a:t>
            </a:fld>
            <a:endParaRPr lang="en-GB" dirty="0"/>
          </a:p>
        </p:txBody>
      </p:sp>
      <p:sp>
        <p:nvSpPr>
          <p:cNvPr id="5" name="TextBox 4">
            <a:extLst>
              <a:ext uri="{FF2B5EF4-FFF2-40B4-BE49-F238E27FC236}">
                <a16:creationId xmlns:a16="http://schemas.microsoft.com/office/drawing/2014/main" id="{F2904EE9-4714-46AF-AF01-922168A8B38D}"/>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rgbClr val="A6A6A6"/>
                </a:solidFill>
                <a:latin typeface="Verdana"/>
              </a:rPr>
              <a:t>Sustainability </a:t>
            </a:r>
            <a:r>
              <a:rPr lang="en-GB" sz="800" dirty="0">
                <a:solidFill>
                  <a:schemeClr val="accent1"/>
                </a:solidFill>
                <a:latin typeface="Verdana"/>
              </a:rPr>
              <a:t>│</a:t>
            </a:r>
            <a:r>
              <a:rPr lang="en-GB" sz="800" dirty="0">
                <a:solidFill>
                  <a:schemeClr val="bg1">
                    <a:lumMod val="65000"/>
                  </a:schemeClr>
                </a:solidFill>
                <a:latin typeface="Verdana"/>
              </a:rPr>
              <a:t> </a:t>
            </a:r>
            <a:r>
              <a:rPr lang="en-GB" sz="800" dirty="0">
                <a:solidFill>
                  <a:schemeClr val="accent1"/>
                </a:solidFill>
                <a:latin typeface="Verdana"/>
              </a:rPr>
              <a:t>Procurement</a:t>
            </a:r>
            <a:r>
              <a:rPr lang="en-GB" sz="800" dirty="0">
                <a:solidFill>
                  <a:schemeClr val="bg1">
                    <a:lumMod val="65000"/>
                  </a:schemeClr>
                </a:solidFill>
                <a:latin typeface="Verdana"/>
              </a:rPr>
              <a:t> </a:t>
            </a:r>
            <a:r>
              <a:rPr lang="en-GB" sz="800" dirty="0">
                <a:solidFill>
                  <a:schemeClr val="accent1"/>
                </a:solidFill>
                <a:latin typeface="Verdana"/>
              </a:rPr>
              <a:t>│</a:t>
            </a:r>
            <a:r>
              <a:rPr lang="en-GB" sz="800" dirty="0">
                <a:solidFill>
                  <a:schemeClr val="bg1">
                    <a:lumMod val="65000"/>
                  </a:schemeClr>
                </a:solidFill>
                <a:latin typeface="Verdana"/>
              </a:rPr>
              <a:t> Contract Management │ How to do it</a:t>
            </a:r>
          </a:p>
        </p:txBody>
      </p:sp>
      <p:pic>
        <p:nvPicPr>
          <p:cNvPr id="7" name="Picture 6">
            <a:extLst>
              <a:ext uri="{FF2B5EF4-FFF2-40B4-BE49-F238E27FC236}">
                <a16:creationId xmlns:a16="http://schemas.microsoft.com/office/drawing/2014/main" id="{E46F24CB-1385-4151-9044-F87B47AC8CBF}"/>
              </a:ext>
            </a:extLst>
          </p:cNvPr>
          <p:cNvPicPr>
            <a:picLocks noChangeAspect="1"/>
          </p:cNvPicPr>
          <p:nvPr/>
        </p:nvPicPr>
        <p:blipFill>
          <a:blip r:embed="rId2"/>
          <a:stretch>
            <a:fillRect/>
          </a:stretch>
        </p:blipFill>
        <p:spPr>
          <a:xfrm>
            <a:off x="957342" y="2060856"/>
            <a:ext cx="6853751" cy="3847406"/>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694205B0-3F53-421A-BC59-25A2F8D3DCEE}"/>
              </a:ext>
            </a:extLst>
          </p:cNvPr>
          <p:cNvSpPr txBox="1"/>
          <p:nvPr/>
        </p:nvSpPr>
        <p:spPr>
          <a:xfrm>
            <a:off x="737675" y="6422678"/>
            <a:ext cx="6096000" cy="215444"/>
          </a:xfrm>
          <a:prstGeom prst="rect">
            <a:avLst/>
          </a:prstGeom>
          <a:noFill/>
        </p:spPr>
        <p:txBody>
          <a:bodyPr wrap="square">
            <a:spAutoFit/>
          </a:bodyPr>
          <a:lstStyle/>
          <a:p>
            <a:r>
              <a:rPr lang="en-GB" sz="800" dirty="0">
                <a:hlinkClick r:id="rId3"/>
              </a:rPr>
              <a:t>https://c.ramboll.com/project-contract-management-white-paper</a:t>
            </a:r>
            <a:r>
              <a:rPr lang="en-GB" sz="800" dirty="0"/>
              <a:t> </a:t>
            </a:r>
          </a:p>
        </p:txBody>
      </p:sp>
      <p:sp>
        <p:nvSpPr>
          <p:cNvPr id="11" name="Rectangle 10">
            <a:extLst>
              <a:ext uri="{FF2B5EF4-FFF2-40B4-BE49-F238E27FC236}">
                <a16:creationId xmlns:a16="http://schemas.microsoft.com/office/drawing/2014/main" id="{186498AB-BBC6-4158-8565-25461809A486}"/>
              </a:ext>
            </a:extLst>
          </p:cNvPr>
          <p:cNvSpPr/>
          <p:nvPr/>
        </p:nvSpPr>
        <p:spPr>
          <a:xfrm>
            <a:off x="1112920" y="2952415"/>
            <a:ext cx="3946358" cy="445168"/>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1600" noProof="0" dirty="0">
                <a:latin typeface="Gotham Rounded Book" pitchFamily="50" charset="0"/>
              </a:rPr>
              <a:t>Procurement activities prior to the signing of the contract</a:t>
            </a:r>
          </a:p>
        </p:txBody>
      </p:sp>
      <p:pic>
        <p:nvPicPr>
          <p:cNvPr id="15" name="Picture 14">
            <a:extLst>
              <a:ext uri="{FF2B5EF4-FFF2-40B4-BE49-F238E27FC236}">
                <a16:creationId xmlns:a16="http://schemas.microsoft.com/office/drawing/2014/main" id="{26A4C21D-FF89-4076-821F-BA76A9CE7E2C}"/>
              </a:ext>
            </a:extLst>
          </p:cNvPr>
          <p:cNvPicPr>
            <a:picLocks noChangeAspect="1"/>
          </p:cNvPicPr>
          <p:nvPr/>
        </p:nvPicPr>
        <p:blipFill>
          <a:blip r:embed="rId4"/>
          <a:stretch>
            <a:fillRect/>
          </a:stretch>
        </p:blipFill>
        <p:spPr>
          <a:xfrm>
            <a:off x="8099540" y="4110453"/>
            <a:ext cx="3210284" cy="1797809"/>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3F7AF4F9-5464-4302-A27E-90F87CFA8833}"/>
              </a:ext>
            </a:extLst>
          </p:cNvPr>
          <p:cNvPicPr>
            <a:picLocks noChangeAspect="1"/>
          </p:cNvPicPr>
          <p:nvPr/>
        </p:nvPicPr>
        <p:blipFill>
          <a:blip r:embed="rId5"/>
          <a:stretch>
            <a:fillRect/>
          </a:stretch>
        </p:blipFill>
        <p:spPr>
          <a:xfrm>
            <a:off x="8099540" y="2060856"/>
            <a:ext cx="3210284" cy="1816496"/>
          </a:xfrm>
          <a:prstGeom prst="rect">
            <a:avLst/>
          </a:prstGeom>
          <a:ln>
            <a:noFill/>
          </a:ln>
          <a:effectLst>
            <a:outerShdw blurRad="292100" dist="139700" dir="2700000" algn="tl" rotWithShape="0">
              <a:srgbClr val="333333">
                <a:alpha val="65000"/>
              </a:srgbClr>
            </a:outerShdw>
          </a:effectLst>
        </p:spPr>
      </p:pic>
      <p:sp>
        <p:nvSpPr>
          <p:cNvPr id="20" name="TextBox 19">
            <a:extLst>
              <a:ext uri="{FF2B5EF4-FFF2-40B4-BE49-F238E27FC236}">
                <a16:creationId xmlns:a16="http://schemas.microsoft.com/office/drawing/2014/main" id="{95C474D0-361C-4ED3-AE9B-3899F4B93535}"/>
              </a:ext>
            </a:extLst>
          </p:cNvPr>
          <p:cNvSpPr txBox="1"/>
          <p:nvPr/>
        </p:nvSpPr>
        <p:spPr>
          <a:xfrm>
            <a:off x="10906201" y="1530566"/>
            <a:ext cx="1047219" cy="246221"/>
          </a:xfrm>
          <a:prstGeom prst="rect">
            <a:avLst/>
          </a:prstGeom>
          <a:noFill/>
        </p:spPr>
        <p:txBody>
          <a:bodyPr wrap="square">
            <a:spAutoFit/>
          </a:bodyPr>
          <a:lstStyle/>
          <a:p>
            <a:pPr algn="ctr"/>
            <a:r>
              <a:rPr lang="en-GB" sz="500" dirty="0">
                <a:solidFill>
                  <a:schemeClr val="tx2"/>
                </a:solidFill>
              </a:rPr>
              <a:t>QR-code for whitepaper shown below</a:t>
            </a:r>
          </a:p>
        </p:txBody>
      </p:sp>
      <p:pic>
        <p:nvPicPr>
          <p:cNvPr id="6" name="Picture 5">
            <a:extLst>
              <a:ext uri="{FF2B5EF4-FFF2-40B4-BE49-F238E27FC236}">
                <a16:creationId xmlns:a16="http://schemas.microsoft.com/office/drawing/2014/main" id="{9345319A-E876-4737-AE18-953F56F874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61809" y="655199"/>
            <a:ext cx="936001" cy="936001"/>
          </a:xfrm>
          <a:prstGeom prst="rect">
            <a:avLst/>
          </a:prstGeom>
        </p:spPr>
      </p:pic>
    </p:spTree>
    <p:extLst>
      <p:ext uri="{BB962C8B-B14F-4D97-AF65-F5344CB8AC3E}">
        <p14:creationId xmlns:p14="http://schemas.microsoft.com/office/powerpoint/2010/main" val="3439134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8AF1867-AAF1-4DAB-9CFC-2F362B5B6BBD}"/>
              </a:ext>
            </a:extLst>
          </p:cNvPr>
          <p:cNvSpPr>
            <a:spLocks noGrp="1"/>
          </p:cNvSpPr>
          <p:nvPr>
            <p:ph type="sldNum" sz="quarter" idx="17"/>
          </p:nvPr>
        </p:nvSpPr>
        <p:spPr/>
        <p:txBody>
          <a:bodyPr/>
          <a:lstStyle/>
          <a:p>
            <a:fld id="{23AA811B-2EBD-4900-905E-5BE206449611}" type="slidenum">
              <a:rPr lang="en-GB" smtClean="0"/>
              <a:pPr/>
              <a:t>16</a:t>
            </a:fld>
            <a:endParaRPr lang="en-GB" dirty="0"/>
          </a:p>
        </p:txBody>
      </p:sp>
      <p:sp>
        <p:nvSpPr>
          <p:cNvPr id="4" name="Title 3">
            <a:extLst>
              <a:ext uri="{FF2B5EF4-FFF2-40B4-BE49-F238E27FC236}">
                <a16:creationId xmlns:a16="http://schemas.microsoft.com/office/drawing/2014/main" id="{52EAAD7F-2FCA-44F5-9AF6-1333F8ACAEFD}"/>
              </a:ext>
            </a:extLst>
          </p:cNvPr>
          <p:cNvSpPr>
            <a:spLocks noGrp="1"/>
          </p:cNvSpPr>
          <p:nvPr>
            <p:ph type="title"/>
          </p:nvPr>
        </p:nvSpPr>
        <p:spPr/>
        <p:txBody>
          <a:bodyPr/>
          <a:lstStyle/>
          <a:p>
            <a:endParaRPr lang="en-GB" dirty="0"/>
          </a:p>
        </p:txBody>
      </p:sp>
      <p:pic>
        <p:nvPicPr>
          <p:cNvPr id="30" name="Picture Placeholder 27">
            <a:extLst>
              <a:ext uri="{FF2B5EF4-FFF2-40B4-BE49-F238E27FC236}">
                <a16:creationId xmlns:a16="http://schemas.microsoft.com/office/drawing/2014/main" id="{5CED0BB7-2A48-4886-AE6E-58FA750E2078}"/>
              </a:ext>
            </a:extLst>
          </p:cNvPr>
          <p:cNvPicPr>
            <a:picLocks noGrp="1" noChangeAspect="1"/>
          </p:cNvPicPr>
          <p:nvPr>
            <p:ph type="pic" sz="quarter" idx="14"/>
            <p:custDataLst>
              <p:tags r:id="rId1"/>
            </p:custDataLst>
          </p:nvPr>
        </p:nvPicPr>
        <p:blipFill rotWithShape="1">
          <a:blip r:embed="rId3">
            <a:extLst>
              <a:ext uri="{28A0092B-C50C-407E-A947-70E740481C1C}">
                <a14:useLocalDpi xmlns:a14="http://schemas.microsoft.com/office/drawing/2010/main" val="0"/>
              </a:ext>
            </a:extLst>
          </a:blip>
          <a:srcRect t="15604"/>
          <a:stretch/>
        </p:blipFill>
        <p:spPr>
          <a:xfrm>
            <a:off x="0" y="0"/>
            <a:ext cx="12192000" cy="6858000"/>
          </a:xfrm>
        </p:spPr>
      </p:pic>
      <p:sp>
        <p:nvSpPr>
          <p:cNvPr id="16" name="Rectangle 15">
            <a:extLst>
              <a:ext uri="{FF2B5EF4-FFF2-40B4-BE49-F238E27FC236}">
                <a16:creationId xmlns:a16="http://schemas.microsoft.com/office/drawing/2014/main" id="{B0D7D7C4-6449-446B-BFAF-F0CB37C354D2}"/>
              </a:ext>
            </a:extLst>
          </p:cNvPr>
          <p:cNvSpPr/>
          <p:nvPr/>
        </p:nvSpPr>
        <p:spPr>
          <a:xfrm>
            <a:off x="5239657" y="3662373"/>
            <a:ext cx="6952343" cy="17154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800" noProof="0" dirty="0"/>
              <a:t>How Contract Management can support the realisation of a project's sustainability objectives?</a:t>
            </a:r>
          </a:p>
        </p:txBody>
      </p:sp>
    </p:spTree>
    <p:extLst>
      <p:ext uri="{BB962C8B-B14F-4D97-AF65-F5344CB8AC3E}">
        <p14:creationId xmlns:p14="http://schemas.microsoft.com/office/powerpoint/2010/main" val="16955227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AC11C-A21C-4DF9-9443-D14DDB4C991C}"/>
              </a:ext>
            </a:extLst>
          </p:cNvPr>
          <p:cNvSpPr>
            <a:spLocks noGrp="1"/>
          </p:cNvSpPr>
          <p:nvPr>
            <p:ph type="title"/>
          </p:nvPr>
        </p:nvSpPr>
        <p:spPr/>
        <p:txBody>
          <a:bodyPr/>
          <a:lstStyle/>
          <a:p>
            <a:r>
              <a:rPr lang="en-GB" dirty="0"/>
              <a:t>Why do contracts need to be managed?</a:t>
            </a:r>
          </a:p>
        </p:txBody>
      </p:sp>
      <p:sp>
        <p:nvSpPr>
          <p:cNvPr id="4" name="Slide Number Placeholder 3">
            <a:extLst>
              <a:ext uri="{FF2B5EF4-FFF2-40B4-BE49-F238E27FC236}">
                <a16:creationId xmlns:a16="http://schemas.microsoft.com/office/drawing/2014/main" id="{91B06E40-6453-46CF-B6FD-68064E0142B0}"/>
              </a:ext>
            </a:extLst>
          </p:cNvPr>
          <p:cNvSpPr>
            <a:spLocks noGrp="1"/>
          </p:cNvSpPr>
          <p:nvPr>
            <p:ph type="sldNum" sz="quarter" idx="12"/>
          </p:nvPr>
        </p:nvSpPr>
        <p:spPr/>
        <p:txBody>
          <a:bodyPr/>
          <a:lstStyle/>
          <a:p>
            <a:fld id="{23AA811B-2EBD-4900-905E-5BE206449611}" type="slidenum">
              <a:rPr lang="en-GB" smtClean="0"/>
              <a:pPr/>
              <a:t>17</a:t>
            </a:fld>
            <a:endParaRPr lang="en-GB" dirty="0"/>
          </a:p>
        </p:txBody>
      </p:sp>
      <p:sp>
        <p:nvSpPr>
          <p:cNvPr id="33" name="Content Placeholder 37">
            <a:extLst>
              <a:ext uri="{FF2B5EF4-FFF2-40B4-BE49-F238E27FC236}">
                <a16:creationId xmlns:a16="http://schemas.microsoft.com/office/drawing/2014/main" id="{82F01FF2-711A-4C47-A096-BAF13746A7BB}"/>
              </a:ext>
            </a:extLst>
          </p:cNvPr>
          <p:cNvSpPr txBox="1">
            <a:spLocks/>
          </p:cNvSpPr>
          <p:nvPr/>
        </p:nvSpPr>
        <p:spPr>
          <a:xfrm>
            <a:off x="360002" y="1828800"/>
            <a:ext cx="2671674" cy="4294800"/>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r>
              <a:rPr lang="en-GB" sz="1400" b="1" dirty="0">
                <a:solidFill>
                  <a:schemeClr val="tx2"/>
                </a:solidFill>
              </a:rPr>
              <a:t>Contracts are not self-fulfilling prophesies</a:t>
            </a:r>
            <a:r>
              <a:rPr lang="en-GB" sz="1400" dirty="0">
                <a:solidFill>
                  <a:schemeClr val="bg1">
                    <a:lumMod val="65000"/>
                  </a:schemeClr>
                </a:solidFill>
              </a:rPr>
              <a:t> but need to be actively managed to ensure that the original contract goal is reached.</a:t>
            </a:r>
            <a:endParaRPr lang="en-GB" sz="1400" b="1" dirty="0"/>
          </a:p>
          <a:p>
            <a:r>
              <a:rPr lang="en-GB" sz="1400" dirty="0">
                <a:solidFill>
                  <a:schemeClr val="bg1">
                    <a:lumMod val="65000"/>
                  </a:schemeClr>
                </a:solidFill>
              </a:rPr>
              <a:t>Sustainability initiatives are often considered “nice-to-have” and therefore </a:t>
            </a:r>
            <a:r>
              <a:rPr lang="en-GB" sz="1400" b="1" dirty="0">
                <a:solidFill>
                  <a:schemeClr val="tx2"/>
                </a:solidFill>
              </a:rPr>
              <a:t>sustainability is primed to be a focus for contract management efforts.</a:t>
            </a:r>
          </a:p>
          <a:p>
            <a:r>
              <a:rPr lang="en-GB" sz="1400" dirty="0">
                <a:solidFill>
                  <a:schemeClr val="bg1">
                    <a:lumMod val="65000"/>
                  </a:schemeClr>
                </a:solidFill>
              </a:rPr>
              <a:t>Contract management is a fluid discipline, which is defined differently across different projects. To the right are examples of potential contract management tasks.</a:t>
            </a:r>
          </a:p>
        </p:txBody>
      </p:sp>
      <p:sp>
        <p:nvSpPr>
          <p:cNvPr id="28" name="TextBox 27">
            <a:extLst>
              <a:ext uri="{FF2B5EF4-FFF2-40B4-BE49-F238E27FC236}">
                <a16:creationId xmlns:a16="http://schemas.microsoft.com/office/drawing/2014/main" id="{FA2FF86F-5D29-4528-8119-A3D9C7A34BA3}"/>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rgbClr val="A6A6A6"/>
                </a:solidFill>
                <a:latin typeface="Verdana"/>
              </a:rPr>
              <a:t>Sustainability </a:t>
            </a:r>
            <a:r>
              <a:rPr lang="en-GB" sz="800" dirty="0">
                <a:solidFill>
                  <a:srgbClr val="B7B7B7"/>
                </a:solidFill>
                <a:latin typeface="Verdana"/>
              </a:rPr>
              <a:t>│ Procurement </a:t>
            </a:r>
            <a:r>
              <a:rPr lang="en-GB" sz="800" dirty="0">
                <a:solidFill>
                  <a:schemeClr val="accent1"/>
                </a:solidFill>
                <a:latin typeface="Verdana"/>
              </a:rPr>
              <a:t>│ Contract Management │ </a:t>
            </a:r>
            <a:r>
              <a:rPr lang="en-GB" sz="800" dirty="0">
                <a:solidFill>
                  <a:schemeClr val="bg1">
                    <a:lumMod val="65000"/>
                  </a:schemeClr>
                </a:solidFill>
                <a:latin typeface="Verdana"/>
              </a:rPr>
              <a:t>How to do it</a:t>
            </a:r>
          </a:p>
        </p:txBody>
      </p:sp>
      <p:sp>
        <p:nvSpPr>
          <p:cNvPr id="31" name="Rectangle 30">
            <a:extLst>
              <a:ext uri="{FF2B5EF4-FFF2-40B4-BE49-F238E27FC236}">
                <a16:creationId xmlns:a16="http://schemas.microsoft.com/office/drawing/2014/main" id="{C9273E12-3841-43D8-8A32-20A44BE29A67}"/>
              </a:ext>
            </a:extLst>
          </p:cNvPr>
          <p:cNvSpPr/>
          <p:nvPr/>
        </p:nvSpPr>
        <p:spPr>
          <a:xfrm>
            <a:off x="3657600" y="1828800"/>
            <a:ext cx="8174398" cy="429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2" name="TextBox 31">
            <a:extLst>
              <a:ext uri="{FF2B5EF4-FFF2-40B4-BE49-F238E27FC236}">
                <a16:creationId xmlns:a16="http://schemas.microsoft.com/office/drawing/2014/main" id="{E4592237-9C8C-4090-9BD6-A2FA605C246A}"/>
              </a:ext>
            </a:extLst>
          </p:cNvPr>
          <p:cNvSpPr txBox="1"/>
          <p:nvPr/>
        </p:nvSpPr>
        <p:spPr>
          <a:xfrm>
            <a:off x="6578939" y="2577909"/>
            <a:ext cx="2331720" cy="3190617"/>
          </a:xfrm>
          <a:prstGeom prst="rect">
            <a:avLst/>
          </a:prstGeom>
          <a:noFill/>
        </p:spPr>
        <p:txBody>
          <a:bodyPr wrap="square" lIns="0" tIns="0" rIns="0" bIns="0">
            <a:spAutoFit/>
          </a:bodyPr>
          <a:lstStyle/>
          <a:p>
            <a:pPr defTabSz="457098" fontAlgn="base">
              <a:spcBef>
                <a:spcPct val="0"/>
              </a:spcBef>
              <a:spcAft>
                <a:spcPts val="800"/>
              </a:spcAft>
            </a:pPr>
            <a:r>
              <a:rPr lang="en-GB" sz="1100" dirty="0">
                <a:solidFill>
                  <a:schemeClr val="bg1"/>
                </a:solidFill>
                <a:latin typeface="+mj-lt"/>
              </a:rPr>
              <a:t>Contract management</a:t>
            </a:r>
          </a:p>
          <a:p>
            <a:pPr defTabSz="457098" fontAlgn="base">
              <a:spcBef>
                <a:spcPct val="0"/>
              </a:spcBef>
              <a:spcAft>
                <a:spcPts val="400"/>
              </a:spcAft>
            </a:pPr>
            <a:r>
              <a:rPr lang="en-GB" sz="850" dirty="0">
                <a:solidFill>
                  <a:schemeClr val="bg1"/>
                </a:solidFill>
                <a:latin typeface="+mj-lt"/>
              </a:rPr>
              <a:t>Delivery &amp; Obligation management</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Management of the D&amp;O process within the project by ensuring all parties D&amp;O compliance as specified in the contract.</a:t>
            </a:r>
          </a:p>
          <a:p>
            <a:pPr defTabSz="457098" fontAlgn="base">
              <a:spcBef>
                <a:spcPct val="0"/>
              </a:spcBef>
              <a:spcAft>
                <a:spcPts val="400"/>
              </a:spcAft>
            </a:pPr>
            <a:r>
              <a:rPr lang="en-GB" sz="850" dirty="0">
                <a:solidFill>
                  <a:schemeClr val="bg1"/>
                </a:solidFill>
                <a:latin typeface="+mj-lt"/>
              </a:rPr>
              <a:t>Variation order and claims management</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Managing variation orders and claims efficiently and in compliance with the contract to protect the contract value.</a:t>
            </a:r>
          </a:p>
          <a:p>
            <a:pPr defTabSz="457098" fontAlgn="base">
              <a:spcBef>
                <a:spcPct val="0"/>
              </a:spcBef>
              <a:spcAft>
                <a:spcPts val="400"/>
              </a:spcAft>
            </a:pPr>
            <a:r>
              <a:rPr lang="en-GB" sz="850" dirty="0">
                <a:solidFill>
                  <a:schemeClr val="bg1"/>
                </a:solidFill>
                <a:latin typeface="+mj-lt"/>
              </a:rPr>
              <a:t>Financial management</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Providing timely forecasting of cashflow and contingencies, based on current and future contractual development.</a:t>
            </a:r>
          </a:p>
          <a:p>
            <a:pPr defTabSz="457098" fontAlgn="base">
              <a:spcBef>
                <a:spcPct val="0"/>
              </a:spcBef>
              <a:spcAft>
                <a:spcPts val="400"/>
              </a:spcAft>
            </a:pPr>
            <a:r>
              <a:rPr lang="en-GB" sz="850" dirty="0">
                <a:solidFill>
                  <a:schemeClr val="bg1"/>
                </a:solidFill>
                <a:latin typeface="+mj-lt"/>
              </a:rPr>
              <a:t>General contract advisor</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Operational and tactical advisory on contractual and legal matters to project management, ensuring that contractual and legal advice is easily available at project management level.</a:t>
            </a:r>
          </a:p>
        </p:txBody>
      </p:sp>
      <p:sp>
        <p:nvSpPr>
          <p:cNvPr id="34" name="TextBox 33">
            <a:extLst>
              <a:ext uri="{FF2B5EF4-FFF2-40B4-BE49-F238E27FC236}">
                <a16:creationId xmlns:a16="http://schemas.microsoft.com/office/drawing/2014/main" id="{BF9E08E7-A5ED-4063-B79F-E3C5B5838AE7}"/>
              </a:ext>
            </a:extLst>
          </p:cNvPr>
          <p:cNvSpPr txBox="1"/>
          <p:nvPr/>
        </p:nvSpPr>
        <p:spPr>
          <a:xfrm>
            <a:off x="3876257" y="2584487"/>
            <a:ext cx="2331720" cy="3190617"/>
          </a:xfrm>
          <a:prstGeom prst="rect">
            <a:avLst/>
          </a:prstGeom>
          <a:noFill/>
        </p:spPr>
        <p:txBody>
          <a:bodyPr wrap="square" lIns="0" tIns="0" rIns="0" bIns="0">
            <a:spAutoFit/>
          </a:bodyPr>
          <a:lstStyle/>
          <a:p>
            <a:pPr defTabSz="457098" fontAlgn="base">
              <a:spcBef>
                <a:spcPct val="0"/>
              </a:spcBef>
              <a:spcAft>
                <a:spcPts val="800"/>
              </a:spcAft>
            </a:pPr>
            <a:r>
              <a:rPr lang="en-GB" sz="1100" dirty="0">
                <a:solidFill>
                  <a:schemeClr val="bg1"/>
                </a:solidFill>
                <a:latin typeface="+mj-lt"/>
              </a:rPr>
              <a:t>Contract administration</a:t>
            </a:r>
          </a:p>
          <a:p>
            <a:pPr defTabSz="457098" fontAlgn="base">
              <a:spcBef>
                <a:spcPct val="0"/>
              </a:spcBef>
              <a:spcAft>
                <a:spcPts val="400"/>
              </a:spcAft>
            </a:pPr>
            <a:r>
              <a:rPr lang="en-GB" sz="850" dirty="0">
                <a:solidFill>
                  <a:schemeClr val="bg1"/>
                </a:solidFill>
                <a:latin typeface="+mj-lt"/>
              </a:rPr>
              <a:t>General document management</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Ensuring that written deliverables, critical correspondence and other documents of contractual importance.</a:t>
            </a:r>
          </a:p>
          <a:p>
            <a:pPr defTabSz="457098" fontAlgn="base">
              <a:spcBef>
                <a:spcPct val="0"/>
              </a:spcBef>
              <a:spcAft>
                <a:spcPts val="400"/>
              </a:spcAft>
            </a:pPr>
            <a:r>
              <a:rPr lang="en-GB" sz="850" dirty="0">
                <a:solidFill>
                  <a:schemeClr val="bg1"/>
                </a:solidFill>
                <a:latin typeface="+mj-lt"/>
              </a:rPr>
              <a:t>Delivery &amp; Obligation administration</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Maintaining D&amp;O overview and ensuring allocation of ownership and thereby minimising risk of non-compliance.</a:t>
            </a:r>
          </a:p>
          <a:p>
            <a:pPr defTabSz="457098" fontAlgn="base">
              <a:spcBef>
                <a:spcPct val="0"/>
              </a:spcBef>
              <a:spcAft>
                <a:spcPts val="400"/>
              </a:spcAft>
            </a:pPr>
            <a:r>
              <a:rPr lang="en-GB" sz="850" dirty="0">
                <a:solidFill>
                  <a:schemeClr val="bg1"/>
                </a:solidFill>
                <a:latin typeface="+mj-lt"/>
              </a:rPr>
              <a:t>Variation order and claims administration</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Drafting and administering documentation for contractual changes, ensuring compliance and thereby entitlements.</a:t>
            </a:r>
          </a:p>
          <a:p>
            <a:pPr defTabSz="457098" fontAlgn="base">
              <a:spcBef>
                <a:spcPct val="0"/>
              </a:spcBef>
              <a:spcAft>
                <a:spcPts val="400"/>
              </a:spcAft>
            </a:pPr>
            <a:r>
              <a:rPr lang="en-GB" sz="850" dirty="0">
                <a:solidFill>
                  <a:schemeClr val="bg1"/>
                </a:solidFill>
                <a:latin typeface="+mj-lt"/>
              </a:rPr>
              <a:t>Financial administration</a:t>
            </a:r>
          </a:p>
          <a:p>
            <a:pPr marL="171450" lvl="1" indent="-171450" defTabSz="457098" fontAlgn="base">
              <a:spcBef>
                <a:spcPct val="0"/>
              </a:spcBef>
              <a:spcAft>
                <a:spcPts val="800"/>
              </a:spcAft>
              <a:buFont typeface="Arial" panose="020B0604020202020204" pitchFamily="34" charset="0"/>
              <a:buChar char="•"/>
            </a:pPr>
            <a:r>
              <a:rPr lang="en-GB" sz="850" dirty="0">
                <a:solidFill>
                  <a:schemeClr val="bg1"/>
                </a:solidFill>
                <a:latin typeface="+mj-lt"/>
              </a:rPr>
              <a:t>Assisting the project in management of the payment's procedures and maintaining financial overview.</a:t>
            </a:r>
          </a:p>
        </p:txBody>
      </p:sp>
      <p:sp>
        <p:nvSpPr>
          <p:cNvPr id="35" name="TextBox 34">
            <a:extLst>
              <a:ext uri="{FF2B5EF4-FFF2-40B4-BE49-F238E27FC236}">
                <a16:creationId xmlns:a16="http://schemas.microsoft.com/office/drawing/2014/main" id="{6A684CD9-64BF-4776-A39A-B8745B8DFBC5}"/>
              </a:ext>
            </a:extLst>
          </p:cNvPr>
          <p:cNvSpPr txBox="1"/>
          <p:nvPr/>
        </p:nvSpPr>
        <p:spPr>
          <a:xfrm>
            <a:off x="9281622" y="2577909"/>
            <a:ext cx="2331720" cy="2905924"/>
          </a:xfrm>
          <a:prstGeom prst="rect">
            <a:avLst/>
          </a:prstGeom>
          <a:noFill/>
        </p:spPr>
        <p:txBody>
          <a:bodyPr wrap="square" lIns="0" tIns="0" rIns="0" bIns="0">
            <a:spAutoFit/>
          </a:bodyPr>
          <a:lstStyle/>
          <a:p>
            <a:pPr defTabSz="457098" fontAlgn="base">
              <a:spcBef>
                <a:spcPct val="0"/>
              </a:spcBef>
              <a:spcAft>
                <a:spcPts val="800"/>
              </a:spcAft>
            </a:pPr>
            <a:r>
              <a:rPr lang="en-GB" sz="1100" dirty="0">
                <a:solidFill>
                  <a:schemeClr val="bg1"/>
                </a:solidFill>
                <a:latin typeface="+mj-lt"/>
              </a:rPr>
              <a:t>Commercial management</a:t>
            </a:r>
          </a:p>
          <a:p>
            <a:pPr defTabSz="457098" fontAlgn="base">
              <a:spcBef>
                <a:spcPct val="0"/>
              </a:spcBef>
              <a:spcAft>
                <a:spcPts val="400"/>
              </a:spcAft>
            </a:pPr>
            <a:r>
              <a:rPr lang="en-GB" sz="850" dirty="0">
                <a:solidFill>
                  <a:schemeClr val="bg1"/>
                </a:solidFill>
                <a:latin typeface="+mj-lt"/>
              </a:rPr>
              <a:t>Dispute management &amp; resolution</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Managing contractual disputes when they have been escalated or expected to be escalated out of the daily collaboration levels.</a:t>
            </a:r>
          </a:p>
          <a:p>
            <a:pPr defTabSz="457098" fontAlgn="base">
              <a:spcBef>
                <a:spcPct val="0"/>
              </a:spcBef>
              <a:spcAft>
                <a:spcPts val="400"/>
              </a:spcAft>
            </a:pPr>
            <a:r>
              <a:rPr lang="en-GB" sz="850" dirty="0">
                <a:solidFill>
                  <a:schemeClr val="bg1"/>
                </a:solidFill>
                <a:latin typeface="+mj-lt"/>
              </a:rPr>
              <a:t>Portfolio management</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Assisting in managing the multiple contracts related to the execution of the overall project/programme – both upstream and downstream in the supply chain.</a:t>
            </a:r>
          </a:p>
          <a:p>
            <a:pPr defTabSz="457098" fontAlgn="base">
              <a:spcBef>
                <a:spcPct val="0"/>
              </a:spcBef>
              <a:spcAft>
                <a:spcPts val="400"/>
              </a:spcAft>
            </a:pPr>
            <a:r>
              <a:rPr lang="en-GB" sz="850" dirty="0">
                <a:solidFill>
                  <a:schemeClr val="bg1"/>
                </a:solidFill>
                <a:latin typeface="+mj-lt"/>
              </a:rPr>
              <a:t>Strategic advisor</a:t>
            </a:r>
          </a:p>
          <a:p>
            <a:pPr marL="171450" lvl="1" indent="-171450" defTabSz="457098" fontAlgn="base">
              <a:spcBef>
                <a:spcPct val="0"/>
              </a:spcBef>
              <a:spcAft>
                <a:spcPts val="1000"/>
              </a:spcAft>
              <a:buFont typeface="Arial" panose="020B0604020202020204" pitchFamily="34" charset="0"/>
              <a:buChar char="•"/>
            </a:pPr>
            <a:r>
              <a:rPr lang="en-GB" sz="850" dirty="0">
                <a:solidFill>
                  <a:schemeClr val="bg1"/>
                </a:solidFill>
                <a:latin typeface="+mj-lt"/>
              </a:rPr>
              <a:t>Providing commercial advice to the entire project in matters such as negotiations, key stakeholder management and matters affecting the business case.</a:t>
            </a:r>
          </a:p>
        </p:txBody>
      </p:sp>
      <p:cxnSp>
        <p:nvCxnSpPr>
          <p:cNvPr id="36" name="Straight Connector 35">
            <a:extLst>
              <a:ext uri="{FF2B5EF4-FFF2-40B4-BE49-F238E27FC236}">
                <a16:creationId xmlns:a16="http://schemas.microsoft.com/office/drawing/2014/main" id="{62CB6117-EC63-4FC1-90B4-A64BB5D5D781}"/>
              </a:ext>
            </a:extLst>
          </p:cNvPr>
          <p:cNvCxnSpPr>
            <a:cxnSpLocks/>
          </p:cNvCxnSpPr>
          <p:nvPr/>
        </p:nvCxnSpPr>
        <p:spPr>
          <a:xfrm>
            <a:off x="6393458" y="2014818"/>
            <a:ext cx="0" cy="39227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D4967C8-1F55-45A9-A209-AE968337CA95}"/>
              </a:ext>
            </a:extLst>
          </p:cNvPr>
          <p:cNvCxnSpPr>
            <a:cxnSpLocks/>
          </p:cNvCxnSpPr>
          <p:nvPr/>
        </p:nvCxnSpPr>
        <p:spPr>
          <a:xfrm>
            <a:off x="9096140" y="2014818"/>
            <a:ext cx="0" cy="392276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38" name="Graphic 37">
            <a:extLst>
              <a:ext uri="{FF2B5EF4-FFF2-40B4-BE49-F238E27FC236}">
                <a16:creationId xmlns:a16="http://schemas.microsoft.com/office/drawing/2014/main" id="{6AA739A3-D4CC-48AB-8B74-BDDA724DA1D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1622" y="2014818"/>
            <a:ext cx="472313" cy="465158"/>
          </a:xfrm>
          <a:prstGeom prst="rect">
            <a:avLst/>
          </a:prstGeom>
        </p:spPr>
      </p:pic>
      <p:pic>
        <p:nvPicPr>
          <p:cNvPr id="39" name="Graphic 38">
            <a:extLst>
              <a:ext uri="{FF2B5EF4-FFF2-40B4-BE49-F238E27FC236}">
                <a16:creationId xmlns:a16="http://schemas.microsoft.com/office/drawing/2014/main" id="{60500354-E44A-4AD8-8D1F-1C2C362BE1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78939" y="2014818"/>
            <a:ext cx="386318" cy="465158"/>
          </a:xfrm>
          <a:prstGeom prst="rect">
            <a:avLst/>
          </a:prstGeom>
        </p:spPr>
      </p:pic>
      <p:grpSp>
        <p:nvGrpSpPr>
          <p:cNvPr id="40" name="Group 39">
            <a:extLst>
              <a:ext uri="{FF2B5EF4-FFF2-40B4-BE49-F238E27FC236}">
                <a16:creationId xmlns:a16="http://schemas.microsoft.com/office/drawing/2014/main" id="{0817965D-566A-4A9E-88F6-D70297DDDEF4}"/>
              </a:ext>
            </a:extLst>
          </p:cNvPr>
          <p:cNvGrpSpPr/>
          <p:nvPr/>
        </p:nvGrpSpPr>
        <p:grpSpPr>
          <a:xfrm>
            <a:off x="3876257" y="2014818"/>
            <a:ext cx="349140" cy="468411"/>
            <a:chOff x="4865688" y="387350"/>
            <a:chExt cx="511175" cy="685800"/>
          </a:xfrm>
          <a:solidFill>
            <a:schemeClr val="bg1"/>
          </a:solidFill>
        </p:grpSpPr>
        <p:sp>
          <p:nvSpPr>
            <p:cNvPr id="41" name="Oval 5">
              <a:extLst>
                <a:ext uri="{FF2B5EF4-FFF2-40B4-BE49-F238E27FC236}">
                  <a16:creationId xmlns:a16="http://schemas.microsoft.com/office/drawing/2014/main" id="{2E357B20-40FF-4B8B-B695-31E18E2B92BE}"/>
                </a:ext>
              </a:extLst>
            </p:cNvPr>
            <p:cNvSpPr>
              <a:spLocks noChangeArrowheads="1"/>
            </p:cNvSpPr>
            <p:nvPr/>
          </p:nvSpPr>
          <p:spPr bwMode="auto">
            <a:xfrm>
              <a:off x="5053013" y="387350"/>
              <a:ext cx="136525" cy="13652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6">
              <a:extLst>
                <a:ext uri="{FF2B5EF4-FFF2-40B4-BE49-F238E27FC236}">
                  <a16:creationId xmlns:a16="http://schemas.microsoft.com/office/drawing/2014/main" id="{64E720EA-E204-4394-AC85-7F302BF39369}"/>
                </a:ext>
              </a:extLst>
            </p:cNvPr>
            <p:cNvSpPr>
              <a:spLocks/>
            </p:cNvSpPr>
            <p:nvPr/>
          </p:nvSpPr>
          <p:spPr bwMode="auto">
            <a:xfrm>
              <a:off x="5035550" y="920750"/>
              <a:ext cx="69850" cy="152400"/>
            </a:xfrm>
            <a:custGeom>
              <a:avLst/>
              <a:gdLst>
                <a:gd name="T0" fmla="*/ 1 w 58"/>
                <a:gd name="T1" fmla="*/ 93 h 127"/>
                <a:gd name="T2" fmla="*/ 20 w 58"/>
                <a:gd name="T3" fmla="*/ 121 h 127"/>
                <a:gd name="T4" fmla="*/ 56 w 58"/>
                <a:gd name="T5" fmla="*/ 104 h 127"/>
                <a:gd name="T6" fmla="*/ 58 w 58"/>
                <a:gd name="T7" fmla="*/ 94 h 127"/>
                <a:gd name="T8" fmla="*/ 58 w 58"/>
                <a:gd name="T9" fmla="*/ 0 h 127"/>
                <a:gd name="T10" fmla="*/ 1 w 58"/>
                <a:gd name="T11" fmla="*/ 0 h 127"/>
                <a:gd name="T12" fmla="*/ 1 w 58"/>
                <a:gd name="T13" fmla="*/ 93 h 127"/>
              </a:gdLst>
              <a:ahLst/>
              <a:cxnLst>
                <a:cxn ang="0">
                  <a:pos x="T0" y="T1"/>
                </a:cxn>
                <a:cxn ang="0">
                  <a:pos x="T2" y="T3"/>
                </a:cxn>
                <a:cxn ang="0">
                  <a:pos x="T4" y="T5"/>
                </a:cxn>
                <a:cxn ang="0">
                  <a:pos x="T6" y="T7"/>
                </a:cxn>
                <a:cxn ang="0">
                  <a:pos x="T8" y="T9"/>
                </a:cxn>
                <a:cxn ang="0">
                  <a:pos x="T10" y="T11"/>
                </a:cxn>
                <a:cxn ang="0">
                  <a:pos x="T12" y="T13"/>
                </a:cxn>
              </a:cxnLst>
              <a:rect l="0" t="0" r="r" b="b"/>
              <a:pathLst>
                <a:path w="58" h="127">
                  <a:moveTo>
                    <a:pt x="1" y="93"/>
                  </a:moveTo>
                  <a:cubicBezTo>
                    <a:pt x="0" y="106"/>
                    <a:pt x="8" y="117"/>
                    <a:pt x="20" y="121"/>
                  </a:cubicBezTo>
                  <a:cubicBezTo>
                    <a:pt x="35" y="127"/>
                    <a:pt x="51" y="119"/>
                    <a:pt x="56" y="104"/>
                  </a:cubicBezTo>
                  <a:cubicBezTo>
                    <a:pt x="57" y="101"/>
                    <a:pt x="58" y="97"/>
                    <a:pt x="58" y="94"/>
                  </a:cubicBezTo>
                  <a:cubicBezTo>
                    <a:pt x="58" y="0"/>
                    <a:pt x="58" y="0"/>
                    <a:pt x="58" y="0"/>
                  </a:cubicBezTo>
                  <a:cubicBezTo>
                    <a:pt x="1" y="0"/>
                    <a:pt x="1" y="0"/>
                    <a:pt x="1" y="0"/>
                  </a:cubicBezTo>
                  <a:lnTo>
                    <a:pt x="1" y="9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7">
              <a:extLst>
                <a:ext uri="{FF2B5EF4-FFF2-40B4-BE49-F238E27FC236}">
                  <a16:creationId xmlns:a16="http://schemas.microsoft.com/office/drawing/2014/main" id="{B343BBB9-AEB1-4965-98AB-7AD7360EA5FC}"/>
                </a:ext>
              </a:extLst>
            </p:cNvPr>
            <p:cNvSpPr>
              <a:spLocks/>
            </p:cNvSpPr>
            <p:nvPr/>
          </p:nvSpPr>
          <p:spPr bwMode="auto">
            <a:xfrm>
              <a:off x="5138738" y="920750"/>
              <a:ext cx="68262" cy="152400"/>
            </a:xfrm>
            <a:custGeom>
              <a:avLst/>
              <a:gdLst>
                <a:gd name="T0" fmla="*/ 0 w 57"/>
                <a:gd name="T1" fmla="*/ 93 h 127"/>
                <a:gd name="T2" fmla="*/ 19 w 57"/>
                <a:gd name="T3" fmla="*/ 121 h 127"/>
                <a:gd name="T4" fmla="*/ 56 w 57"/>
                <a:gd name="T5" fmla="*/ 104 h 127"/>
                <a:gd name="T6" fmla="*/ 57 w 57"/>
                <a:gd name="T7" fmla="*/ 94 h 127"/>
                <a:gd name="T8" fmla="*/ 57 w 57"/>
                <a:gd name="T9" fmla="*/ 0 h 127"/>
                <a:gd name="T10" fmla="*/ 0 w 57"/>
                <a:gd name="T11" fmla="*/ 0 h 127"/>
                <a:gd name="T12" fmla="*/ 0 w 57"/>
                <a:gd name="T13" fmla="*/ 93 h 127"/>
              </a:gdLst>
              <a:ahLst/>
              <a:cxnLst>
                <a:cxn ang="0">
                  <a:pos x="T0" y="T1"/>
                </a:cxn>
                <a:cxn ang="0">
                  <a:pos x="T2" y="T3"/>
                </a:cxn>
                <a:cxn ang="0">
                  <a:pos x="T4" y="T5"/>
                </a:cxn>
                <a:cxn ang="0">
                  <a:pos x="T6" y="T7"/>
                </a:cxn>
                <a:cxn ang="0">
                  <a:pos x="T8" y="T9"/>
                </a:cxn>
                <a:cxn ang="0">
                  <a:pos x="T10" y="T11"/>
                </a:cxn>
                <a:cxn ang="0">
                  <a:pos x="T12" y="T13"/>
                </a:cxn>
              </a:cxnLst>
              <a:rect l="0" t="0" r="r" b="b"/>
              <a:pathLst>
                <a:path w="57" h="127">
                  <a:moveTo>
                    <a:pt x="0" y="93"/>
                  </a:moveTo>
                  <a:cubicBezTo>
                    <a:pt x="0" y="106"/>
                    <a:pt x="7" y="117"/>
                    <a:pt x="19" y="121"/>
                  </a:cubicBezTo>
                  <a:cubicBezTo>
                    <a:pt x="34" y="127"/>
                    <a:pt x="51" y="119"/>
                    <a:pt x="56" y="104"/>
                  </a:cubicBezTo>
                  <a:cubicBezTo>
                    <a:pt x="57" y="101"/>
                    <a:pt x="57" y="97"/>
                    <a:pt x="57" y="94"/>
                  </a:cubicBezTo>
                  <a:cubicBezTo>
                    <a:pt x="57" y="0"/>
                    <a:pt x="57" y="0"/>
                    <a:pt x="57" y="0"/>
                  </a:cubicBezTo>
                  <a:cubicBezTo>
                    <a:pt x="0" y="0"/>
                    <a:pt x="0" y="0"/>
                    <a:pt x="0" y="0"/>
                  </a:cubicBezTo>
                  <a:lnTo>
                    <a:pt x="0" y="93"/>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8">
              <a:extLst>
                <a:ext uri="{FF2B5EF4-FFF2-40B4-BE49-F238E27FC236}">
                  <a16:creationId xmlns:a16="http://schemas.microsoft.com/office/drawing/2014/main" id="{54CDBC05-A10D-4FDB-AC24-76CC9DBB79BD}"/>
                </a:ext>
              </a:extLst>
            </p:cNvPr>
            <p:cNvSpPr>
              <a:spLocks/>
            </p:cNvSpPr>
            <p:nvPr/>
          </p:nvSpPr>
          <p:spPr bwMode="auto">
            <a:xfrm>
              <a:off x="4865688" y="762000"/>
              <a:ext cx="511175" cy="306388"/>
            </a:xfrm>
            <a:custGeom>
              <a:avLst/>
              <a:gdLst>
                <a:gd name="T0" fmla="*/ 413 w 428"/>
                <a:gd name="T1" fmla="*/ 0 h 257"/>
                <a:gd name="T2" fmla="*/ 15 w 428"/>
                <a:gd name="T3" fmla="*/ 0 h 257"/>
                <a:gd name="T4" fmla="*/ 0 w 428"/>
                <a:gd name="T5" fmla="*/ 15 h 257"/>
                <a:gd name="T6" fmla="*/ 0 w 428"/>
                <a:gd name="T7" fmla="*/ 257 h 257"/>
                <a:gd name="T8" fmla="*/ 29 w 428"/>
                <a:gd name="T9" fmla="*/ 257 h 257"/>
                <a:gd name="T10" fmla="*/ 29 w 428"/>
                <a:gd name="T11" fmla="*/ 114 h 257"/>
                <a:gd name="T12" fmla="*/ 399 w 428"/>
                <a:gd name="T13" fmla="*/ 114 h 257"/>
                <a:gd name="T14" fmla="*/ 399 w 428"/>
                <a:gd name="T15" fmla="*/ 257 h 257"/>
                <a:gd name="T16" fmla="*/ 428 w 428"/>
                <a:gd name="T17" fmla="*/ 257 h 257"/>
                <a:gd name="T18" fmla="*/ 428 w 428"/>
                <a:gd name="T19" fmla="*/ 15 h 257"/>
                <a:gd name="T20" fmla="*/ 413 w 428"/>
                <a:gd name="T2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8" h="257">
                  <a:moveTo>
                    <a:pt x="413" y="0"/>
                  </a:moveTo>
                  <a:cubicBezTo>
                    <a:pt x="15" y="0"/>
                    <a:pt x="15" y="0"/>
                    <a:pt x="15" y="0"/>
                  </a:cubicBezTo>
                  <a:cubicBezTo>
                    <a:pt x="7" y="0"/>
                    <a:pt x="0" y="7"/>
                    <a:pt x="0" y="15"/>
                  </a:cubicBezTo>
                  <a:cubicBezTo>
                    <a:pt x="0" y="257"/>
                    <a:pt x="0" y="257"/>
                    <a:pt x="0" y="257"/>
                  </a:cubicBezTo>
                  <a:cubicBezTo>
                    <a:pt x="29" y="257"/>
                    <a:pt x="29" y="257"/>
                    <a:pt x="29" y="257"/>
                  </a:cubicBezTo>
                  <a:cubicBezTo>
                    <a:pt x="29" y="114"/>
                    <a:pt x="29" y="114"/>
                    <a:pt x="29" y="114"/>
                  </a:cubicBezTo>
                  <a:cubicBezTo>
                    <a:pt x="399" y="114"/>
                    <a:pt x="399" y="114"/>
                    <a:pt x="399" y="114"/>
                  </a:cubicBezTo>
                  <a:cubicBezTo>
                    <a:pt x="399" y="257"/>
                    <a:pt x="399" y="257"/>
                    <a:pt x="399" y="257"/>
                  </a:cubicBezTo>
                  <a:cubicBezTo>
                    <a:pt x="428" y="257"/>
                    <a:pt x="428" y="257"/>
                    <a:pt x="428" y="257"/>
                  </a:cubicBezTo>
                  <a:cubicBezTo>
                    <a:pt x="428" y="15"/>
                    <a:pt x="428" y="15"/>
                    <a:pt x="428" y="15"/>
                  </a:cubicBezTo>
                  <a:cubicBezTo>
                    <a:pt x="428" y="7"/>
                    <a:pt x="421" y="0"/>
                    <a:pt x="41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9">
              <a:extLst>
                <a:ext uri="{FF2B5EF4-FFF2-40B4-BE49-F238E27FC236}">
                  <a16:creationId xmlns:a16="http://schemas.microsoft.com/office/drawing/2014/main" id="{3D869EB2-E8C8-4E1D-B714-6037962DCA5B}"/>
                </a:ext>
              </a:extLst>
            </p:cNvPr>
            <p:cNvSpPr>
              <a:spLocks/>
            </p:cNvSpPr>
            <p:nvPr/>
          </p:nvSpPr>
          <p:spPr bwMode="auto">
            <a:xfrm>
              <a:off x="4953000" y="541338"/>
              <a:ext cx="334962" cy="203200"/>
            </a:xfrm>
            <a:custGeom>
              <a:avLst/>
              <a:gdLst>
                <a:gd name="T0" fmla="*/ 228 w 281"/>
                <a:gd name="T1" fmla="*/ 171 h 171"/>
                <a:gd name="T2" fmla="*/ 281 w 281"/>
                <a:gd name="T3" fmla="*/ 171 h 171"/>
                <a:gd name="T4" fmla="*/ 273 w 281"/>
                <a:gd name="T5" fmla="*/ 113 h 171"/>
                <a:gd name="T6" fmla="*/ 236 w 281"/>
                <a:gd name="T7" fmla="*/ 28 h 171"/>
                <a:gd name="T8" fmla="*/ 199 w 281"/>
                <a:gd name="T9" fmla="*/ 0 h 171"/>
                <a:gd name="T10" fmla="*/ 84 w 281"/>
                <a:gd name="T11" fmla="*/ 0 h 171"/>
                <a:gd name="T12" fmla="*/ 48 w 281"/>
                <a:gd name="T13" fmla="*/ 25 h 171"/>
                <a:gd name="T14" fmla="*/ 8 w 281"/>
                <a:gd name="T15" fmla="*/ 114 h 171"/>
                <a:gd name="T16" fmla="*/ 1 w 281"/>
                <a:gd name="T17" fmla="*/ 171 h 171"/>
                <a:gd name="T18" fmla="*/ 54 w 281"/>
                <a:gd name="T19" fmla="*/ 171 h 171"/>
                <a:gd name="T20" fmla="*/ 49 w 281"/>
                <a:gd name="T21" fmla="*/ 157 h 171"/>
                <a:gd name="T22" fmla="*/ 49 w 281"/>
                <a:gd name="T23" fmla="*/ 71 h 171"/>
                <a:gd name="T24" fmla="*/ 69 w 281"/>
                <a:gd name="T25" fmla="*/ 50 h 171"/>
                <a:gd name="T26" fmla="*/ 213 w 281"/>
                <a:gd name="T27" fmla="*/ 50 h 171"/>
                <a:gd name="T28" fmla="*/ 233 w 281"/>
                <a:gd name="T29" fmla="*/ 71 h 171"/>
                <a:gd name="T30" fmla="*/ 233 w 281"/>
                <a:gd name="T31" fmla="*/ 157 h 171"/>
                <a:gd name="T32" fmla="*/ 228 w 281"/>
                <a:gd name="T33"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 h="171">
                  <a:moveTo>
                    <a:pt x="228" y="171"/>
                  </a:moveTo>
                  <a:cubicBezTo>
                    <a:pt x="281" y="171"/>
                    <a:pt x="281" y="171"/>
                    <a:pt x="281" y="171"/>
                  </a:cubicBezTo>
                  <a:cubicBezTo>
                    <a:pt x="281" y="151"/>
                    <a:pt x="279" y="132"/>
                    <a:pt x="273" y="113"/>
                  </a:cubicBezTo>
                  <a:cubicBezTo>
                    <a:pt x="261" y="74"/>
                    <a:pt x="236" y="28"/>
                    <a:pt x="236" y="28"/>
                  </a:cubicBezTo>
                  <a:cubicBezTo>
                    <a:pt x="230" y="15"/>
                    <a:pt x="217" y="0"/>
                    <a:pt x="199" y="0"/>
                  </a:cubicBezTo>
                  <a:cubicBezTo>
                    <a:pt x="195" y="0"/>
                    <a:pt x="88" y="0"/>
                    <a:pt x="84" y="0"/>
                  </a:cubicBezTo>
                  <a:cubicBezTo>
                    <a:pt x="68" y="0"/>
                    <a:pt x="55" y="13"/>
                    <a:pt x="48" y="25"/>
                  </a:cubicBezTo>
                  <a:cubicBezTo>
                    <a:pt x="29" y="56"/>
                    <a:pt x="20" y="80"/>
                    <a:pt x="8" y="114"/>
                  </a:cubicBezTo>
                  <a:cubicBezTo>
                    <a:pt x="3" y="133"/>
                    <a:pt x="0" y="152"/>
                    <a:pt x="1" y="171"/>
                  </a:cubicBezTo>
                  <a:cubicBezTo>
                    <a:pt x="54" y="171"/>
                    <a:pt x="54" y="171"/>
                    <a:pt x="54" y="171"/>
                  </a:cubicBezTo>
                  <a:cubicBezTo>
                    <a:pt x="51" y="167"/>
                    <a:pt x="49" y="163"/>
                    <a:pt x="49" y="157"/>
                  </a:cubicBezTo>
                  <a:cubicBezTo>
                    <a:pt x="49" y="71"/>
                    <a:pt x="49" y="71"/>
                    <a:pt x="49" y="71"/>
                  </a:cubicBezTo>
                  <a:cubicBezTo>
                    <a:pt x="49" y="60"/>
                    <a:pt x="58" y="50"/>
                    <a:pt x="69" y="50"/>
                  </a:cubicBezTo>
                  <a:cubicBezTo>
                    <a:pt x="213" y="50"/>
                    <a:pt x="213" y="50"/>
                    <a:pt x="213" y="50"/>
                  </a:cubicBezTo>
                  <a:cubicBezTo>
                    <a:pt x="224" y="50"/>
                    <a:pt x="233" y="60"/>
                    <a:pt x="233" y="71"/>
                  </a:cubicBezTo>
                  <a:cubicBezTo>
                    <a:pt x="233" y="157"/>
                    <a:pt x="233" y="157"/>
                    <a:pt x="233" y="157"/>
                  </a:cubicBezTo>
                  <a:cubicBezTo>
                    <a:pt x="233" y="163"/>
                    <a:pt x="231" y="167"/>
                    <a:pt x="228" y="17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248071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D0F35-4281-4694-9F00-4427A451DB72}"/>
              </a:ext>
            </a:extLst>
          </p:cNvPr>
          <p:cNvSpPr>
            <a:spLocks noGrp="1"/>
          </p:cNvSpPr>
          <p:nvPr>
            <p:ph type="title"/>
          </p:nvPr>
        </p:nvSpPr>
        <p:spPr/>
        <p:txBody>
          <a:bodyPr/>
          <a:lstStyle/>
          <a:p>
            <a:r>
              <a:rPr lang="en-GB" dirty="0"/>
              <a:t>Structured approach to managing sustainability initiatives throughout contract execution</a:t>
            </a:r>
          </a:p>
        </p:txBody>
      </p:sp>
      <p:sp>
        <p:nvSpPr>
          <p:cNvPr id="4" name="Slide Number Placeholder 3">
            <a:extLst>
              <a:ext uri="{FF2B5EF4-FFF2-40B4-BE49-F238E27FC236}">
                <a16:creationId xmlns:a16="http://schemas.microsoft.com/office/drawing/2014/main" id="{4E9B89C6-3967-4C82-B66E-C377C7B4C9B5}"/>
              </a:ext>
            </a:extLst>
          </p:cNvPr>
          <p:cNvSpPr>
            <a:spLocks noGrp="1"/>
          </p:cNvSpPr>
          <p:nvPr>
            <p:ph type="sldNum" sz="quarter" idx="12"/>
          </p:nvPr>
        </p:nvSpPr>
        <p:spPr/>
        <p:txBody>
          <a:bodyPr/>
          <a:lstStyle/>
          <a:p>
            <a:fld id="{23AA811B-2EBD-4900-905E-5BE206449611}" type="slidenum">
              <a:rPr lang="en-GB" smtClean="0"/>
              <a:pPr/>
              <a:t>18</a:t>
            </a:fld>
            <a:endParaRPr lang="en-GB" dirty="0"/>
          </a:p>
        </p:txBody>
      </p:sp>
      <p:sp>
        <p:nvSpPr>
          <p:cNvPr id="43" name="TextBox 42">
            <a:extLst>
              <a:ext uri="{FF2B5EF4-FFF2-40B4-BE49-F238E27FC236}">
                <a16:creationId xmlns:a16="http://schemas.microsoft.com/office/drawing/2014/main" id="{56381B96-4BD0-40B8-BB0F-AEFF06670ED2}"/>
              </a:ext>
            </a:extLst>
          </p:cNvPr>
          <p:cNvSpPr txBox="1"/>
          <p:nvPr/>
        </p:nvSpPr>
        <p:spPr>
          <a:xfrm>
            <a:off x="7514316" y="6488714"/>
            <a:ext cx="4068000" cy="76944"/>
          </a:xfrm>
          <a:prstGeom prst="rect">
            <a:avLst/>
          </a:prstGeom>
          <a:noFill/>
        </p:spPr>
        <p:txBody>
          <a:bodyPr wrap="square" lIns="0" tIns="0" rIns="0" bIns="0" rtlCol="0">
            <a:spAutoFit/>
          </a:bodyPr>
          <a:lstStyle/>
          <a:p>
            <a:pPr algn="r"/>
            <a:r>
              <a:rPr lang="en-GB" sz="500" dirty="0">
                <a:solidFill>
                  <a:schemeClr val="tx2"/>
                </a:solidFill>
              </a:rPr>
              <a:t>Source – clause examples: https://chancerylaneproject.org/climate-clauses/</a:t>
            </a:r>
          </a:p>
        </p:txBody>
      </p:sp>
      <p:sp>
        <p:nvSpPr>
          <p:cNvPr id="41" name="TextBox 40">
            <a:extLst>
              <a:ext uri="{FF2B5EF4-FFF2-40B4-BE49-F238E27FC236}">
                <a16:creationId xmlns:a16="http://schemas.microsoft.com/office/drawing/2014/main" id="{181E1DB4-218E-41F6-A9A6-66070753E3FD}"/>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rgbClr val="A6A6A6"/>
                </a:solidFill>
                <a:latin typeface="Verdana"/>
              </a:rPr>
              <a:t>Sustainability </a:t>
            </a:r>
            <a:r>
              <a:rPr lang="en-GB" sz="800" dirty="0">
                <a:solidFill>
                  <a:srgbClr val="B7B7B7"/>
                </a:solidFill>
                <a:latin typeface="Verdana"/>
              </a:rPr>
              <a:t>│ Procurement </a:t>
            </a:r>
            <a:r>
              <a:rPr lang="en-GB" sz="800" dirty="0">
                <a:solidFill>
                  <a:schemeClr val="accent1"/>
                </a:solidFill>
                <a:latin typeface="Verdana"/>
              </a:rPr>
              <a:t>│ Contract Management │ </a:t>
            </a:r>
            <a:r>
              <a:rPr lang="en-GB" sz="800" dirty="0">
                <a:solidFill>
                  <a:schemeClr val="bg1">
                    <a:lumMod val="65000"/>
                  </a:schemeClr>
                </a:solidFill>
                <a:latin typeface="Verdana"/>
              </a:rPr>
              <a:t>How to do it</a:t>
            </a:r>
          </a:p>
        </p:txBody>
      </p:sp>
      <p:sp>
        <p:nvSpPr>
          <p:cNvPr id="44" name="Rectangle 43">
            <a:extLst>
              <a:ext uri="{FF2B5EF4-FFF2-40B4-BE49-F238E27FC236}">
                <a16:creationId xmlns:a16="http://schemas.microsoft.com/office/drawing/2014/main" id="{FD1E56F2-877D-4C60-9D1A-D0A58545787D}"/>
              </a:ext>
            </a:extLst>
          </p:cNvPr>
          <p:cNvSpPr/>
          <p:nvPr/>
        </p:nvSpPr>
        <p:spPr>
          <a:xfrm>
            <a:off x="8783185" y="2000992"/>
            <a:ext cx="3048815" cy="1016001"/>
          </a:xfrm>
          <a:prstGeom prst="rect">
            <a:avLst/>
          </a:prstGeom>
          <a:solidFill>
            <a:srgbClr val="009DF0"/>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r>
              <a:rPr lang="en-GB" sz="1400" noProof="0" dirty="0">
                <a:solidFill>
                  <a:schemeClr val="bg1"/>
                </a:solidFill>
              </a:rPr>
              <a:t>Document results</a:t>
            </a:r>
            <a:br>
              <a:rPr lang="en-GB" sz="1400" noProof="0" dirty="0">
                <a:solidFill>
                  <a:schemeClr val="bg1"/>
                </a:solidFill>
              </a:rPr>
            </a:br>
            <a:r>
              <a:rPr lang="en-GB" sz="1400" noProof="0" dirty="0">
                <a:solidFill>
                  <a:schemeClr val="bg1"/>
                </a:solidFill>
              </a:rPr>
              <a:t>and handover to</a:t>
            </a:r>
            <a:br>
              <a:rPr lang="en-GB" sz="1400" noProof="0" dirty="0">
                <a:solidFill>
                  <a:schemeClr val="bg1"/>
                </a:solidFill>
              </a:rPr>
            </a:br>
            <a:r>
              <a:rPr lang="en-GB" sz="1400" noProof="0" dirty="0">
                <a:solidFill>
                  <a:schemeClr val="bg1"/>
                </a:solidFill>
              </a:rPr>
              <a:t>operations</a:t>
            </a:r>
          </a:p>
        </p:txBody>
      </p:sp>
      <p:sp>
        <p:nvSpPr>
          <p:cNvPr id="45" name="Rectangle 44">
            <a:extLst>
              <a:ext uri="{FF2B5EF4-FFF2-40B4-BE49-F238E27FC236}">
                <a16:creationId xmlns:a16="http://schemas.microsoft.com/office/drawing/2014/main" id="{F77C2537-9C08-4412-856A-6506B9CA103F}"/>
              </a:ext>
            </a:extLst>
          </p:cNvPr>
          <p:cNvSpPr/>
          <p:nvPr/>
        </p:nvSpPr>
        <p:spPr>
          <a:xfrm>
            <a:off x="360000" y="2000992"/>
            <a:ext cx="3048815" cy="1016001"/>
          </a:xfrm>
          <a:prstGeom prst="rect">
            <a:avLst/>
          </a:prstGeom>
          <a:solidFill>
            <a:srgbClr val="009DF0"/>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r>
              <a:rPr lang="en-GB" sz="1400" dirty="0">
                <a:solidFill>
                  <a:schemeClr val="bg1"/>
                </a:solidFill>
              </a:rPr>
              <a:t>Extract sustainability</a:t>
            </a:r>
            <a:br>
              <a:rPr lang="en-GB" sz="1400" dirty="0">
                <a:solidFill>
                  <a:schemeClr val="bg1"/>
                </a:solidFill>
              </a:rPr>
            </a:br>
            <a:r>
              <a:rPr lang="en-GB" sz="1400" dirty="0">
                <a:solidFill>
                  <a:schemeClr val="bg1"/>
                </a:solidFill>
              </a:rPr>
              <a:t>initiatives from</a:t>
            </a:r>
            <a:br>
              <a:rPr lang="en-GB" sz="1400" dirty="0">
                <a:solidFill>
                  <a:schemeClr val="bg1"/>
                </a:solidFill>
              </a:rPr>
            </a:br>
            <a:r>
              <a:rPr lang="en-GB" sz="1400" dirty="0">
                <a:solidFill>
                  <a:schemeClr val="bg1"/>
                </a:solidFill>
              </a:rPr>
              <a:t>the contract</a:t>
            </a:r>
            <a:endParaRPr lang="en-GB" sz="1400" noProof="0" dirty="0">
              <a:solidFill>
                <a:schemeClr val="bg1"/>
              </a:solidFill>
            </a:endParaRPr>
          </a:p>
        </p:txBody>
      </p:sp>
      <p:sp>
        <p:nvSpPr>
          <p:cNvPr id="46" name="Rectangle 45">
            <a:extLst>
              <a:ext uri="{FF2B5EF4-FFF2-40B4-BE49-F238E27FC236}">
                <a16:creationId xmlns:a16="http://schemas.microsoft.com/office/drawing/2014/main" id="{4CAF22A7-FA4E-4156-9D96-E5839FD6D5A1}"/>
              </a:ext>
            </a:extLst>
          </p:cNvPr>
          <p:cNvSpPr/>
          <p:nvPr/>
        </p:nvSpPr>
        <p:spPr>
          <a:xfrm>
            <a:off x="4571592" y="2000992"/>
            <a:ext cx="3048815" cy="1016001"/>
          </a:xfrm>
          <a:prstGeom prst="rect">
            <a:avLst/>
          </a:prstGeom>
          <a:solidFill>
            <a:srgbClr val="009DF0"/>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r>
              <a:rPr lang="en-GB" sz="1400" noProof="0" dirty="0">
                <a:solidFill>
                  <a:schemeClr val="bg1"/>
                </a:solidFill>
              </a:rPr>
              <a:t>Continuously follow-up</a:t>
            </a:r>
            <a:br>
              <a:rPr lang="en-GB" sz="1400" noProof="0" dirty="0">
                <a:solidFill>
                  <a:schemeClr val="bg1"/>
                </a:solidFill>
              </a:rPr>
            </a:br>
            <a:r>
              <a:rPr lang="en-GB" sz="1400" noProof="0" dirty="0">
                <a:solidFill>
                  <a:schemeClr val="bg1"/>
                </a:solidFill>
              </a:rPr>
              <a:t>on contract compliance throughout execution</a:t>
            </a:r>
          </a:p>
        </p:txBody>
      </p:sp>
      <p:graphicFrame>
        <p:nvGraphicFramePr>
          <p:cNvPr id="47" name="Table 46">
            <a:extLst>
              <a:ext uri="{FF2B5EF4-FFF2-40B4-BE49-F238E27FC236}">
                <a16:creationId xmlns:a16="http://schemas.microsoft.com/office/drawing/2014/main" id="{652625BB-8EF2-4C3C-A15E-5FA92ED818F1}"/>
              </a:ext>
            </a:extLst>
          </p:cNvPr>
          <p:cNvGraphicFramePr>
            <a:graphicFrameLocks noGrp="1"/>
          </p:cNvGraphicFramePr>
          <p:nvPr>
            <p:extLst>
              <p:ext uri="{D42A27DB-BD31-4B8C-83A1-F6EECF244321}">
                <p14:modId xmlns:p14="http://schemas.microsoft.com/office/powerpoint/2010/main" val="718058323"/>
              </p:ext>
            </p:extLst>
          </p:nvPr>
        </p:nvGraphicFramePr>
        <p:xfrm>
          <a:off x="359138" y="3915157"/>
          <a:ext cx="11472860" cy="2209800"/>
        </p:xfrm>
        <a:graphic>
          <a:graphicData uri="http://schemas.openxmlformats.org/drawingml/2006/table">
            <a:tbl>
              <a:tblPr/>
              <a:tblGrid>
                <a:gridCol w="252364">
                  <a:extLst>
                    <a:ext uri="{9D8B030D-6E8A-4147-A177-3AD203B41FA5}">
                      <a16:colId xmlns:a16="http://schemas.microsoft.com/office/drawing/2014/main" val="1313290522"/>
                    </a:ext>
                  </a:extLst>
                </a:gridCol>
                <a:gridCol w="458623">
                  <a:extLst>
                    <a:ext uri="{9D8B030D-6E8A-4147-A177-3AD203B41FA5}">
                      <a16:colId xmlns:a16="http://schemas.microsoft.com/office/drawing/2014/main" val="4153293877"/>
                    </a:ext>
                  </a:extLst>
                </a:gridCol>
                <a:gridCol w="1155051">
                  <a:extLst>
                    <a:ext uri="{9D8B030D-6E8A-4147-A177-3AD203B41FA5}">
                      <a16:colId xmlns:a16="http://schemas.microsoft.com/office/drawing/2014/main" val="1814557307"/>
                    </a:ext>
                  </a:extLst>
                </a:gridCol>
                <a:gridCol w="1128359">
                  <a:extLst>
                    <a:ext uri="{9D8B030D-6E8A-4147-A177-3AD203B41FA5}">
                      <a16:colId xmlns:a16="http://schemas.microsoft.com/office/drawing/2014/main" val="1684465091"/>
                    </a:ext>
                  </a:extLst>
                </a:gridCol>
                <a:gridCol w="3863113">
                  <a:extLst>
                    <a:ext uri="{9D8B030D-6E8A-4147-A177-3AD203B41FA5}">
                      <a16:colId xmlns:a16="http://schemas.microsoft.com/office/drawing/2014/main" val="244222836"/>
                    </a:ext>
                  </a:extLst>
                </a:gridCol>
                <a:gridCol w="769225">
                  <a:extLst>
                    <a:ext uri="{9D8B030D-6E8A-4147-A177-3AD203B41FA5}">
                      <a16:colId xmlns:a16="http://schemas.microsoft.com/office/drawing/2014/main" val="585540697"/>
                    </a:ext>
                  </a:extLst>
                </a:gridCol>
                <a:gridCol w="769225">
                  <a:extLst>
                    <a:ext uri="{9D8B030D-6E8A-4147-A177-3AD203B41FA5}">
                      <a16:colId xmlns:a16="http://schemas.microsoft.com/office/drawing/2014/main" val="2233344752"/>
                    </a:ext>
                  </a:extLst>
                </a:gridCol>
                <a:gridCol w="769225">
                  <a:extLst>
                    <a:ext uri="{9D8B030D-6E8A-4147-A177-3AD203B41FA5}">
                      <a16:colId xmlns:a16="http://schemas.microsoft.com/office/drawing/2014/main" val="1405266543"/>
                    </a:ext>
                  </a:extLst>
                </a:gridCol>
                <a:gridCol w="769225">
                  <a:extLst>
                    <a:ext uri="{9D8B030D-6E8A-4147-A177-3AD203B41FA5}">
                      <a16:colId xmlns:a16="http://schemas.microsoft.com/office/drawing/2014/main" val="4070728723"/>
                    </a:ext>
                  </a:extLst>
                </a:gridCol>
                <a:gridCol w="769225">
                  <a:extLst>
                    <a:ext uri="{9D8B030D-6E8A-4147-A177-3AD203B41FA5}">
                      <a16:colId xmlns:a16="http://schemas.microsoft.com/office/drawing/2014/main" val="2007924013"/>
                    </a:ext>
                  </a:extLst>
                </a:gridCol>
                <a:gridCol w="769225">
                  <a:extLst>
                    <a:ext uri="{9D8B030D-6E8A-4147-A177-3AD203B41FA5}">
                      <a16:colId xmlns:a16="http://schemas.microsoft.com/office/drawing/2014/main" val="3329261433"/>
                    </a:ext>
                  </a:extLst>
                </a:gridCol>
              </a:tblGrid>
              <a:tr h="0">
                <a:tc>
                  <a:txBody>
                    <a:bodyPr/>
                    <a:lstStyle/>
                    <a:p>
                      <a:pPr algn="ctr" fontAlgn="t"/>
                      <a:r>
                        <a:rPr lang="en-GB" sz="850" b="0" i="0" u="none" strike="noStrike" dirty="0">
                          <a:solidFill>
                            <a:srgbClr val="009DF0"/>
                          </a:solidFill>
                          <a:effectLst/>
                          <a:latin typeface="+mj-lt"/>
                        </a:rPr>
                        <a:t>ID</a:t>
                      </a:r>
                    </a:p>
                  </a:txBody>
                  <a:tcPr marL="45720" marR="45720" marT="36576" marB="36576" anchor="ctr">
                    <a:lnL w="12700" cap="flat" cmpd="sng" algn="ctr">
                      <a:no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ctr" fontAlgn="t"/>
                      <a:r>
                        <a:rPr lang="en-GB" sz="850" b="0" i="0" u="none" strike="noStrike" dirty="0">
                          <a:solidFill>
                            <a:srgbClr val="009DF0"/>
                          </a:solidFill>
                          <a:effectLst/>
                          <a:latin typeface="+mj-lt"/>
                        </a:rPr>
                        <a:t>Clause</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l" fontAlgn="t"/>
                      <a:r>
                        <a:rPr lang="en-GB" sz="850" b="0" i="0" u="none" strike="noStrike" dirty="0">
                          <a:solidFill>
                            <a:srgbClr val="009DF0"/>
                          </a:solidFill>
                          <a:effectLst/>
                          <a:latin typeface="+mj-lt"/>
                        </a:rPr>
                        <a:t>Clause title</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l" fontAlgn="t"/>
                      <a:r>
                        <a:rPr lang="en-GB" sz="850" b="0" i="0" u="none" strike="noStrike" dirty="0">
                          <a:solidFill>
                            <a:srgbClr val="009DF0"/>
                          </a:solidFill>
                          <a:effectLst/>
                          <a:latin typeface="+mj-lt"/>
                        </a:rPr>
                        <a:t>Contract Document</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l" fontAlgn="t"/>
                      <a:r>
                        <a:rPr lang="en-GB" sz="850" b="0" i="0" u="none" strike="noStrike" dirty="0">
                          <a:solidFill>
                            <a:srgbClr val="009DF0"/>
                          </a:solidFill>
                          <a:effectLst/>
                          <a:latin typeface="+mj-lt"/>
                        </a:rPr>
                        <a:t>Contract wording</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l" fontAlgn="t"/>
                      <a:r>
                        <a:rPr lang="en-GB" sz="850" b="0" i="0" u="none" strike="noStrike">
                          <a:solidFill>
                            <a:srgbClr val="009DF0"/>
                          </a:solidFill>
                          <a:effectLst/>
                          <a:latin typeface="+mj-lt"/>
                        </a:rPr>
                        <a:t>Responsible </a:t>
                      </a:r>
                      <a:endParaRPr lang="en-GB" sz="850" b="0" i="0" u="none" strike="noStrike" dirty="0">
                        <a:solidFill>
                          <a:srgbClr val="009DF0"/>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l" fontAlgn="t"/>
                      <a:r>
                        <a:rPr lang="en-GB" sz="850" b="0" i="0" u="none" strike="noStrike">
                          <a:solidFill>
                            <a:srgbClr val="009DF0"/>
                          </a:solidFill>
                          <a:effectLst/>
                          <a:latin typeface="+mj-lt"/>
                        </a:rPr>
                        <a:t>Executing </a:t>
                      </a:r>
                      <a:endParaRPr lang="en-GB" sz="850" b="0" i="0" u="none" strike="noStrike" dirty="0">
                        <a:solidFill>
                          <a:srgbClr val="009DF0"/>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l" fontAlgn="t"/>
                      <a:r>
                        <a:rPr lang="en-GB" sz="850" b="0" i="0" u="none" strike="noStrike">
                          <a:solidFill>
                            <a:srgbClr val="009DF0"/>
                          </a:solidFill>
                          <a:effectLst/>
                          <a:latin typeface="+mj-lt"/>
                        </a:rPr>
                        <a:t>Approver</a:t>
                      </a:r>
                      <a:endParaRPr lang="en-GB" sz="850" b="0" i="0" u="none" strike="noStrike" dirty="0">
                        <a:solidFill>
                          <a:srgbClr val="009DF0"/>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l" fontAlgn="t"/>
                      <a:r>
                        <a:rPr lang="en-GB" sz="850" b="0" i="0" u="none" strike="noStrike">
                          <a:solidFill>
                            <a:srgbClr val="009DF0"/>
                          </a:solidFill>
                          <a:effectLst/>
                          <a:latin typeface="+mj-lt"/>
                        </a:rPr>
                        <a:t>Frequence</a:t>
                      </a:r>
                      <a:endParaRPr lang="en-GB" sz="850" b="0" i="0" u="none" strike="noStrike" dirty="0">
                        <a:solidFill>
                          <a:srgbClr val="009DF0"/>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l" fontAlgn="t"/>
                      <a:r>
                        <a:rPr lang="en-GB" sz="850" b="0" i="0" u="none" strike="noStrike" dirty="0">
                          <a:solidFill>
                            <a:srgbClr val="009DF0"/>
                          </a:solidFill>
                          <a:effectLst/>
                          <a:latin typeface="+mj-lt"/>
                        </a:rPr>
                        <a:t>Start date</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tc>
                  <a:txBody>
                    <a:bodyPr/>
                    <a:lstStyle/>
                    <a:p>
                      <a:pPr algn="l" fontAlgn="t"/>
                      <a:r>
                        <a:rPr lang="en-GB" sz="850" b="0" i="0" u="none" strike="noStrike" dirty="0">
                          <a:solidFill>
                            <a:srgbClr val="009DF0"/>
                          </a:solidFill>
                          <a:effectLst/>
                          <a:latin typeface="+mj-lt"/>
                        </a:rPr>
                        <a:t>End date</a:t>
                      </a:r>
                    </a:p>
                  </a:txBody>
                  <a:tcPr marL="45720" marR="45720" marT="36576" marB="36576" anchor="ctr">
                    <a:lnL w="6350" cap="flat" cmpd="sng" algn="ctr">
                      <a:solidFill>
                        <a:srgbClr val="E3E1D8"/>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CCEBFD"/>
                    </a:solidFill>
                  </a:tcPr>
                </a:tc>
                <a:extLst>
                  <a:ext uri="{0D108BD9-81ED-4DB2-BD59-A6C34878D82A}">
                    <a16:rowId xmlns:a16="http://schemas.microsoft.com/office/drawing/2014/main" val="3717198287"/>
                  </a:ext>
                </a:extLst>
              </a:tr>
              <a:tr h="0">
                <a:tc>
                  <a:txBody>
                    <a:bodyPr/>
                    <a:lstStyle/>
                    <a:p>
                      <a:pPr algn="ctr" fontAlgn="t"/>
                      <a:r>
                        <a:rPr lang="en-GB" sz="800" b="0" i="0" u="none" strike="noStrike">
                          <a:solidFill>
                            <a:srgbClr val="273943"/>
                          </a:solidFill>
                          <a:effectLst/>
                          <a:latin typeface="+mj-lt"/>
                        </a:rPr>
                        <a:t>1</a:t>
                      </a:r>
                      <a:endParaRPr lang="en-GB" sz="800" b="0" i="0" u="none" strike="noStrike" dirty="0">
                        <a:solidFill>
                          <a:srgbClr val="273943"/>
                        </a:solidFill>
                        <a:effectLst/>
                        <a:latin typeface="+mj-lt"/>
                      </a:endParaRPr>
                    </a:p>
                  </a:txBody>
                  <a:tcPr marL="45720" marR="45720" marT="36576" marB="36576" anchor="ctr">
                    <a:lnL w="12700" cap="flat" cmpd="sng" algn="ctr">
                      <a:no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ctr" fontAlgn="t"/>
                      <a:r>
                        <a:rPr lang="en-GB" sz="800" b="0" i="0" u="none" strike="noStrike" dirty="0">
                          <a:solidFill>
                            <a:srgbClr val="273943"/>
                          </a:solidFill>
                          <a:effectLst/>
                          <a:latin typeface="+mj-lt"/>
                        </a:rPr>
                        <a:t>4.2</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noProof="0" dirty="0">
                          <a:solidFill>
                            <a:srgbClr val="273943"/>
                          </a:solidFill>
                          <a:effectLst/>
                          <a:latin typeface="+mj-lt"/>
                        </a:rPr>
                        <a:t>Procurement of Renewable Energy</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noProof="0" dirty="0">
                          <a:solidFill>
                            <a:srgbClr val="273943"/>
                          </a:solidFill>
                          <a:effectLst/>
                          <a:latin typeface="+mj-lt"/>
                        </a:rPr>
                        <a:t>Contract Agreement</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noProof="0" dirty="0">
                          <a:solidFill>
                            <a:srgbClr val="273943"/>
                          </a:solidFill>
                          <a:effectLst/>
                          <a:latin typeface="+mj-lt"/>
                        </a:rPr>
                        <a:t>The Contractor shall procure that 100% of the electricity supplied to it during the term of this Agreement is Wholly Renewable Energy.</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noProof="0">
                          <a:solidFill>
                            <a:srgbClr val="273943"/>
                          </a:solidFill>
                          <a:effectLst/>
                          <a:latin typeface="+mj-lt"/>
                        </a:rPr>
                        <a:t>Contractor</a:t>
                      </a:r>
                      <a:endParaRPr lang="en-GB" sz="800" b="0" i="0" u="none" strike="noStrike" noProof="0"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dirty="0">
                          <a:solidFill>
                            <a:srgbClr val="273943"/>
                          </a:solidFill>
                          <a:effectLst/>
                          <a:latin typeface="+mj-lt"/>
                        </a:rPr>
                        <a:t>Procurement manager</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a:solidFill>
                            <a:srgbClr val="273943"/>
                          </a:solidFill>
                          <a:effectLst/>
                          <a:latin typeface="+mj-lt"/>
                        </a:rPr>
                        <a:t>Project Manager</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dirty="0">
                          <a:solidFill>
                            <a:srgbClr val="273943"/>
                          </a:solidFill>
                          <a:effectLst/>
                          <a:latin typeface="+mj-lt"/>
                        </a:rPr>
                        <a:t>One-off</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a:solidFill>
                            <a:srgbClr val="273943"/>
                          </a:solidFill>
                          <a:effectLst/>
                          <a:latin typeface="+mj-lt"/>
                        </a:rPr>
                        <a:t>01-10-2022</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dirty="0">
                          <a:solidFill>
                            <a:srgbClr val="273943"/>
                          </a:solidFill>
                          <a:effectLst/>
                          <a:latin typeface="+mj-lt"/>
                        </a:rPr>
                        <a:t>29-10-2024</a:t>
                      </a:r>
                    </a:p>
                  </a:txBody>
                  <a:tcPr marL="45720" marR="45720" marT="36576" marB="36576" anchor="ctr">
                    <a:lnL w="6350" cap="flat" cmpd="sng" algn="ctr">
                      <a:solidFill>
                        <a:srgbClr val="E3E1D8"/>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extLst>
                  <a:ext uri="{0D108BD9-81ED-4DB2-BD59-A6C34878D82A}">
                    <a16:rowId xmlns:a16="http://schemas.microsoft.com/office/drawing/2014/main" val="1986065761"/>
                  </a:ext>
                </a:extLst>
              </a:tr>
              <a:tr h="0">
                <a:tc>
                  <a:txBody>
                    <a:bodyPr/>
                    <a:lstStyle/>
                    <a:p>
                      <a:pPr algn="ctr" fontAlgn="t"/>
                      <a:r>
                        <a:rPr lang="en-GB" sz="800" b="0" i="0" u="none" strike="noStrike">
                          <a:solidFill>
                            <a:srgbClr val="273943"/>
                          </a:solidFill>
                          <a:effectLst/>
                          <a:latin typeface="+mj-lt"/>
                        </a:rPr>
                        <a:t>2</a:t>
                      </a:r>
                      <a:endParaRPr lang="en-GB" sz="800" b="0" i="0" u="none" strike="noStrike" dirty="0">
                        <a:solidFill>
                          <a:srgbClr val="273943"/>
                        </a:solidFill>
                        <a:effectLst/>
                        <a:latin typeface="+mj-lt"/>
                      </a:endParaRPr>
                    </a:p>
                  </a:txBody>
                  <a:tcPr marL="45720" marR="45720" marT="36576" marB="36576" anchor="ctr">
                    <a:lnL w="12700" cap="flat" cmpd="sng" algn="ctr">
                      <a:no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fontAlgn="t"/>
                      <a:r>
                        <a:rPr lang="en-GB" sz="800" b="0" i="0" u="none" strike="noStrike">
                          <a:solidFill>
                            <a:srgbClr val="273943"/>
                          </a:solidFill>
                          <a:effectLst/>
                          <a:latin typeface="+mj-lt"/>
                        </a:rPr>
                        <a:t>12.1</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t"/>
                      <a:r>
                        <a:rPr lang="en-GB" sz="800" b="0" i="0" u="none" strike="noStrike" noProof="0">
                          <a:solidFill>
                            <a:srgbClr val="273943"/>
                          </a:solidFill>
                          <a:effectLst/>
                          <a:latin typeface="+mj-lt"/>
                        </a:rPr>
                        <a:t>Circular Design Obligation</a:t>
                      </a:r>
                      <a:endParaRPr lang="en-GB" sz="800" b="0" i="0" u="none" strike="noStrike" noProof="0"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t"/>
                      <a:r>
                        <a:rPr lang="en-GB" sz="800" b="0" i="0" u="none" strike="noStrike" noProof="0" dirty="0">
                          <a:solidFill>
                            <a:srgbClr val="273943"/>
                          </a:solidFill>
                          <a:effectLst/>
                          <a:latin typeface="+mj-lt"/>
                        </a:rPr>
                        <a:t>Employer’s Requirements</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t"/>
                      <a:r>
                        <a:rPr lang="en-GB" sz="800" b="0" i="0" u="none" strike="noStrike" noProof="0" dirty="0">
                          <a:solidFill>
                            <a:srgbClr val="273943"/>
                          </a:solidFill>
                          <a:effectLst/>
                          <a:latin typeface="+mj-lt"/>
                        </a:rPr>
                        <a:t>The Contractor shall prepare a design of the Project to deliver the Specification for the Client. In creating the design for the Project, the Contractor shall use all reasonable endeavours to satisfy the Circular Design Requirements.</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t"/>
                      <a:r>
                        <a:rPr lang="en-GB" sz="800" b="0" i="0" u="none" strike="noStrike" noProof="0">
                          <a:solidFill>
                            <a:srgbClr val="273943"/>
                          </a:solidFill>
                          <a:effectLst/>
                          <a:latin typeface="+mj-lt"/>
                        </a:rPr>
                        <a:t>Contractor</a:t>
                      </a:r>
                      <a:endParaRPr lang="en-GB" sz="800" b="0" i="0" u="none" strike="noStrike" noProof="0"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t"/>
                      <a:r>
                        <a:rPr lang="en-GB" sz="800" b="0" i="0" u="none" strike="noStrike">
                          <a:solidFill>
                            <a:srgbClr val="273943"/>
                          </a:solidFill>
                          <a:effectLst/>
                          <a:latin typeface="+mj-lt"/>
                        </a:rPr>
                        <a:t>Project Manager</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t"/>
                      <a:r>
                        <a:rPr lang="en-GB" sz="800" b="0" i="0" u="none" strike="noStrike">
                          <a:solidFill>
                            <a:srgbClr val="273943"/>
                          </a:solidFill>
                          <a:effectLst/>
                          <a:latin typeface="+mj-lt"/>
                        </a:rPr>
                        <a:t>Project Manager</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t"/>
                      <a:r>
                        <a:rPr lang="en-GB" sz="800" b="0" i="0" u="none" strike="noStrike">
                          <a:solidFill>
                            <a:srgbClr val="273943"/>
                          </a:solidFill>
                          <a:effectLst/>
                          <a:latin typeface="+mj-lt"/>
                        </a:rPr>
                        <a:t>One-off</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t"/>
                      <a:r>
                        <a:rPr lang="en-GB" sz="800" b="0" i="0" u="none" strike="noStrike">
                          <a:solidFill>
                            <a:srgbClr val="273943"/>
                          </a:solidFill>
                          <a:effectLst/>
                          <a:latin typeface="+mj-lt"/>
                        </a:rPr>
                        <a:t>01-11-2022</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t"/>
                      <a:r>
                        <a:rPr lang="en-GB" sz="800" b="0" i="0" u="none" strike="noStrike" dirty="0">
                          <a:solidFill>
                            <a:srgbClr val="273943"/>
                          </a:solidFill>
                          <a:effectLst/>
                          <a:latin typeface="+mj-lt"/>
                        </a:rPr>
                        <a:t>01-11-2022</a:t>
                      </a:r>
                    </a:p>
                  </a:txBody>
                  <a:tcPr marL="45720" marR="45720" marT="36576" marB="36576" anchor="ctr">
                    <a:lnL w="6350" cap="flat" cmpd="sng" algn="ctr">
                      <a:solidFill>
                        <a:srgbClr val="E3E1D8"/>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416368629"/>
                  </a:ext>
                </a:extLst>
              </a:tr>
              <a:tr h="0">
                <a:tc>
                  <a:txBody>
                    <a:bodyPr/>
                    <a:lstStyle/>
                    <a:p>
                      <a:pPr algn="ctr" fontAlgn="t"/>
                      <a:r>
                        <a:rPr lang="en-GB" sz="800" b="0" i="0" u="none" strike="noStrike">
                          <a:solidFill>
                            <a:srgbClr val="273943"/>
                          </a:solidFill>
                          <a:effectLst/>
                          <a:latin typeface="+mj-lt"/>
                        </a:rPr>
                        <a:t>3</a:t>
                      </a:r>
                      <a:endParaRPr lang="en-GB" sz="800" b="0" i="0" u="none" strike="noStrike" dirty="0">
                        <a:solidFill>
                          <a:srgbClr val="273943"/>
                        </a:solidFill>
                        <a:effectLst/>
                        <a:latin typeface="+mj-lt"/>
                      </a:endParaRPr>
                    </a:p>
                  </a:txBody>
                  <a:tcPr marL="45720" marR="45720" marT="36576" marB="36576" anchor="ctr">
                    <a:lnL w="12700" cap="flat" cmpd="sng" algn="ctr">
                      <a:no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ctr" fontAlgn="t"/>
                      <a:r>
                        <a:rPr lang="en-GB" sz="800" b="0" i="0" u="none" strike="noStrike">
                          <a:solidFill>
                            <a:srgbClr val="273943"/>
                          </a:solidFill>
                          <a:effectLst/>
                          <a:latin typeface="+mj-lt"/>
                        </a:rPr>
                        <a:t>4.4</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noProof="0">
                          <a:solidFill>
                            <a:srgbClr val="273943"/>
                          </a:solidFill>
                          <a:effectLst/>
                          <a:latin typeface="+mj-lt"/>
                        </a:rPr>
                        <a:t>Product Carbon Footprint</a:t>
                      </a:r>
                      <a:endParaRPr lang="en-GB" sz="800" b="0" i="0" u="none" strike="noStrike" noProof="0"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noProof="0">
                          <a:solidFill>
                            <a:srgbClr val="273943"/>
                          </a:solidFill>
                          <a:effectLst/>
                          <a:latin typeface="+mj-lt"/>
                        </a:rPr>
                        <a:t>Annex 1</a:t>
                      </a:r>
                      <a:endParaRPr lang="en-GB" sz="800" b="0" i="0" u="none" strike="noStrike" noProof="0"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noProof="0" dirty="0">
                          <a:solidFill>
                            <a:srgbClr val="273943"/>
                          </a:solidFill>
                          <a:effectLst/>
                          <a:latin typeface="+mj-lt"/>
                        </a:rPr>
                        <a:t>The Contractor shall reduce the Product Carbon Footprint by no less than the percentages shown at Annex 1 to this Agreement in each period to which a Greenhouse Gases Report relates.</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noProof="0" dirty="0">
                          <a:solidFill>
                            <a:srgbClr val="273943"/>
                          </a:solidFill>
                          <a:effectLst/>
                          <a:latin typeface="+mj-lt"/>
                        </a:rPr>
                        <a:t>Contractor</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a:solidFill>
                            <a:srgbClr val="273943"/>
                          </a:solidFill>
                          <a:effectLst/>
                          <a:latin typeface="+mj-lt"/>
                        </a:rPr>
                        <a:t>Contract Manager</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a:solidFill>
                            <a:srgbClr val="273943"/>
                          </a:solidFill>
                          <a:effectLst/>
                          <a:latin typeface="+mj-lt"/>
                        </a:rPr>
                        <a:t>Project Manager</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a:solidFill>
                            <a:srgbClr val="273943"/>
                          </a:solidFill>
                          <a:effectLst/>
                          <a:latin typeface="+mj-lt"/>
                        </a:rPr>
                        <a:t>Monthly</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a:solidFill>
                            <a:srgbClr val="273943"/>
                          </a:solidFill>
                          <a:effectLst/>
                          <a:latin typeface="+mj-lt"/>
                        </a:rPr>
                        <a:t>01-11-2022</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tc>
                  <a:txBody>
                    <a:bodyPr/>
                    <a:lstStyle/>
                    <a:p>
                      <a:pPr algn="l" fontAlgn="t"/>
                      <a:r>
                        <a:rPr lang="en-GB" sz="800" b="0" i="0" u="none" strike="noStrike" dirty="0">
                          <a:solidFill>
                            <a:srgbClr val="273943"/>
                          </a:solidFill>
                          <a:effectLst/>
                          <a:latin typeface="+mj-lt"/>
                        </a:rPr>
                        <a:t>29-11-2022</a:t>
                      </a:r>
                    </a:p>
                  </a:txBody>
                  <a:tcPr marL="45720" marR="45720" marT="36576" marB="36576" anchor="ctr">
                    <a:lnL w="6350" cap="flat" cmpd="sng" algn="ctr">
                      <a:solidFill>
                        <a:srgbClr val="E3E1D8"/>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9F9F7"/>
                    </a:solidFill>
                  </a:tcPr>
                </a:tc>
                <a:extLst>
                  <a:ext uri="{0D108BD9-81ED-4DB2-BD59-A6C34878D82A}">
                    <a16:rowId xmlns:a16="http://schemas.microsoft.com/office/drawing/2014/main" val="2562124832"/>
                  </a:ext>
                </a:extLst>
              </a:tr>
              <a:tr h="0">
                <a:tc>
                  <a:txBody>
                    <a:bodyPr/>
                    <a:lstStyle/>
                    <a:p>
                      <a:pPr algn="ctr" fontAlgn="t"/>
                      <a:r>
                        <a:rPr lang="en-GB" sz="800" b="0" i="0" u="none" strike="noStrike">
                          <a:solidFill>
                            <a:srgbClr val="273943"/>
                          </a:solidFill>
                          <a:effectLst/>
                          <a:latin typeface="+mj-lt"/>
                        </a:rPr>
                        <a:t>4</a:t>
                      </a:r>
                      <a:endParaRPr lang="en-GB" sz="800" b="0" i="0" u="none" strike="noStrike" dirty="0">
                        <a:solidFill>
                          <a:srgbClr val="273943"/>
                        </a:solidFill>
                        <a:effectLst/>
                        <a:latin typeface="+mj-lt"/>
                      </a:endParaRPr>
                    </a:p>
                  </a:txBody>
                  <a:tcPr marL="45720" marR="45720" marT="36576" marB="36576" anchor="ctr">
                    <a:lnL w="12700" cap="flat" cmpd="sng" algn="ctr">
                      <a:no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tc>
                  <a:txBody>
                    <a:bodyPr/>
                    <a:lstStyle/>
                    <a:p>
                      <a:pPr algn="ctr" fontAlgn="t"/>
                      <a:r>
                        <a:rPr lang="en-GB" sz="800" b="0" i="0" u="none" strike="noStrike">
                          <a:solidFill>
                            <a:srgbClr val="273943"/>
                          </a:solidFill>
                          <a:effectLst/>
                          <a:latin typeface="+mj-lt"/>
                        </a:rPr>
                        <a:t>4.8</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tc>
                  <a:txBody>
                    <a:bodyPr/>
                    <a:lstStyle/>
                    <a:p>
                      <a:pPr algn="l" fontAlgn="t"/>
                      <a:r>
                        <a:rPr lang="en-GB" sz="800" b="0" i="0" u="none" strike="noStrike" noProof="0">
                          <a:solidFill>
                            <a:srgbClr val="273943"/>
                          </a:solidFill>
                          <a:effectLst/>
                          <a:latin typeface="+mj-lt"/>
                        </a:rPr>
                        <a:t>Annual Emissions Report </a:t>
                      </a:r>
                      <a:endParaRPr lang="en-GB" sz="800" b="0" i="0" u="none" strike="noStrike" noProof="0"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tc>
                  <a:txBody>
                    <a:bodyPr/>
                    <a:lstStyle/>
                    <a:p>
                      <a:pPr algn="l" fontAlgn="t"/>
                      <a:r>
                        <a:rPr lang="en-GB" sz="800" b="0" i="0" u="none" strike="noStrike" noProof="0">
                          <a:solidFill>
                            <a:srgbClr val="273943"/>
                          </a:solidFill>
                          <a:effectLst/>
                          <a:latin typeface="+mj-lt"/>
                        </a:rPr>
                        <a:t>Annex 1</a:t>
                      </a:r>
                      <a:endParaRPr lang="en-GB" sz="800" b="0" i="0" u="none" strike="noStrike" noProof="0"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tc>
                  <a:txBody>
                    <a:bodyPr/>
                    <a:lstStyle/>
                    <a:p>
                      <a:pPr algn="l" fontAlgn="t"/>
                      <a:r>
                        <a:rPr lang="en-GB" sz="800" b="0" i="0" u="none" strike="noStrike" noProof="0" dirty="0">
                          <a:solidFill>
                            <a:srgbClr val="273943"/>
                          </a:solidFill>
                          <a:effectLst/>
                          <a:latin typeface="+mj-lt"/>
                        </a:rPr>
                        <a:t>The Contractor shall set an Emissions Target and provide the first Annual Emissions Report within 12 months after the start date of this Agreement and each other Annual Emissions Report no later than forty (40) Business Days after the applicable Emissions Report Date.</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solidFill>
                      <a:srgbClr val="FFFFFF"/>
                    </a:solidFill>
                  </a:tcPr>
                </a:tc>
                <a:tc>
                  <a:txBody>
                    <a:bodyPr/>
                    <a:lstStyle/>
                    <a:p>
                      <a:pPr algn="l" fontAlgn="t"/>
                      <a:r>
                        <a:rPr lang="en-GB" sz="800" b="0" i="0" u="none" strike="noStrike" noProof="0">
                          <a:solidFill>
                            <a:srgbClr val="273943"/>
                          </a:solidFill>
                          <a:effectLst/>
                          <a:latin typeface="+mj-lt"/>
                        </a:rPr>
                        <a:t>Contractor</a:t>
                      </a:r>
                      <a:endParaRPr lang="en-GB" sz="800" b="0" i="0" u="none" strike="noStrike" noProof="0"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tc>
                  <a:txBody>
                    <a:bodyPr/>
                    <a:lstStyle/>
                    <a:p>
                      <a:pPr algn="l" fontAlgn="t"/>
                      <a:r>
                        <a:rPr lang="en-GB" sz="800" b="0" i="0" u="none" strike="noStrike" dirty="0">
                          <a:solidFill>
                            <a:srgbClr val="273943"/>
                          </a:solidFill>
                          <a:effectLst/>
                          <a:latin typeface="+mj-lt"/>
                        </a:rPr>
                        <a:t>Contract Manager</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tc>
                  <a:txBody>
                    <a:bodyPr/>
                    <a:lstStyle/>
                    <a:p>
                      <a:pPr algn="l" fontAlgn="t"/>
                      <a:r>
                        <a:rPr lang="en-GB" sz="800" b="0" i="0" u="none" strike="noStrike">
                          <a:solidFill>
                            <a:srgbClr val="273943"/>
                          </a:solidFill>
                          <a:effectLst/>
                          <a:latin typeface="+mj-lt"/>
                        </a:rPr>
                        <a:t>Project Manager</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tc>
                  <a:txBody>
                    <a:bodyPr/>
                    <a:lstStyle/>
                    <a:p>
                      <a:pPr algn="l" fontAlgn="t"/>
                      <a:r>
                        <a:rPr lang="en-GB" sz="800" b="0" i="0" u="none" strike="noStrike" dirty="0">
                          <a:solidFill>
                            <a:srgbClr val="273943"/>
                          </a:solidFill>
                          <a:effectLst/>
                          <a:latin typeface="+mj-lt"/>
                        </a:rPr>
                        <a:t>One-off</a:t>
                      </a: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tc>
                  <a:txBody>
                    <a:bodyPr/>
                    <a:lstStyle/>
                    <a:p>
                      <a:pPr algn="l" fontAlgn="t"/>
                      <a:r>
                        <a:rPr lang="en-GB" sz="800" b="0" i="0" u="none" strike="noStrike">
                          <a:solidFill>
                            <a:srgbClr val="273943"/>
                          </a:solidFill>
                          <a:effectLst/>
                          <a:latin typeface="+mj-lt"/>
                        </a:rPr>
                        <a:t>01-11-2022</a:t>
                      </a:r>
                      <a:endParaRPr lang="en-GB" sz="800" b="0" i="0" u="none" strike="noStrike" dirty="0">
                        <a:solidFill>
                          <a:srgbClr val="273943"/>
                        </a:solidFill>
                        <a:effectLst/>
                        <a:latin typeface="+mj-lt"/>
                      </a:endParaRPr>
                    </a:p>
                  </a:txBody>
                  <a:tcPr marL="45720" marR="45720" marT="36576" marB="36576" anchor="ctr">
                    <a:lnL w="6350" cap="flat" cmpd="sng" algn="ctr">
                      <a:solidFill>
                        <a:srgbClr val="E3E1D8"/>
                      </a:solidFill>
                      <a:prstDash val="solid"/>
                      <a:round/>
                      <a:headEnd type="none" w="med" len="med"/>
                      <a:tailEnd type="none" w="med" len="med"/>
                    </a:lnL>
                    <a:lnR w="6350" cap="flat" cmpd="sng" algn="ctr">
                      <a:solidFill>
                        <a:srgbClr val="E3E1D8"/>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tc>
                  <a:txBody>
                    <a:bodyPr/>
                    <a:lstStyle/>
                    <a:p>
                      <a:pPr algn="l" fontAlgn="t"/>
                      <a:r>
                        <a:rPr lang="en-GB" sz="800" b="0" i="0" u="none" strike="noStrike" dirty="0">
                          <a:solidFill>
                            <a:srgbClr val="273943"/>
                          </a:solidFill>
                          <a:effectLst/>
                          <a:latin typeface="+mj-lt"/>
                        </a:rPr>
                        <a:t>22-11-2022</a:t>
                      </a:r>
                    </a:p>
                  </a:txBody>
                  <a:tcPr marL="45720" marR="45720" marT="36576" marB="36576" anchor="ctr">
                    <a:lnL w="6350" cap="flat" cmpd="sng" algn="ctr">
                      <a:solidFill>
                        <a:srgbClr val="E3E1D8"/>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E3E1D8"/>
                      </a:solidFill>
                      <a:prstDash val="solid"/>
                      <a:round/>
                      <a:headEnd type="none" w="med" len="med"/>
                      <a:tailEnd type="none" w="med" len="med"/>
                    </a:lnB>
                  </a:tcPr>
                </a:tc>
                <a:extLst>
                  <a:ext uri="{0D108BD9-81ED-4DB2-BD59-A6C34878D82A}">
                    <a16:rowId xmlns:a16="http://schemas.microsoft.com/office/drawing/2014/main" val="2549612449"/>
                  </a:ext>
                </a:extLst>
              </a:tr>
            </a:tbl>
          </a:graphicData>
        </a:graphic>
      </p:graphicFrame>
      <p:sp>
        <p:nvSpPr>
          <p:cNvPr id="48" name="Rectangle 47">
            <a:extLst>
              <a:ext uri="{FF2B5EF4-FFF2-40B4-BE49-F238E27FC236}">
                <a16:creationId xmlns:a16="http://schemas.microsoft.com/office/drawing/2014/main" id="{7CF13EB9-3CCA-4B6E-9649-7770BFBA2599}"/>
              </a:ext>
            </a:extLst>
          </p:cNvPr>
          <p:cNvSpPr/>
          <p:nvPr/>
        </p:nvSpPr>
        <p:spPr>
          <a:xfrm>
            <a:off x="359138" y="3169820"/>
            <a:ext cx="11472862" cy="407492"/>
          </a:xfrm>
          <a:prstGeom prst="rect">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noProof="0" dirty="0"/>
              <a:t>In practice, it can be done in many ways – one way is an obligation tracker</a:t>
            </a:r>
          </a:p>
        </p:txBody>
      </p:sp>
      <p:sp>
        <p:nvSpPr>
          <p:cNvPr id="49" name="Isosceles Triangle 48">
            <a:extLst>
              <a:ext uri="{FF2B5EF4-FFF2-40B4-BE49-F238E27FC236}">
                <a16:creationId xmlns:a16="http://schemas.microsoft.com/office/drawing/2014/main" id="{D7ED8501-4D5C-4FE1-AFBE-B212129542C1}"/>
              </a:ext>
            </a:extLst>
          </p:cNvPr>
          <p:cNvSpPr/>
          <p:nvPr/>
        </p:nvSpPr>
        <p:spPr>
          <a:xfrm rot="10800000">
            <a:off x="5851729" y="3571829"/>
            <a:ext cx="487680" cy="190500"/>
          </a:xfrm>
          <a:prstGeom prst="triangle">
            <a:avLst/>
          </a:prstGeom>
          <a:solidFill>
            <a:srgbClr val="0532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50" name="Graphic 49">
            <a:extLst>
              <a:ext uri="{FF2B5EF4-FFF2-40B4-BE49-F238E27FC236}">
                <a16:creationId xmlns:a16="http://schemas.microsoft.com/office/drawing/2014/main" id="{2C352974-82A0-4BFB-AE01-CB6D144254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9429" y="2272835"/>
            <a:ext cx="558905" cy="472314"/>
          </a:xfrm>
          <a:prstGeom prst="rect">
            <a:avLst/>
          </a:prstGeom>
        </p:spPr>
      </p:pic>
      <p:grpSp>
        <p:nvGrpSpPr>
          <p:cNvPr id="51" name="Group 50">
            <a:extLst>
              <a:ext uri="{FF2B5EF4-FFF2-40B4-BE49-F238E27FC236}">
                <a16:creationId xmlns:a16="http://schemas.microsoft.com/office/drawing/2014/main" id="{82AF19AD-7B72-4ADD-93DA-7B7EF9A425E5}"/>
              </a:ext>
            </a:extLst>
          </p:cNvPr>
          <p:cNvGrpSpPr/>
          <p:nvPr/>
        </p:nvGrpSpPr>
        <p:grpSpPr>
          <a:xfrm>
            <a:off x="6941960" y="2170855"/>
            <a:ext cx="552450" cy="676275"/>
            <a:chOff x="6941960" y="1330746"/>
            <a:chExt cx="552450" cy="676275"/>
          </a:xfrm>
          <a:solidFill>
            <a:schemeClr val="bg1"/>
          </a:solidFill>
        </p:grpSpPr>
        <p:pic>
          <p:nvPicPr>
            <p:cNvPr id="52" name="Graphic 51">
              <a:extLst>
                <a:ext uri="{FF2B5EF4-FFF2-40B4-BE49-F238E27FC236}">
                  <a16:creationId xmlns:a16="http://schemas.microsoft.com/office/drawing/2014/main" id="{501D8942-0316-49D9-80D2-DA502D6669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41960" y="1330746"/>
              <a:ext cx="552450" cy="676275"/>
            </a:xfrm>
            <a:prstGeom prst="rect">
              <a:avLst/>
            </a:prstGeom>
          </p:spPr>
        </p:pic>
        <p:pic>
          <p:nvPicPr>
            <p:cNvPr id="53" name="Graphic 52">
              <a:extLst>
                <a:ext uri="{FF2B5EF4-FFF2-40B4-BE49-F238E27FC236}">
                  <a16:creationId xmlns:a16="http://schemas.microsoft.com/office/drawing/2014/main" id="{6D7802E2-FA25-403D-BC9D-26CFD79889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7096328" y="1562250"/>
              <a:ext cx="243714" cy="182787"/>
            </a:xfrm>
            <a:prstGeom prst="rect">
              <a:avLst/>
            </a:prstGeom>
          </p:spPr>
        </p:pic>
      </p:grpSp>
      <p:grpSp>
        <p:nvGrpSpPr>
          <p:cNvPr id="54" name="Group 53">
            <a:extLst>
              <a:ext uri="{FF2B5EF4-FFF2-40B4-BE49-F238E27FC236}">
                <a16:creationId xmlns:a16="http://schemas.microsoft.com/office/drawing/2014/main" id="{E473F767-7DCE-48DD-92C9-2F701CC9F224}"/>
              </a:ext>
            </a:extLst>
          </p:cNvPr>
          <p:cNvGrpSpPr/>
          <p:nvPr/>
        </p:nvGrpSpPr>
        <p:grpSpPr>
          <a:xfrm>
            <a:off x="2688149" y="2231901"/>
            <a:ext cx="554182" cy="554182"/>
            <a:chOff x="3616599" y="1476398"/>
            <a:chExt cx="609600" cy="609600"/>
          </a:xfrm>
          <a:solidFill>
            <a:schemeClr val="bg1"/>
          </a:solidFill>
        </p:grpSpPr>
        <p:pic>
          <p:nvPicPr>
            <p:cNvPr id="55" name="Graphic 54">
              <a:extLst>
                <a:ext uri="{FF2B5EF4-FFF2-40B4-BE49-F238E27FC236}">
                  <a16:creationId xmlns:a16="http://schemas.microsoft.com/office/drawing/2014/main" id="{1791B2C1-D5AB-4BBE-9901-548CE9B298A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16599" y="1476398"/>
              <a:ext cx="609600" cy="609600"/>
            </a:xfrm>
            <a:prstGeom prst="rect">
              <a:avLst/>
            </a:prstGeom>
          </p:spPr>
        </p:pic>
        <p:pic>
          <p:nvPicPr>
            <p:cNvPr id="56" name="Graphic 55">
              <a:extLst>
                <a:ext uri="{FF2B5EF4-FFF2-40B4-BE49-F238E27FC236}">
                  <a16:creationId xmlns:a16="http://schemas.microsoft.com/office/drawing/2014/main" id="{8751AD03-1A56-42CC-BE23-11DB41E07F8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3761314" y="1644962"/>
              <a:ext cx="221558" cy="166170"/>
            </a:xfrm>
            <a:prstGeom prst="rect">
              <a:avLst/>
            </a:prstGeom>
          </p:spPr>
        </p:pic>
      </p:grpSp>
      <p:sp>
        <p:nvSpPr>
          <p:cNvPr id="57" name="Freeform: Shape 56">
            <a:extLst>
              <a:ext uri="{FF2B5EF4-FFF2-40B4-BE49-F238E27FC236}">
                <a16:creationId xmlns:a16="http://schemas.microsoft.com/office/drawing/2014/main" id="{8EA0440A-4BBF-487E-937D-0D2C7C205889}"/>
              </a:ext>
            </a:extLst>
          </p:cNvPr>
          <p:cNvSpPr/>
          <p:nvPr/>
        </p:nvSpPr>
        <p:spPr>
          <a:xfrm>
            <a:off x="3872500" y="2282078"/>
            <a:ext cx="257973" cy="453829"/>
          </a:xfrm>
          <a:custGeom>
            <a:avLst/>
            <a:gdLst>
              <a:gd name="connsiteX0" fmla="*/ 31525 w 257973"/>
              <a:gd name="connsiteY0" fmla="*/ 453715 h 453829"/>
              <a:gd name="connsiteX1" fmla="*/ 1157 w 257973"/>
              <a:gd name="connsiteY1" fmla="*/ 423393 h 453829"/>
              <a:gd name="connsiteX2" fmla="*/ 10056 w 257973"/>
              <a:gd name="connsiteY2" fmla="*/ 401901 h 453829"/>
              <a:gd name="connsiteX3" fmla="*/ 184541 w 257973"/>
              <a:gd name="connsiteY3" fmla="*/ 227416 h 453829"/>
              <a:gd name="connsiteX4" fmla="*/ 8842 w 257973"/>
              <a:gd name="connsiteY4" fmla="*/ 51718 h 453829"/>
              <a:gd name="connsiteX5" fmla="*/ 8842 w 257973"/>
              <a:gd name="connsiteY5" fmla="*/ 8780 h 453829"/>
              <a:gd name="connsiteX6" fmla="*/ 51781 w 257973"/>
              <a:gd name="connsiteY6" fmla="*/ 8780 h 453829"/>
              <a:gd name="connsiteX7" fmla="*/ 249024 w 257973"/>
              <a:gd name="connsiteY7" fmla="*/ 206023 h 453829"/>
              <a:gd name="connsiteX8" fmla="*/ 249047 w 257973"/>
              <a:gd name="connsiteY8" fmla="*/ 248939 h 453829"/>
              <a:gd name="connsiteX9" fmla="*/ 249024 w 257973"/>
              <a:gd name="connsiteY9" fmla="*/ 248961 h 453829"/>
              <a:gd name="connsiteX10" fmla="*/ 53070 w 257973"/>
              <a:gd name="connsiteY10" fmla="*/ 444915 h 453829"/>
              <a:gd name="connsiteX11" fmla="*/ 31525 w 257973"/>
              <a:gd name="connsiteY11" fmla="*/ 453715 h 45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973" h="453829">
                <a:moveTo>
                  <a:pt x="31525" y="453715"/>
                </a:moveTo>
                <a:cubicBezTo>
                  <a:pt x="14767" y="453730"/>
                  <a:pt x="1172" y="440151"/>
                  <a:pt x="1157" y="423393"/>
                </a:cubicBezTo>
                <a:cubicBezTo>
                  <a:pt x="1150" y="415329"/>
                  <a:pt x="4351" y="407598"/>
                  <a:pt x="10056" y="401901"/>
                </a:cubicBezTo>
                <a:lnTo>
                  <a:pt x="184541" y="227416"/>
                </a:lnTo>
                <a:lnTo>
                  <a:pt x="8842" y="51718"/>
                </a:lnTo>
                <a:cubicBezTo>
                  <a:pt x="-3015" y="39861"/>
                  <a:pt x="-3015" y="20637"/>
                  <a:pt x="8842" y="8780"/>
                </a:cubicBezTo>
                <a:cubicBezTo>
                  <a:pt x="20700" y="-3078"/>
                  <a:pt x="39923" y="-3078"/>
                  <a:pt x="51781" y="8780"/>
                </a:cubicBezTo>
                <a:lnTo>
                  <a:pt x="249024" y="206023"/>
                </a:lnTo>
                <a:cubicBezTo>
                  <a:pt x="260881" y="217865"/>
                  <a:pt x="260889" y="237081"/>
                  <a:pt x="249047" y="248939"/>
                </a:cubicBezTo>
                <a:cubicBezTo>
                  <a:pt x="249039" y="248946"/>
                  <a:pt x="249031" y="248954"/>
                  <a:pt x="249024" y="248961"/>
                </a:cubicBezTo>
                <a:lnTo>
                  <a:pt x="53070" y="444915"/>
                </a:lnTo>
                <a:cubicBezTo>
                  <a:pt x="47343" y="450597"/>
                  <a:pt x="39590" y="453761"/>
                  <a:pt x="31525" y="453715"/>
                </a:cubicBezTo>
                <a:close/>
              </a:path>
            </a:pathLst>
          </a:custGeom>
          <a:solidFill>
            <a:srgbClr val="009DF0"/>
          </a:solidFill>
          <a:ln w="7582" cap="flat">
            <a:no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9BD9697D-DBC3-497E-B29D-1BAAD4E2341F}"/>
              </a:ext>
            </a:extLst>
          </p:cNvPr>
          <p:cNvSpPr/>
          <p:nvPr/>
        </p:nvSpPr>
        <p:spPr>
          <a:xfrm>
            <a:off x="8072809" y="2282078"/>
            <a:ext cx="257973" cy="453829"/>
          </a:xfrm>
          <a:custGeom>
            <a:avLst/>
            <a:gdLst>
              <a:gd name="connsiteX0" fmla="*/ 31525 w 257973"/>
              <a:gd name="connsiteY0" fmla="*/ 453715 h 453829"/>
              <a:gd name="connsiteX1" fmla="*/ 1157 w 257973"/>
              <a:gd name="connsiteY1" fmla="*/ 423393 h 453829"/>
              <a:gd name="connsiteX2" fmla="*/ 10056 w 257973"/>
              <a:gd name="connsiteY2" fmla="*/ 401901 h 453829"/>
              <a:gd name="connsiteX3" fmla="*/ 184541 w 257973"/>
              <a:gd name="connsiteY3" fmla="*/ 227416 h 453829"/>
              <a:gd name="connsiteX4" fmla="*/ 8842 w 257973"/>
              <a:gd name="connsiteY4" fmla="*/ 51718 h 453829"/>
              <a:gd name="connsiteX5" fmla="*/ 8842 w 257973"/>
              <a:gd name="connsiteY5" fmla="*/ 8780 h 453829"/>
              <a:gd name="connsiteX6" fmla="*/ 51781 w 257973"/>
              <a:gd name="connsiteY6" fmla="*/ 8780 h 453829"/>
              <a:gd name="connsiteX7" fmla="*/ 249024 w 257973"/>
              <a:gd name="connsiteY7" fmla="*/ 206023 h 453829"/>
              <a:gd name="connsiteX8" fmla="*/ 249047 w 257973"/>
              <a:gd name="connsiteY8" fmla="*/ 248939 h 453829"/>
              <a:gd name="connsiteX9" fmla="*/ 249024 w 257973"/>
              <a:gd name="connsiteY9" fmla="*/ 248961 h 453829"/>
              <a:gd name="connsiteX10" fmla="*/ 53070 w 257973"/>
              <a:gd name="connsiteY10" fmla="*/ 444915 h 453829"/>
              <a:gd name="connsiteX11" fmla="*/ 31525 w 257973"/>
              <a:gd name="connsiteY11" fmla="*/ 453715 h 45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973" h="453829">
                <a:moveTo>
                  <a:pt x="31525" y="453715"/>
                </a:moveTo>
                <a:cubicBezTo>
                  <a:pt x="14767" y="453730"/>
                  <a:pt x="1172" y="440151"/>
                  <a:pt x="1157" y="423393"/>
                </a:cubicBezTo>
                <a:cubicBezTo>
                  <a:pt x="1150" y="415329"/>
                  <a:pt x="4351" y="407598"/>
                  <a:pt x="10056" y="401901"/>
                </a:cubicBezTo>
                <a:lnTo>
                  <a:pt x="184541" y="227416"/>
                </a:lnTo>
                <a:lnTo>
                  <a:pt x="8842" y="51718"/>
                </a:lnTo>
                <a:cubicBezTo>
                  <a:pt x="-3015" y="39861"/>
                  <a:pt x="-3015" y="20637"/>
                  <a:pt x="8842" y="8780"/>
                </a:cubicBezTo>
                <a:cubicBezTo>
                  <a:pt x="20700" y="-3078"/>
                  <a:pt x="39923" y="-3078"/>
                  <a:pt x="51781" y="8780"/>
                </a:cubicBezTo>
                <a:lnTo>
                  <a:pt x="249024" y="206023"/>
                </a:lnTo>
                <a:cubicBezTo>
                  <a:pt x="260881" y="217865"/>
                  <a:pt x="260889" y="237081"/>
                  <a:pt x="249047" y="248939"/>
                </a:cubicBezTo>
                <a:cubicBezTo>
                  <a:pt x="249039" y="248946"/>
                  <a:pt x="249031" y="248954"/>
                  <a:pt x="249024" y="248961"/>
                </a:cubicBezTo>
                <a:lnTo>
                  <a:pt x="53070" y="444915"/>
                </a:lnTo>
                <a:cubicBezTo>
                  <a:pt x="47343" y="450597"/>
                  <a:pt x="39590" y="453761"/>
                  <a:pt x="31525" y="453715"/>
                </a:cubicBezTo>
                <a:close/>
              </a:path>
            </a:pathLst>
          </a:custGeom>
          <a:solidFill>
            <a:srgbClr val="009DF0"/>
          </a:solidFill>
          <a:ln w="7582" cap="flat">
            <a:noFill/>
            <a:prstDash val="solid"/>
            <a:miter/>
          </a:ln>
        </p:spPr>
        <p:txBody>
          <a:bodyPr rtlCol="0" anchor="ctr"/>
          <a:lstStyle/>
          <a:p>
            <a:endParaRPr lang="en-GB"/>
          </a:p>
        </p:txBody>
      </p:sp>
      <p:sp>
        <p:nvSpPr>
          <p:cNvPr id="59" name="Oval 58">
            <a:extLst>
              <a:ext uri="{FF2B5EF4-FFF2-40B4-BE49-F238E27FC236}">
                <a16:creationId xmlns:a16="http://schemas.microsoft.com/office/drawing/2014/main" id="{8B307630-3894-42B0-B692-C568E352E3BD}"/>
              </a:ext>
            </a:extLst>
          </p:cNvPr>
          <p:cNvSpPr/>
          <p:nvPr/>
        </p:nvSpPr>
        <p:spPr>
          <a:xfrm>
            <a:off x="1732145" y="1825921"/>
            <a:ext cx="304525" cy="304525"/>
          </a:xfrm>
          <a:prstGeom prst="ellipse">
            <a:avLst/>
          </a:prstGeom>
          <a:solidFill>
            <a:srgbClr val="009DF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noProof="0" dirty="0"/>
              <a:t>1</a:t>
            </a:r>
          </a:p>
        </p:txBody>
      </p:sp>
      <p:sp>
        <p:nvSpPr>
          <p:cNvPr id="60" name="Oval 59">
            <a:extLst>
              <a:ext uri="{FF2B5EF4-FFF2-40B4-BE49-F238E27FC236}">
                <a16:creationId xmlns:a16="http://schemas.microsoft.com/office/drawing/2014/main" id="{91C56210-39DA-45EC-A154-68611ADE9153}"/>
              </a:ext>
            </a:extLst>
          </p:cNvPr>
          <p:cNvSpPr/>
          <p:nvPr/>
        </p:nvSpPr>
        <p:spPr>
          <a:xfrm>
            <a:off x="5943737" y="1825921"/>
            <a:ext cx="304525" cy="304525"/>
          </a:xfrm>
          <a:prstGeom prst="ellipse">
            <a:avLst/>
          </a:prstGeom>
          <a:solidFill>
            <a:srgbClr val="009DF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noProof="0"/>
              <a:t>2</a:t>
            </a:r>
            <a:endParaRPr lang="en-GB" sz="1400" noProof="0" dirty="0"/>
          </a:p>
        </p:txBody>
      </p:sp>
      <p:sp>
        <p:nvSpPr>
          <p:cNvPr id="61" name="Oval 60">
            <a:extLst>
              <a:ext uri="{FF2B5EF4-FFF2-40B4-BE49-F238E27FC236}">
                <a16:creationId xmlns:a16="http://schemas.microsoft.com/office/drawing/2014/main" id="{CB9BA14D-BEEB-4838-B16C-F6C1992E7E92}"/>
              </a:ext>
            </a:extLst>
          </p:cNvPr>
          <p:cNvSpPr/>
          <p:nvPr/>
        </p:nvSpPr>
        <p:spPr>
          <a:xfrm>
            <a:off x="10155330" y="1825921"/>
            <a:ext cx="304525" cy="304525"/>
          </a:xfrm>
          <a:prstGeom prst="ellipse">
            <a:avLst/>
          </a:prstGeom>
          <a:solidFill>
            <a:srgbClr val="009DF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noProof="0" dirty="0"/>
              <a:t>3</a:t>
            </a:r>
          </a:p>
        </p:txBody>
      </p:sp>
    </p:spTree>
    <p:extLst>
      <p:ext uri="{BB962C8B-B14F-4D97-AF65-F5344CB8AC3E}">
        <p14:creationId xmlns:p14="http://schemas.microsoft.com/office/powerpoint/2010/main" val="919259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B692B-786B-48E5-8171-D7E213434C70}"/>
              </a:ext>
            </a:extLst>
          </p:cNvPr>
          <p:cNvSpPr>
            <a:spLocks noGrp="1"/>
          </p:cNvSpPr>
          <p:nvPr>
            <p:ph type="title"/>
          </p:nvPr>
        </p:nvSpPr>
        <p:spPr/>
        <p:txBody>
          <a:bodyPr/>
          <a:lstStyle/>
          <a:p>
            <a:r>
              <a:rPr lang="en-GB" dirty="0"/>
              <a:t>There are no secret tricks – it all comes down to good and consistent practices, which can be tough to maintain</a:t>
            </a:r>
          </a:p>
        </p:txBody>
      </p:sp>
      <p:sp>
        <p:nvSpPr>
          <p:cNvPr id="4" name="Slide Number Placeholder 3">
            <a:extLst>
              <a:ext uri="{FF2B5EF4-FFF2-40B4-BE49-F238E27FC236}">
                <a16:creationId xmlns:a16="http://schemas.microsoft.com/office/drawing/2014/main" id="{1418C2A0-77E9-48A1-80E4-BF0DD958ED64}"/>
              </a:ext>
            </a:extLst>
          </p:cNvPr>
          <p:cNvSpPr>
            <a:spLocks noGrp="1"/>
          </p:cNvSpPr>
          <p:nvPr>
            <p:ph type="sldNum" sz="quarter" idx="12"/>
          </p:nvPr>
        </p:nvSpPr>
        <p:spPr/>
        <p:txBody>
          <a:bodyPr/>
          <a:lstStyle/>
          <a:p>
            <a:fld id="{23AA811B-2EBD-4900-905E-5BE206449611}" type="slidenum">
              <a:rPr lang="en-GB" smtClean="0"/>
              <a:pPr/>
              <a:t>19</a:t>
            </a:fld>
            <a:endParaRPr lang="en-GB" dirty="0"/>
          </a:p>
        </p:txBody>
      </p:sp>
      <p:sp>
        <p:nvSpPr>
          <p:cNvPr id="5" name="TextBox 4">
            <a:extLst>
              <a:ext uri="{FF2B5EF4-FFF2-40B4-BE49-F238E27FC236}">
                <a16:creationId xmlns:a16="http://schemas.microsoft.com/office/drawing/2014/main" id="{4B2F62FF-3A12-4B79-836E-B35D6A0EE5AA}"/>
              </a:ext>
            </a:extLst>
          </p:cNvPr>
          <p:cNvSpPr txBox="1"/>
          <p:nvPr/>
        </p:nvSpPr>
        <p:spPr>
          <a:xfrm>
            <a:off x="737675" y="6422678"/>
            <a:ext cx="6096000" cy="215444"/>
          </a:xfrm>
          <a:prstGeom prst="rect">
            <a:avLst/>
          </a:prstGeom>
          <a:noFill/>
        </p:spPr>
        <p:txBody>
          <a:bodyPr wrap="square">
            <a:spAutoFit/>
          </a:bodyPr>
          <a:lstStyle/>
          <a:p>
            <a:r>
              <a:rPr lang="en-GB" sz="800" dirty="0">
                <a:hlinkClick r:id="rId2"/>
              </a:rPr>
              <a:t>https://c.ramboll.com/project-contract-management-post-signing</a:t>
            </a:r>
            <a:r>
              <a:rPr lang="en-GB" sz="800" dirty="0"/>
              <a:t> </a:t>
            </a:r>
          </a:p>
        </p:txBody>
      </p:sp>
      <p:sp>
        <p:nvSpPr>
          <p:cNvPr id="7" name="TextBox 6">
            <a:extLst>
              <a:ext uri="{FF2B5EF4-FFF2-40B4-BE49-F238E27FC236}">
                <a16:creationId xmlns:a16="http://schemas.microsoft.com/office/drawing/2014/main" id="{E6342348-1999-4A40-A30B-CB739536B4D7}"/>
              </a:ext>
            </a:extLst>
          </p:cNvPr>
          <p:cNvSpPr txBox="1"/>
          <p:nvPr/>
        </p:nvSpPr>
        <p:spPr>
          <a:xfrm>
            <a:off x="10906201" y="1530566"/>
            <a:ext cx="1047219" cy="246221"/>
          </a:xfrm>
          <a:prstGeom prst="rect">
            <a:avLst/>
          </a:prstGeom>
          <a:noFill/>
        </p:spPr>
        <p:txBody>
          <a:bodyPr wrap="square">
            <a:spAutoFit/>
          </a:bodyPr>
          <a:lstStyle/>
          <a:p>
            <a:pPr algn="ctr"/>
            <a:r>
              <a:rPr lang="en-GB" sz="500" dirty="0">
                <a:solidFill>
                  <a:schemeClr val="tx2"/>
                </a:solidFill>
              </a:rPr>
              <a:t>QR-code for whitepaper shown below</a:t>
            </a:r>
          </a:p>
        </p:txBody>
      </p:sp>
      <p:grpSp>
        <p:nvGrpSpPr>
          <p:cNvPr id="16" name="Group 15">
            <a:extLst>
              <a:ext uri="{FF2B5EF4-FFF2-40B4-BE49-F238E27FC236}">
                <a16:creationId xmlns:a16="http://schemas.microsoft.com/office/drawing/2014/main" id="{08AE91A2-91E3-473F-8B29-B746757E39AF}"/>
              </a:ext>
            </a:extLst>
          </p:cNvPr>
          <p:cNvGrpSpPr/>
          <p:nvPr/>
        </p:nvGrpSpPr>
        <p:grpSpPr>
          <a:xfrm>
            <a:off x="8062600" y="2191914"/>
            <a:ext cx="3117663" cy="3695508"/>
            <a:chOff x="7788538" y="2191914"/>
            <a:chExt cx="3117663" cy="3695508"/>
          </a:xfrm>
        </p:grpSpPr>
        <p:pic>
          <p:nvPicPr>
            <p:cNvPr id="13" name="Picture 12">
              <a:extLst>
                <a:ext uri="{FF2B5EF4-FFF2-40B4-BE49-F238E27FC236}">
                  <a16:creationId xmlns:a16="http://schemas.microsoft.com/office/drawing/2014/main" id="{BE3A654F-4B68-4EBE-92BA-4A90DEC50D43}"/>
                </a:ext>
              </a:extLst>
            </p:cNvPr>
            <p:cNvPicPr>
              <a:picLocks noChangeAspect="1"/>
            </p:cNvPicPr>
            <p:nvPr/>
          </p:nvPicPr>
          <p:blipFill>
            <a:blip r:embed="rId3"/>
            <a:stretch>
              <a:fillRect/>
            </a:stretch>
          </p:blipFill>
          <p:spPr>
            <a:xfrm>
              <a:off x="7788538" y="2191914"/>
              <a:ext cx="3117663" cy="1749092"/>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59E44D14-8716-483D-B33E-2D062BD76F56}"/>
                </a:ext>
              </a:extLst>
            </p:cNvPr>
            <p:cNvPicPr>
              <a:picLocks noChangeAspect="1"/>
            </p:cNvPicPr>
            <p:nvPr/>
          </p:nvPicPr>
          <p:blipFill>
            <a:blip r:embed="rId4"/>
            <a:stretch>
              <a:fillRect/>
            </a:stretch>
          </p:blipFill>
          <p:spPr>
            <a:xfrm>
              <a:off x="7792517" y="4141996"/>
              <a:ext cx="3113684" cy="1745426"/>
            </a:xfrm>
            <a:prstGeom prst="rect">
              <a:avLst/>
            </a:prstGeom>
            <a:ln>
              <a:noFill/>
            </a:ln>
            <a:effectLst>
              <a:outerShdw blurRad="292100" dist="139700" dir="2700000" algn="tl" rotWithShape="0">
                <a:srgbClr val="333333">
                  <a:alpha val="65000"/>
                </a:srgbClr>
              </a:outerShdw>
            </a:effectLst>
          </p:spPr>
        </p:pic>
      </p:grpSp>
      <p:sp>
        <p:nvSpPr>
          <p:cNvPr id="17" name="TextBox 16">
            <a:extLst>
              <a:ext uri="{FF2B5EF4-FFF2-40B4-BE49-F238E27FC236}">
                <a16:creationId xmlns:a16="http://schemas.microsoft.com/office/drawing/2014/main" id="{6788FD68-C9B1-43D8-AB5D-CC7176A3BAF9}"/>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rgbClr val="A6A6A6"/>
                </a:solidFill>
                <a:latin typeface="Verdana"/>
              </a:rPr>
              <a:t>Sustainability </a:t>
            </a:r>
            <a:r>
              <a:rPr lang="en-GB" sz="800" dirty="0">
                <a:solidFill>
                  <a:srgbClr val="B7B7B7"/>
                </a:solidFill>
                <a:latin typeface="Verdana"/>
              </a:rPr>
              <a:t>│ Procurement </a:t>
            </a:r>
            <a:r>
              <a:rPr lang="en-GB" sz="800" dirty="0">
                <a:solidFill>
                  <a:schemeClr val="accent1"/>
                </a:solidFill>
                <a:latin typeface="Verdana"/>
              </a:rPr>
              <a:t>│ Contract Management │ </a:t>
            </a:r>
            <a:r>
              <a:rPr lang="en-GB" sz="800" dirty="0">
                <a:solidFill>
                  <a:schemeClr val="bg1">
                    <a:lumMod val="65000"/>
                  </a:schemeClr>
                </a:solidFill>
                <a:latin typeface="Verdana"/>
              </a:rPr>
              <a:t>How to do it</a:t>
            </a:r>
          </a:p>
        </p:txBody>
      </p:sp>
      <p:pic>
        <p:nvPicPr>
          <p:cNvPr id="10" name="Picture 9">
            <a:extLst>
              <a:ext uri="{FF2B5EF4-FFF2-40B4-BE49-F238E27FC236}">
                <a16:creationId xmlns:a16="http://schemas.microsoft.com/office/drawing/2014/main" id="{D4D2D23D-F3FF-4CD6-8B55-4694A4971113}"/>
              </a:ext>
            </a:extLst>
          </p:cNvPr>
          <p:cNvPicPr>
            <a:picLocks noChangeAspect="1"/>
          </p:cNvPicPr>
          <p:nvPr/>
        </p:nvPicPr>
        <p:blipFill>
          <a:blip r:embed="rId5"/>
          <a:stretch>
            <a:fillRect/>
          </a:stretch>
        </p:blipFill>
        <p:spPr>
          <a:xfrm>
            <a:off x="1006417" y="2201064"/>
            <a:ext cx="6574746" cy="3686358"/>
          </a:xfrm>
          <a:prstGeom prst="rect">
            <a:avLst/>
          </a:prstGeom>
          <a:ln>
            <a:noFill/>
          </a:ln>
          <a:effectLst>
            <a:outerShdw blurRad="292100" dist="139700" dir="2700000" algn="tl" rotWithShape="0">
              <a:srgbClr val="333333">
                <a:alpha val="65000"/>
              </a:srgbClr>
            </a:outerShdw>
          </a:effectLst>
        </p:spPr>
      </p:pic>
      <p:sp>
        <p:nvSpPr>
          <p:cNvPr id="18" name="Rectangle 17">
            <a:extLst>
              <a:ext uri="{FF2B5EF4-FFF2-40B4-BE49-F238E27FC236}">
                <a16:creationId xmlns:a16="http://schemas.microsoft.com/office/drawing/2014/main" id="{7161BAD5-825E-4F08-ABAB-CDD09C5A7BF2}"/>
              </a:ext>
            </a:extLst>
          </p:cNvPr>
          <p:cNvSpPr/>
          <p:nvPr/>
        </p:nvSpPr>
        <p:spPr>
          <a:xfrm>
            <a:off x="1124953" y="2892257"/>
            <a:ext cx="2995865" cy="445168"/>
          </a:xfrm>
          <a:prstGeom prst="rect">
            <a:avLst/>
          </a:prstGeom>
          <a:solidFill>
            <a:srgbClr val="009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GB" sz="1600" noProof="0" dirty="0">
                <a:latin typeface="Gotham Rounded Book" pitchFamily="50" charset="0"/>
              </a:rPr>
              <a:t>Activities </a:t>
            </a:r>
            <a:r>
              <a:rPr lang="en-GB" sz="1600" noProof="0" dirty="0">
                <a:latin typeface="Gotham Rounded Bold" pitchFamily="50" charset="0"/>
              </a:rPr>
              <a:t>post-signing</a:t>
            </a:r>
            <a:r>
              <a:rPr lang="en-GB" sz="1600" noProof="0" dirty="0">
                <a:latin typeface="Gotham Rounded Book" pitchFamily="50" charset="0"/>
              </a:rPr>
              <a:t> of the contract</a:t>
            </a:r>
          </a:p>
        </p:txBody>
      </p:sp>
      <p:pic>
        <p:nvPicPr>
          <p:cNvPr id="8" name="Picture 7">
            <a:extLst>
              <a:ext uri="{FF2B5EF4-FFF2-40B4-BE49-F238E27FC236}">
                <a16:creationId xmlns:a16="http://schemas.microsoft.com/office/drawing/2014/main" id="{442A943D-3771-4D3F-AC29-C996EA2C558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61810" y="655200"/>
            <a:ext cx="936000" cy="936000"/>
          </a:xfrm>
          <a:prstGeom prst="rect">
            <a:avLst/>
          </a:prstGeom>
        </p:spPr>
      </p:pic>
    </p:spTree>
    <p:extLst>
      <p:ext uri="{BB962C8B-B14F-4D97-AF65-F5344CB8AC3E}">
        <p14:creationId xmlns:p14="http://schemas.microsoft.com/office/powerpoint/2010/main" val="3170663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0E81C-9338-48E4-8306-AE0C19EB2B9C}"/>
              </a:ext>
            </a:extLst>
          </p:cNvPr>
          <p:cNvSpPr>
            <a:spLocks noGrp="1"/>
          </p:cNvSpPr>
          <p:nvPr>
            <p:ph type="title"/>
          </p:nvPr>
        </p:nvSpPr>
        <p:spPr>
          <a:xfrm>
            <a:off x="360000" y="655200"/>
            <a:ext cx="5394914" cy="936000"/>
          </a:xfrm>
        </p:spPr>
        <p:txBody>
          <a:bodyPr/>
          <a:lstStyle/>
          <a:p>
            <a:r>
              <a:rPr lang="en-GB" dirty="0"/>
              <a:t>Agenda</a:t>
            </a:r>
          </a:p>
        </p:txBody>
      </p:sp>
      <p:pic>
        <p:nvPicPr>
          <p:cNvPr id="15" name="Picture 14">
            <a:extLst>
              <a:ext uri="{FF2B5EF4-FFF2-40B4-BE49-F238E27FC236}">
                <a16:creationId xmlns:a16="http://schemas.microsoft.com/office/drawing/2014/main" id="{D12F4742-B9AB-45BF-838B-11391813DF37}"/>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7294569" y="-489983"/>
            <a:ext cx="4897431" cy="7347983"/>
          </a:xfrm>
          <a:prstGeom prst="rect">
            <a:avLst/>
          </a:prstGeom>
        </p:spPr>
      </p:pic>
      <p:sp>
        <p:nvSpPr>
          <p:cNvPr id="4" name="Slide Number Placeholder 3">
            <a:extLst>
              <a:ext uri="{FF2B5EF4-FFF2-40B4-BE49-F238E27FC236}">
                <a16:creationId xmlns:a16="http://schemas.microsoft.com/office/drawing/2014/main" id="{33DD5336-13B4-4577-A4C8-18C47680D005}"/>
              </a:ext>
            </a:extLst>
          </p:cNvPr>
          <p:cNvSpPr>
            <a:spLocks noGrp="1"/>
          </p:cNvSpPr>
          <p:nvPr>
            <p:ph type="sldNum" sz="quarter" idx="12"/>
          </p:nvPr>
        </p:nvSpPr>
        <p:spPr/>
        <p:txBody>
          <a:bodyPr/>
          <a:lstStyle/>
          <a:p>
            <a:fld id="{23AA811B-2EBD-4900-905E-5BE206449611}" type="slidenum">
              <a:rPr lang="en-GB" smtClean="0">
                <a:solidFill>
                  <a:schemeClr val="bg1"/>
                </a:solidFill>
              </a:rPr>
              <a:pPr/>
              <a:t>2</a:t>
            </a:fld>
            <a:endParaRPr lang="en-GB" dirty="0">
              <a:solidFill>
                <a:schemeClr val="bg1"/>
              </a:solidFill>
            </a:endParaRPr>
          </a:p>
        </p:txBody>
      </p:sp>
      <p:sp>
        <p:nvSpPr>
          <p:cNvPr id="8" name="TextBox 7">
            <a:extLst>
              <a:ext uri="{FF2B5EF4-FFF2-40B4-BE49-F238E27FC236}">
                <a16:creationId xmlns:a16="http://schemas.microsoft.com/office/drawing/2014/main" id="{B3C7D6EE-1EBB-42D8-A0C6-6BA3A503A8D0}"/>
              </a:ext>
            </a:extLst>
          </p:cNvPr>
          <p:cNvSpPr txBox="1"/>
          <p:nvPr/>
        </p:nvSpPr>
        <p:spPr bwMode="auto">
          <a:xfrm>
            <a:off x="360557" y="1828837"/>
            <a:ext cx="1627809" cy="519549"/>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defPPr>
              <a:defRPr lang="en-US"/>
            </a:defPPr>
            <a:lvl1pPr>
              <a:buNone/>
              <a:defRPr sz="4265">
                <a:solidFill>
                  <a:srgbClr val="ADDDFF"/>
                </a:solidFill>
              </a:defRPr>
            </a:lvl1pPr>
          </a:lstStyle>
          <a:p>
            <a:r>
              <a:rPr lang="en-GB" dirty="0"/>
              <a:t>01</a:t>
            </a:r>
          </a:p>
        </p:txBody>
      </p:sp>
      <p:sp>
        <p:nvSpPr>
          <p:cNvPr id="9" name="TextBox 8">
            <a:extLst>
              <a:ext uri="{FF2B5EF4-FFF2-40B4-BE49-F238E27FC236}">
                <a16:creationId xmlns:a16="http://schemas.microsoft.com/office/drawing/2014/main" id="{EFA543E4-56EA-461D-806B-619A4B425E00}"/>
              </a:ext>
            </a:extLst>
          </p:cNvPr>
          <p:cNvSpPr txBox="1"/>
          <p:nvPr/>
        </p:nvSpPr>
        <p:spPr bwMode="auto">
          <a:xfrm>
            <a:off x="1340658" y="1801930"/>
            <a:ext cx="4932750" cy="7478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sz="1500" dirty="0">
                <a:solidFill>
                  <a:srgbClr val="273943"/>
                </a:solidFill>
              </a:rPr>
              <a:t>Introduction – who we are</a:t>
            </a:r>
          </a:p>
        </p:txBody>
      </p:sp>
      <p:sp>
        <p:nvSpPr>
          <p:cNvPr id="10" name="TextBox 9">
            <a:extLst>
              <a:ext uri="{FF2B5EF4-FFF2-40B4-BE49-F238E27FC236}">
                <a16:creationId xmlns:a16="http://schemas.microsoft.com/office/drawing/2014/main" id="{76047652-C7DC-4FA6-936A-5179B4183A86}"/>
              </a:ext>
            </a:extLst>
          </p:cNvPr>
          <p:cNvSpPr txBox="1"/>
          <p:nvPr/>
        </p:nvSpPr>
        <p:spPr bwMode="auto">
          <a:xfrm>
            <a:off x="359998" y="2768688"/>
            <a:ext cx="1627809" cy="519549"/>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defPPr>
              <a:defRPr lang="en-US"/>
            </a:defPPr>
            <a:lvl1pPr>
              <a:buNone/>
              <a:defRPr sz="4265">
                <a:solidFill>
                  <a:srgbClr val="ADDDFF"/>
                </a:solidFill>
              </a:defRPr>
            </a:lvl1pPr>
          </a:lstStyle>
          <a:p>
            <a:r>
              <a:rPr lang="en-GB" dirty="0"/>
              <a:t>02</a:t>
            </a:r>
          </a:p>
        </p:txBody>
      </p:sp>
      <p:sp>
        <p:nvSpPr>
          <p:cNvPr id="11" name="TextBox 10">
            <a:extLst>
              <a:ext uri="{FF2B5EF4-FFF2-40B4-BE49-F238E27FC236}">
                <a16:creationId xmlns:a16="http://schemas.microsoft.com/office/drawing/2014/main" id="{D6CF8744-F36C-4361-8A99-61A02B1F2262}"/>
              </a:ext>
            </a:extLst>
          </p:cNvPr>
          <p:cNvSpPr txBox="1"/>
          <p:nvPr/>
        </p:nvSpPr>
        <p:spPr bwMode="auto">
          <a:xfrm>
            <a:off x="1342638" y="2730602"/>
            <a:ext cx="4932750" cy="7478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sz="1500" dirty="0">
                <a:solidFill>
                  <a:srgbClr val="273943"/>
                </a:solidFill>
              </a:rPr>
              <a:t>Sustainability in major projects – specific project examples</a:t>
            </a:r>
          </a:p>
        </p:txBody>
      </p:sp>
      <p:sp>
        <p:nvSpPr>
          <p:cNvPr id="12" name="TextBox 11">
            <a:extLst>
              <a:ext uri="{FF2B5EF4-FFF2-40B4-BE49-F238E27FC236}">
                <a16:creationId xmlns:a16="http://schemas.microsoft.com/office/drawing/2014/main" id="{F0A5EABE-6154-42BF-8418-23882576D173}"/>
              </a:ext>
            </a:extLst>
          </p:cNvPr>
          <p:cNvSpPr txBox="1"/>
          <p:nvPr/>
        </p:nvSpPr>
        <p:spPr bwMode="auto">
          <a:xfrm>
            <a:off x="361419" y="3696335"/>
            <a:ext cx="1627809" cy="519553"/>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5" dirty="0">
                <a:solidFill>
                  <a:srgbClr val="ADDDFF"/>
                </a:solidFill>
              </a:rPr>
              <a:t>03</a:t>
            </a:r>
          </a:p>
        </p:txBody>
      </p:sp>
      <p:sp>
        <p:nvSpPr>
          <p:cNvPr id="13" name="TextBox 12">
            <a:extLst>
              <a:ext uri="{FF2B5EF4-FFF2-40B4-BE49-F238E27FC236}">
                <a16:creationId xmlns:a16="http://schemas.microsoft.com/office/drawing/2014/main" id="{B43B911B-C84D-49E2-BF59-6F7188735DA7}"/>
              </a:ext>
            </a:extLst>
          </p:cNvPr>
          <p:cNvSpPr txBox="1"/>
          <p:nvPr/>
        </p:nvSpPr>
        <p:spPr bwMode="auto">
          <a:xfrm>
            <a:off x="1341519" y="3659274"/>
            <a:ext cx="4932750" cy="7478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sz="1500" dirty="0">
                <a:solidFill>
                  <a:srgbClr val="273943"/>
                </a:solidFill>
              </a:rPr>
              <a:t>How Procurement can play a key role in integrating sustainability from an early phase of a project?</a:t>
            </a:r>
          </a:p>
        </p:txBody>
      </p:sp>
      <p:sp>
        <p:nvSpPr>
          <p:cNvPr id="14" name="TextBox 13">
            <a:extLst>
              <a:ext uri="{FF2B5EF4-FFF2-40B4-BE49-F238E27FC236}">
                <a16:creationId xmlns:a16="http://schemas.microsoft.com/office/drawing/2014/main" id="{C2645DB6-2FE4-47BE-B2A0-6120CDE8F2F6}"/>
              </a:ext>
            </a:extLst>
          </p:cNvPr>
          <p:cNvSpPr txBox="1"/>
          <p:nvPr/>
        </p:nvSpPr>
        <p:spPr bwMode="auto">
          <a:xfrm>
            <a:off x="363403" y="4619926"/>
            <a:ext cx="1627809" cy="519556"/>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5" dirty="0">
                <a:solidFill>
                  <a:srgbClr val="ADDDFF"/>
                </a:solidFill>
              </a:rPr>
              <a:t>04</a:t>
            </a:r>
          </a:p>
        </p:txBody>
      </p:sp>
      <p:sp>
        <p:nvSpPr>
          <p:cNvPr id="16" name="TextBox 15">
            <a:extLst>
              <a:ext uri="{FF2B5EF4-FFF2-40B4-BE49-F238E27FC236}">
                <a16:creationId xmlns:a16="http://schemas.microsoft.com/office/drawing/2014/main" id="{D215B3C4-C651-4AA8-B87B-C405DA41023B}"/>
              </a:ext>
            </a:extLst>
          </p:cNvPr>
          <p:cNvSpPr txBox="1"/>
          <p:nvPr/>
        </p:nvSpPr>
        <p:spPr bwMode="auto">
          <a:xfrm>
            <a:off x="1343503" y="4587946"/>
            <a:ext cx="4932750" cy="7478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sz="1500" dirty="0">
                <a:solidFill>
                  <a:srgbClr val="273943"/>
                </a:solidFill>
              </a:rPr>
              <a:t>How Contract Management can support the realisation of a project's sustainability objectives?</a:t>
            </a:r>
          </a:p>
        </p:txBody>
      </p:sp>
      <p:sp>
        <p:nvSpPr>
          <p:cNvPr id="17" name="TextBox 16">
            <a:extLst>
              <a:ext uri="{FF2B5EF4-FFF2-40B4-BE49-F238E27FC236}">
                <a16:creationId xmlns:a16="http://schemas.microsoft.com/office/drawing/2014/main" id="{FFED1F85-2356-4868-B695-52B32876E268}"/>
              </a:ext>
            </a:extLst>
          </p:cNvPr>
          <p:cNvSpPr txBox="1"/>
          <p:nvPr/>
        </p:nvSpPr>
        <p:spPr bwMode="auto">
          <a:xfrm>
            <a:off x="361980" y="5548598"/>
            <a:ext cx="1627809" cy="519557"/>
          </a:xfrm>
          <a:prstGeom prst="rect">
            <a:avLst/>
          </a:prstGeom>
          <a:noFill/>
          <a:ln w="9525">
            <a:noFill/>
            <a:miter lim="800000"/>
            <a:headEnd/>
            <a:tailEnd/>
          </a:ln>
          <a:effectLst/>
        </p:spPr>
        <p:txBody>
          <a:bodyPr vert="horz" wrap="square" lIns="0" tIns="0" rIns="0" bIns="0" numCol="1" rtlCol="0" anchor="b" anchorCtr="0" compatLnSpc="1">
            <a:prstTxWarp prst="textNoShape">
              <a:avLst/>
            </a:prstTxWarp>
            <a:noAutofit/>
          </a:bodyPr>
          <a:lstStyle/>
          <a:p>
            <a:pPr>
              <a:buNone/>
            </a:pPr>
            <a:r>
              <a:rPr lang="en-GB" sz="4265" dirty="0">
                <a:solidFill>
                  <a:srgbClr val="ADDDFF"/>
                </a:solidFill>
              </a:rPr>
              <a:t>05</a:t>
            </a:r>
          </a:p>
        </p:txBody>
      </p:sp>
      <p:sp>
        <p:nvSpPr>
          <p:cNvPr id="18" name="TextBox 17">
            <a:extLst>
              <a:ext uri="{FF2B5EF4-FFF2-40B4-BE49-F238E27FC236}">
                <a16:creationId xmlns:a16="http://schemas.microsoft.com/office/drawing/2014/main" id="{6F00D916-8082-4ACA-87B0-C9A2FBE0A947}"/>
              </a:ext>
            </a:extLst>
          </p:cNvPr>
          <p:cNvSpPr txBox="1"/>
          <p:nvPr/>
        </p:nvSpPr>
        <p:spPr bwMode="auto">
          <a:xfrm>
            <a:off x="1342081" y="5516619"/>
            <a:ext cx="4932750" cy="7478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p>
            <a:pPr>
              <a:buNone/>
            </a:pPr>
            <a:r>
              <a:rPr lang="en-GB" sz="1500" dirty="0">
                <a:solidFill>
                  <a:srgbClr val="273943"/>
                </a:solidFill>
              </a:rPr>
              <a:t>How to put sustainability on the agenda in your project?</a:t>
            </a:r>
          </a:p>
        </p:txBody>
      </p:sp>
    </p:spTree>
    <p:extLst>
      <p:ext uri="{BB962C8B-B14F-4D97-AF65-F5344CB8AC3E}">
        <p14:creationId xmlns:p14="http://schemas.microsoft.com/office/powerpoint/2010/main" val="23917774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C16330-2753-45DF-86AA-E5A8A2FEC6E4}"/>
              </a:ext>
            </a:extLst>
          </p:cNvPr>
          <p:cNvSpPr>
            <a:spLocks noGrp="1"/>
          </p:cNvSpPr>
          <p:nvPr>
            <p:ph type="sldNum" sz="quarter" idx="17"/>
          </p:nvPr>
        </p:nvSpPr>
        <p:spPr/>
        <p:txBody>
          <a:bodyPr/>
          <a:lstStyle/>
          <a:p>
            <a:fld id="{23AA811B-2EBD-4900-905E-5BE206449611}" type="slidenum">
              <a:rPr lang="en-GB" smtClean="0"/>
              <a:pPr/>
              <a:t>20</a:t>
            </a:fld>
            <a:endParaRPr lang="en-GB" dirty="0"/>
          </a:p>
        </p:txBody>
      </p:sp>
      <p:pic>
        <p:nvPicPr>
          <p:cNvPr id="6" name="Picture Placeholder 2">
            <a:extLst>
              <a:ext uri="{FF2B5EF4-FFF2-40B4-BE49-F238E27FC236}">
                <a16:creationId xmlns:a16="http://schemas.microsoft.com/office/drawing/2014/main" id="{6AC695BF-B17E-45E8-80D2-2232BE999C4E}"/>
              </a:ext>
            </a:extLst>
          </p:cNvPr>
          <p:cNvPicPr>
            <a:picLocks noGrp="1" noChangeAspect="1"/>
          </p:cNvPicPr>
          <p:nvPr>
            <p:ph type="pic" sz="quarter" idx="14"/>
            <p:custDataLst>
              <p:tags r:id="rId1"/>
            </p:custDataLst>
          </p:nvPr>
        </p:nvPicPr>
        <p:blipFill rotWithShape="1">
          <a:blip r:embed="rId3">
            <a:extLst>
              <a:ext uri="{28A0092B-C50C-407E-A947-70E740481C1C}">
                <a14:useLocalDpi xmlns:a14="http://schemas.microsoft.com/office/drawing/2010/main" val="0"/>
              </a:ext>
            </a:extLst>
          </a:blip>
          <a:srcRect t="15604"/>
          <a:stretch/>
        </p:blipFill>
        <p:spPr>
          <a:xfrm>
            <a:off x="0" y="0"/>
            <a:ext cx="12192000" cy="6858000"/>
          </a:xfrm>
        </p:spPr>
      </p:pic>
      <p:sp>
        <p:nvSpPr>
          <p:cNvPr id="7" name="Rectangle 6">
            <a:extLst>
              <a:ext uri="{FF2B5EF4-FFF2-40B4-BE49-F238E27FC236}">
                <a16:creationId xmlns:a16="http://schemas.microsoft.com/office/drawing/2014/main" id="{55267069-BEB3-44F2-B488-E648516D585A}"/>
              </a:ext>
            </a:extLst>
          </p:cNvPr>
          <p:cNvSpPr/>
          <p:nvPr/>
        </p:nvSpPr>
        <p:spPr>
          <a:xfrm>
            <a:off x="0" y="4973433"/>
            <a:ext cx="6952343" cy="12677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800" noProof="0" dirty="0"/>
              <a:t>How to put sustainability on the agenda in your project?</a:t>
            </a:r>
          </a:p>
        </p:txBody>
      </p:sp>
    </p:spTree>
    <p:extLst>
      <p:ext uri="{BB962C8B-B14F-4D97-AF65-F5344CB8AC3E}">
        <p14:creationId xmlns:p14="http://schemas.microsoft.com/office/powerpoint/2010/main" val="34872552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15DA5-9B65-4CA0-ADD3-47ABC937B18A}"/>
              </a:ext>
            </a:extLst>
          </p:cNvPr>
          <p:cNvSpPr>
            <a:spLocks noGrp="1"/>
          </p:cNvSpPr>
          <p:nvPr>
            <p:ph type="title"/>
          </p:nvPr>
        </p:nvSpPr>
        <p:spPr>
          <a:xfrm>
            <a:off x="360000" y="655200"/>
            <a:ext cx="4783500" cy="936000"/>
          </a:xfrm>
        </p:spPr>
        <p:txBody>
          <a:bodyPr/>
          <a:lstStyle/>
          <a:p>
            <a:r>
              <a:rPr lang="en-GB" dirty="0"/>
              <a:t>Sustainability often starts with a broad dialogue before it is narrowed down to specific initiatives</a:t>
            </a:r>
          </a:p>
        </p:txBody>
      </p:sp>
      <p:sp>
        <p:nvSpPr>
          <p:cNvPr id="3" name="Content Placeholder 2">
            <a:extLst>
              <a:ext uri="{FF2B5EF4-FFF2-40B4-BE49-F238E27FC236}">
                <a16:creationId xmlns:a16="http://schemas.microsoft.com/office/drawing/2014/main" id="{20EA4AAF-93FF-4A82-A0F7-9404B5823EA8}"/>
              </a:ext>
            </a:extLst>
          </p:cNvPr>
          <p:cNvSpPr>
            <a:spLocks noGrp="1"/>
          </p:cNvSpPr>
          <p:nvPr>
            <p:ph idx="1"/>
          </p:nvPr>
        </p:nvSpPr>
        <p:spPr>
          <a:xfrm>
            <a:off x="360000" y="2708100"/>
            <a:ext cx="4726350" cy="3494700"/>
          </a:xfrm>
        </p:spPr>
        <p:txBody>
          <a:bodyPr/>
          <a:lstStyle/>
          <a:p>
            <a:r>
              <a:rPr lang="en-GB" sz="1400" dirty="0">
                <a:solidFill>
                  <a:schemeClr val="bg1">
                    <a:lumMod val="65000"/>
                  </a:schemeClr>
                </a:solidFill>
              </a:rPr>
              <a:t>Sustainability can have many forms across different types of construction project. To facilitate </a:t>
            </a:r>
            <a:r>
              <a:rPr lang="en-GB" sz="1400" b="1" dirty="0">
                <a:solidFill>
                  <a:schemeClr val="tx2"/>
                </a:solidFill>
              </a:rPr>
              <a:t>the sustainability dialogue </a:t>
            </a:r>
            <a:r>
              <a:rPr lang="en-GB" sz="1400" dirty="0">
                <a:solidFill>
                  <a:schemeClr val="bg1">
                    <a:lumMod val="65000"/>
                  </a:schemeClr>
                </a:solidFill>
              </a:rPr>
              <a:t>and to cover all of the aspects, Ramboll has developed the sustainability dialogue tool:</a:t>
            </a:r>
            <a:r>
              <a:rPr lang="en-GB" sz="1400" dirty="0"/>
              <a:t> </a:t>
            </a:r>
            <a:r>
              <a:rPr lang="en-GB" sz="1400" dirty="0">
                <a:hlinkClick r:id="rId2"/>
              </a:rPr>
              <a:t>https://ramboll.com/ingenuity/sustainability-toolbox</a:t>
            </a:r>
            <a:r>
              <a:rPr lang="en-GB" sz="1400" dirty="0"/>
              <a:t> </a:t>
            </a:r>
          </a:p>
          <a:p>
            <a:r>
              <a:rPr lang="en-GB" sz="1400" dirty="0">
                <a:solidFill>
                  <a:schemeClr val="bg1">
                    <a:lumMod val="65000"/>
                  </a:schemeClr>
                </a:solidFill>
              </a:rPr>
              <a:t>The various subjects discussed through the sustainability talk will often become </a:t>
            </a:r>
            <a:r>
              <a:rPr lang="en-GB" sz="1400" b="1" dirty="0">
                <a:solidFill>
                  <a:schemeClr val="tx2"/>
                </a:solidFill>
              </a:rPr>
              <a:t>sustainability requirements in the contract</a:t>
            </a:r>
            <a:r>
              <a:rPr lang="en-GB" sz="1400" dirty="0">
                <a:solidFill>
                  <a:schemeClr val="bg1">
                    <a:lumMod val="65000"/>
                  </a:schemeClr>
                </a:solidFill>
              </a:rPr>
              <a:t>. For these requirements to be realized, diligent </a:t>
            </a:r>
            <a:r>
              <a:rPr lang="en-GB" sz="1400" b="1" dirty="0">
                <a:solidFill>
                  <a:schemeClr val="tx2"/>
                </a:solidFill>
              </a:rPr>
              <a:t>contract follow-up</a:t>
            </a:r>
            <a:r>
              <a:rPr lang="en-GB" sz="1400" dirty="0">
                <a:solidFill>
                  <a:schemeClr val="bg1">
                    <a:lumMod val="65000"/>
                  </a:schemeClr>
                </a:solidFill>
              </a:rPr>
              <a:t> is often needed.</a:t>
            </a:r>
          </a:p>
          <a:p>
            <a:endParaRPr lang="en-GB" sz="1400" dirty="0"/>
          </a:p>
        </p:txBody>
      </p:sp>
      <p:sp>
        <p:nvSpPr>
          <p:cNvPr id="4" name="Slide Number Placeholder 3">
            <a:extLst>
              <a:ext uri="{FF2B5EF4-FFF2-40B4-BE49-F238E27FC236}">
                <a16:creationId xmlns:a16="http://schemas.microsoft.com/office/drawing/2014/main" id="{EC8E5115-E14E-4A1B-92DF-5C010B96C1BE}"/>
              </a:ext>
            </a:extLst>
          </p:cNvPr>
          <p:cNvSpPr>
            <a:spLocks noGrp="1"/>
          </p:cNvSpPr>
          <p:nvPr>
            <p:ph type="sldNum" sz="quarter" idx="12"/>
          </p:nvPr>
        </p:nvSpPr>
        <p:spPr/>
        <p:txBody>
          <a:bodyPr/>
          <a:lstStyle/>
          <a:p>
            <a:fld id="{23AA811B-2EBD-4900-905E-5BE206449611}" type="slidenum">
              <a:rPr lang="en-GB" smtClean="0"/>
              <a:pPr/>
              <a:t>21</a:t>
            </a:fld>
            <a:endParaRPr lang="en-GB" dirty="0"/>
          </a:p>
        </p:txBody>
      </p:sp>
      <p:pic>
        <p:nvPicPr>
          <p:cNvPr id="5" name="Picture 4">
            <a:extLst>
              <a:ext uri="{FF2B5EF4-FFF2-40B4-BE49-F238E27FC236}">
                <a16:creationId xmlns:a16="http://schemas.microsoft.com/office/drawing/2014/main" id="{96CDFF56-3A82-4CE4-9F1C-F9FF3B422530}"/>
              </a:ext>
            </a:extLst>
          </p:cNvPr>
          <p:cNvPicPr>
            <a:picLocks noChangeAspect="1"/>
          </p:cNvPicPr>
          <p:nvPr/>
        </p:nvPicPr>
        <p:blipFill>
          <a:blip r:embed="rId3"/>
          <a:stretch>
            <a:fillRect/>
          </a:stretch>
        </p:blipFill>
        <p:spPr>
          <a:xfrm>
            <a:off x="5682160" y="604019"/>
            <a:ext cx="5524640" cy="5649962"/>
          </a:xfrm>
          <a:prstGeom prst="rect">
            <a:avLst/>
          </a:prstGeom>
        </p:spPr>
      </p:pic>
      <p:sp>
        <p:nvSpPr>
          <p:cNvPr id="6" name="TextBox 5">
            <a:extLst>
              <a:ext uri="{FF2B5EF4-FFF2-40B4-BE49-F238E27FC236}">
                <a16:creationId xmlns:a16="http://schemas.microsoft.com/office/drawing/2014/main" id="{C2EA0F8B-2B1B-44E9-AE47-430A43004B72}"/>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rgbClr val="A6A6A6"/>
                </a:solidFill>
                <a:latin typeface="Verdana"/>
              </a:rPr>
              <a:t>Sustainability </a:t>
            </a:r>
            <a:r>
              <a:rPr lang="en-GB" sz="800" dirty="0">
                <a:solidFill>
                  <a:srgbClr val="B7B7B7"/>
                </a:solidFill>
                <a:latin typeface="Verdana"/>
              </a:rPr>
              <a:t>│ Procurement </a:t>
            </a:r>
            <a:r>
              <a:rPr lang="en-GB" sz="800" dirty="0">
                <a:solidFill>
                  <a:schemeClr val="bg1">
                    <a:lumMod val="65000"/>
                  </a:schemeClr>
                </a:solidFill>
                <a:latin typeface="Verdana"/>
              </a:rPr>
              <a:t>│ Contract Management </a:t>
            </a:r>
            <a:r>
              <a:rPr lang="en-GB" sz="800" dirty="0">
                <a:solidFill>
                  <a:schemeClr val="accent1"/>
                </a:solidFill>
                <a:latin typeface="Verdana"/>
              </a:rPr>
              <a:t>│ How to do it</a:t>
            </a:r>
          </a:p>
        </p:txBody>
      </p:sp>
    </p:spTree>
    <p:extLst>
      <p:ext uri="{BB962C8B-B14F-4D97-AF65-F5344CB8AC3E}">
        <p14:creationId xmlns:p14="http://schemas.microsoft.com/office/powerpoint/2010/main" val="3947440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6B4B39B-DF85-4B55-B62B-83588FE01D90}"/>
              </a:ext>
            </a:extLst>
          </p:cNvPr>
          <p:cNvSpPr>
            <a:spLocks noGrp="1"/>
          </p:cNvSpPr>
          <p:nvPr>
            <p:ph type="sldNum" sz="quarter" idx="4"/>
          </p:nvPr>
        </p:nvSpPr>
        <p:spPr/>
        <p:txBody>
          <a:bodyPr/>
          <a:lstStyle/>
          <a:p>
            <a:fld id="{24C8C45C-947F-4981-8B3F-4F32E973C901}" type="slidenum">
              <a:rPr lang="en-GB" smtClean="0"/>
              <a:pPr/>
              <a:t>22</a:t>
            </a:fld>
            <a:endParaRPr lang="en-GB" dirty="0"/>
          </a:p>
        </p:txBody>
      </p:sp>
      <p:sp>
        <p:nvSpPr>
          <p:cNvPr id="3" name="Title 2">
            <a:extLst>
              <a:ext uri="{FF2B5EF4-FFF2-40B4-BE49-F238E27FC236}">
                <a16:creationId xmlns:a16="http://schemas.microsoft.com/office/drawing/2014/main" id="{2B2E5716-378F-442A-AD23-1C1C5A9D168C}"/>
              </a:ext>
            </a:extLst>
          </p:cNvPr>
          <p:cNvSpPr>
            <a:spLocks noGrp="1"/>
          </p:cNvSpPr>
          <p:nvPr>
            <p:ph type="ctrTitle"/>
          </p:nvPr>
        </p:nvSpPr>
        <p:spPr/>
        <p:txBody>
          <a:bodyPr/>
          <a:lstStyle/>
          <a:p>
            <a:r>
              <a:rPr lang="en-GB" sz="4800" dirty="0"/>
              <a:t>Thank you for your time…</a:t>
            </a:r>
            <a:br>
              <a:rPr lang="en-GB" sz="4800" dirty="0"/>
            </a:br>
            <a:endParaRPr lang="en-GB" sz="4800" dirty="0"/>
          </a:p>
        </p:txBody>
      </p:sp>
      <p:sp>
        <p:nvSpPr>
          <p:cNvPr id="6" name="object 4">
            <a:extLst>
              <a:ext uri="{FF2B5EF4-FFF2-40B4-BE49-F238E27FC236}">
                <a16:creationId xmlns:a16="http://schemas.microsoft.com/office/drawing/2014/main" id="{2CD1E48A-3C64-41EA-A00F-43E2B09F993A}"/>
              </a:ext>
            </a:extLst>
          </p:cNvPr>
          <p:cNvSpPr txBox="1"/>
          <p:nvPr/>
        </p:nvSpPr>
        <p:spPr>
          <a:xfrm>
            <a:off x="8396539" y="3551007"/>
            <a:ext cx="3282334" cy="1405116"/>
          </a:xfrm>
          <a:prstGeom prst="rect">
            <a:avLst/>
          </a:prstGeom>
        </p:spPr>
        <p:txBody>
          <a:bodyPr vert="horz" wrap="square" lIns="0" tIns="12688" rIns="0" bIns="0" rtlCol="0">
            <a:spAutoFit/>
          </a:bodyPr>
          <a:lstStyle/>
          <a:p>
            <a:pPr defTabSz="913577"/>
            <a:r>
              <a:rPr lang="en-GB" sz="1200" dirty="0">
                <a:latin typeface="+mj-lt"/>
                <a:cs typeface="Gotham Rounded Medium"/>
              </a:rPr>
              <a:t>Lars</a:t>
            </a:r>
            <a:r>
              <a:rPr lang="en-GB" sz="1200" spc="-20" dirty="0">
                <a:latin typeface="+mj-lt"/>
                <a:cs typeface="Gotham Rounded Medium"/>
              </a:rPr>
              <a:t> </a:t>
            </a:r>
            <a:r>
              <a:rPr lang="en-GB" sz="1200" dirty="0">
                <a:latin typeface="+mj-lt"/>
                <a:cs typeface="Gotham Rounded Medium"/>
              </a:rPr>
              <a:t>Boe</a:t>
            </a:r>
            <a:r>
              <a:rPr lang="en-GB" sz="1200" spc="-20" dirty="0">
                <a:latin typeface="+mj-lt"/>
                <a:cs typeface="Gotham Rounded Medium"/>
              </a:rPr>
              <a:t> </a:t>
            </a:r>
            <a:r>
              <a:rPr lang="en-GB" sz="1200" dirty="0">
                <a:latin typeface="+mj-lt"/>
                <a:cs typeface="Gotham Rounded Medium"/>
              </a:rPr>
              <a:t>Riber</a:t>
            </a:r>
          </a:p>
          <a:p>
            <a:pPr defTabSz="913577"/>
            <a:endParaRPr lang="en-GB" sz="1200" dirty="0">
              <a:latin typeface="+mj-lt"/>
              <a:cs typeface="Gotham Rounded Light"/>
            </a:endParaRPr>
          </a:p>
          <a:p>
            <a:pPr defTabSz="913577"/>
            <a:r>
              <a:rPr lang="en-GB" sz="1200" dirty="0">
                <a:latin typeface="+mj-lt"/>
                <a:cs typeface="Gotham Rounded Light"/>
              </a:rPr>
              <a:t>Manager</a:t>
            </a:r>
          </a:p>
          <a:p>
            <a:pPr marR="5075" defTabSz="913577">
              <a:lnSpc>
                <a:spcPct val="118100"/>
              </a:lnSpc>
            </a:pPr>
            <a:r>
              <a:rPr lang="en-GB" sz="1200" dirty="0">
                <a:latin typeface="+mj-lt"/>
                <a:cs typeface="Gotham Rounded Light"/>
              </a:rPr>
              <a:t>Legal</a:t>
            </a:r>
            <a:r>
              <a:rPr lang="en-GB" sz="1200" spc="-25" dirty="0">
                <a:latin typeface="+mj-lt"/>
                <a:cs typeface="Gotham Rounded Light"/>
              </a:rPr>
              <a:t> </a:t>
            </a:r>
            <a:r>
              <a:rPr lang="en-GB" sz="1200" dirty="0">
                <a:latin typeface="+mj-lt"/>
                <a:cs typeface="Gotham Rounded Light"/>
              </a:rPr>
              <a:t>&amp;</a:t>
            </a:r>
            <a:r>
              <a:rPr lang="en-GB" sz="1200" spc="-25" dirty="0">
                <a:latin typeface="+mj-lt"/>
                <a:cs typeface="Gotham Rounded Light"/>
              </a:rPr>
              <a:t> </a:t>
            </a:r>
            <a:r>
              <a:rPr lang="en-GB" sz="1200" dirty="0">
                <a:latin typeface="+mj-lt"/>
                <a:cs typeface="Gotham Rounded Light"/>
              </a:rPr>
              <a:t>Contract</a:t>
            </a:r>
            <a:r>
              <a:rPr lang="en-GB" sz="1200" spc="-25" dirty="0">
                <a:latin typeface="+mj-lt"/>
                <a:cs typeface="Gotham Rounded Light"/>
              </a:rPr>
              <a:t> </a:t>
            </a:r>
            <a:r>
              <a:rPr lang="en-GB" sz="1200" dirty="0">
                <a:latin typeface="+mj-lt"/>
                <a:cs typeface="Gotham Rounded Light"/>
              </a:rPr>
              <a:t>Management</a:t>
            </a:r>
            <a:r>
              <a:rPr lang="en-GB" sz="1200" spc="-25" dirty="0">
                <a:latin typeface="+mj-lt"/>
                <a:cs typeface="Gotham Rounded Light"/>
              </a:rPr>
              <a:t> </a:t>
            </a:r>
            <a:r>
              <a:rPr lang="en-GB" sz="1200" dirty="0">
                <a:latin typeface="+mj-lt"/>
                <a:cs typeface="Gotham Rounded Light"/>
              </a:rPr>
              <a:t>Consulting</a:t>
            </a:r>
          </a:p>
          <a:p>
            <a:pPr marR="5075" defTabSz="913577">
              <a:lnSpc>
                <a:spcPct val="118100"/>
              </a:lnSpc>
            </a:pPr>
            <a:endParaRPr lang="en-GB" sz="1200" dirty="0">
              <a:latin typeface="+mj-lt"/>
              <a:cs typeface="Gotham Rounded Light"/>
            </a:endParaRPr>
          </a:p>
          <a:p>
            <a:pPr marR="5075" defTabSz="913577">
              <a:lnSpc>
                <a:spcPct val="118100"/>
              </a:lnSpc>
            </a:pPr>
            <a:r>
              <a:rPr lang="en-GB" sz="1200" dirty="0">
                <a:latin typeface="+mj-lt"/>
                <a:cs typeface="Gotham Rounded Light"/>
              </a:rPr>
              <a:t>T</a:t>
            </a:r>
            <a:r>
              <a:rPr lang="en-GB" sz="1200" spc="-5" dirty="0">
                <a:latin typeface="+mj-lt"/>
                <a:cs typeface="Gotham Rounded Light"/>
              </a:rPr>
              <a:t> </a:t>
            </a:r>
            <a:r>
              <a:rPr lang="en-GB" sz="1200" dirty="0">
                <a:latin typeface="+mj-lt"/>
                <a:cs typeface="Gotham Rounded Light"/>
              </a:rPr>
              <a:t>+45 51613570</a:t>
            </a:r>
          </a:p>
          <a:p>
            <a:pPr defTabSz="913577"/>
            <a:r>
              <a:rPr lang="en-GB" sz="1200" dirty="0">
                <a:latin typeface="+mj-lt"/>
                <a:cs typeface="Gotham Rounded Light"/>
                <a:hlinkClick r:id="rId2">
                  <a:extLst>
                    <a:ext uri="{A12FA001-AC4F-418D-AE19-62706E023703}">
                      <ahyp:hlinkClr xmlns:ahyp="http://schemas.microsoft.com/office/drawing/2018/hyperlinkcolor" val="tx"/>
                    </a:ext>
                  </a:extLst>
                </a:hlinkClick>
              </a:rPr>
              <a:t>lbri@ramboll.com</a:t>
            </a:r>
            <a:endParaRPr lang="en-GB" sz="1200" dirty="0">
              <a:latin typeface="+mj-lt"/>
              <a:cs typeface="Gotham Rounded Light"/>
            </a:endParaRPr>
          </a:p>
        </p:txBody>
      </p:sp>
      <p:pic>
        <p:nvPicPr>
          <p:cNvPr id="11" name="Picture 10">
            <a:extLst>
              <a:ext uri="{FF2B5EF4-FFF2-40B4-BE49-F238E27FC236}">
                <a16:creationId xmlns:a16="http://schemas.microsoft.com/office/drawing/2014/main" id="{5F3DAB7A-8954-434F-BCF6-D8AF199BDB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4358" y="3551007"/>
            <a:ext cx="1283339" cy="1405116"/>
          </a:xfrm>
          <a:prstGeom prst="rect">
            <a:avLst/>
          </a:prstGeom>
        </p:spPr>
      </p:pic>
      <p:sp>
        <p:nvSpPr>
          <p:cNvPr id="7" name="Title 2">
            <a:extLst>
              <a:ext uri="{FF2B5EF4-FFF2-40B4-BE49-F238E27FC236}">
                <a16:creationId xmlns:a16="http://schemas.microsoft.com/office/drawing/2014/main" id="{D66F87CF-16CD-46CF-9FAE-0CD4D1BC30BF}"/>
              </a:ext>
            </a:extLst>
          </p:cNvPr>
          <p:cNvSpPr txBox="1">
            <a:spLocks/>
          </p:cNvSpPr>
          <p:nvPr/>
        </p:nvSpPr>
        <p:spPr bwMode="white">
          <a:xfrm>
            <a:off x="360000" y="1592263"/>
            <a:ext cx="11471638" cy="938213"/>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6000" kern="1200">
                <a:solidFill>
                  <a:schemeClr val="bg2"/>
                </a:solidFill>
                <a:latin typeface="+mj-lt"/>
                <a:ea typeface="+mj-ea"/>
                <a:cs typeface="+mj-cs"/>
              </a:defRPr>
            </a:lvl1pPr>
          </a:lstStyle>
          <a:p>
            <a:pPr algn="r"/>
            <a:r>
              <a:rPr lang="en-GB" sz="4800" dirty="0"/>
              <a:t>…questions?</a:t>
            </a:r>
          </a:p>
        </p:txBody>
      </p:sp>
      <p:sp>
        <p:nvSpPr>
          <p:cNvPr id="8" name="object 4">
            <a:extLst>
              <a:ext uri="{FF2B5EF4-FFF2-40B4-BE49-F238E27FC236}">
                <a16:creationId xmlns:a16="http://schemas.microsoft.com/office/drawing/2014/main" id="{C0A5136C-E9F2-4228-B587-A9B15E86DC4F}"/>
              </a:ext>
            </a:extLst>
          </p:cNvPr>
          <p:cNvSpPr txBox="1"/>
          <p:nvPr/>
        </p:nvSpPr>
        <p:spPr>
          <a:xfrm>
            <a:off x="1812181" y="3551007"/>
            <a:ext cx="3282334" cy="1405116"/>
          </a:xfrm>
          <a:prstGeom prst="rect">
            <a:avLst/>
          </a:prstGeom>
        </p:spPr>
        <p:txBody>
          <a:bodyPr vert="horz" wrap="square" lIns="0" tIns="12688" rIns="0" bIns="0" rtlCol="0">
            <a:spAutoFit/>
          </a:bodyPr>
          <a:lstStyle/>
          <a:p>
            <a:pPr defTabSz="913577"/>
            <a:r>
              <a:rPr lang="en-GB" sz="1200" dirty="0">
                <a:latin typeface="+mj-lt"/>
                <a:cs typeface="Gotham Rounded Medium"/>
              </a:rPr>
              <a:t>René Søegaard</a:t>
            </a:r>
          </a:p>
          <a:p>
            <a:pPr defTabSz="913577"/>
            <a:endParaRPr lang="en-GB" sz="1200" dirty="0">
              <a:latin typeface="+mj-lt"/>
              <a:cs typeface="Gotham Rounded Light"/>
            </a:endParaRPr>
          </a:p>
          <a:p>
            <a:pPr defTabSz="913577"/>
            <a:r>
              <a:rPr lang="en-GB" sz="1200">
                <a:latin typeface="+mj-lt"/>
                <a:cs typeface="Gotham Rounded Light"/>
              </a:rPr>
              <a:t>Director</a:t>
            </a:r>
            <a:endParaRPr lang="en-GB" sz="1200" dirty="0">
              <a:latin typeface="+mj-lt"/>
              <a:cs typeface="Gotham Rounded Light"/>
            </a:endParaRPr>
          </a:p>
          <a:p>
            <a:pPr marR="5075" defTabSz="913577">
              <a:lnSpc>
                <a:spcPct val="118100"/>
              </a:lnSpc>
            </a:pPr>
            <a:r>
              <a:rPr lang="en-GB" sz="1200" dirty="0">
                <a:latin typeface="+mj-lt"/>
                <a:cs typeface="Gotham Rounded Light"/>
              </a:rPr>
              <a:t>Legal</a:t>
            </a:r>
            <a:r>
              <a:rPr lang="en-GB" sz="1200" spc="-25" dirty="0">
                <a:latin typeface="+mj-lt"/>
                <a:cs typeface="Gotham Rounded Light"/>
              </a:rPr>
              <a:t> </a:t>
            </a:r>
            <a:r>
              <a:rPr lang="en-GB" sz="1200" dirty="0">
                <a:latin typeface="+mj-lt"/>
                <a:cs typeface="Gotham Rounded Light"/>
              </a:rPr>
              <a:t>&amp;</a:t>
            </a:r>
            <a:r>
              <a:rPr lang="en-GB" sz="1200" spc="-25" dirty="0">
                <a:latin typeface="+mj-lt"/>
                <a:cs typeface="Gotham Rounded Light"/>
              </a:rPr>
              <a:t> </a:t>
            </a:r>
            <a:r>
              <a:rPr lang="en-GB" sz="1200" dirty="0">
                <a:latin typeface="+mj-lt"/>
                <a:cs typeface="Gotham Rounded Light"/>
              </a:rPr>
              <a:t>Contract</a:t>
            </a:r>
            <a:r>
              <a:rPr lang="en-GB" sz="1200" spc="-25" dirty="0">
                <a:latin typeface="+mj-lt"/>
                <a:cs typeface="Gotham Rounded Light"/>
              </a:rPr>
              <a:t> </a:t>
            </a:r>
            <a:r>
              <a:rPr lang="en-GB" sz="1200" dirty="0">
                <a:latin typeface="+mj-lt"/>
                <a:cs typeface="Gotham Rounded Light"/>
              </a:rPr>
              <a:t>Management</a:t>
            </a:r>
            <a:r>
              <a:rPr lang="en-GB" sz="1200" spc="-25" dirty="0">
                <a:latin typeface="+mj-lt"/>
                <a:cs typeface="Gotham Rounded Light"/>
              </a:rPr>
              <a:t> </a:t>
            </a:r>
            <a:r>
              <a:rPr lang="en-GB" sz="1200" dirty="0">
                <a:latin typeface="+mj-lt"/>
                <a:cs typeface="Gotham Rounded Light"/>
              </a:rPr>
              <a:t>Consulting</a:t>
            </a:r>
          </a:p>
          <a:p>
            <a:pPr marR="5075" defTabSz="913577">
              <a:lnSpc>
                <a:spcPct val="118100"/>
              </a:lnSpc>
            </a:pPr>
            <a:endParaRPr lang="en-GB" sz="1200" dirty="0">
              <a:latin typeface="+mj-lt"/>
              <a:cs typeface="Gotham Rounded Light"/>
            </a:endParaRPr>
          </a:p>
          <a:p>
            <a:pPr marR="5075" defTabSz="913577">
              <a:lnSpc>
                <a:spcPct val="118100"/>
              </a:lnSpc>
            </a:pPr>
            <a:r>
              <a:rPr lang="en-GB" sz="1200" dirty="0">
                <a:latin typeface="+mj-lt"/>
                <a:cs typeface="Gotham Rounded Light"/>
              </a:rPr>
              <a:t>T</a:t>
            </a:r>
            <a:r>
              <a:rPr lang="en-GB" sz="1200" spc="-5" dirty="0">
                <a:latin typeface="+mj-lt"/>
                <a:cs typeface="Gotham Rounded Light"/>
              </a:rPr>
              <a:t> </a:t>
            </a:r>
            <a:r>
              <a:rPr lang="en-GB" sz="1200" dirty="0">
                <a:latin typeface="+mj-lt"/>
                <a:cs typeface="Gotham Rounded Light"/>
              </a:rPr>
              <a:t>+45 51611445</a:t>
            </a:r>
          </a:p>
          <a:p>
            <a:pPr defTabSz="913577"/>
            <a:r>
              <a:rPr lang="en-GB" sz="1200" dirty="0">
                <a:latin typeface="+mj-lt"/>
                <a:cs typeface="Gotham Rounded Light"/>
                <a:hlinkClick r:id="rId4">
                  <a:extLst>
                    <a:ext uri="{A12FA001-AC4F-418D-AE19-62706E023703}">
                      <ahyp:hlinkClr xmlns:ahyp="http://schemas.microsoft.com/office/drawing/2018/hyperlinkcolor" val="tx"/>
                    </a:ext>
                  </a:extLst>
                </a:hlinkClick>
              </a:rPr>
              <a:t>rsoe@ramboll.com</a:t>
            </a:r>
            <a:r>
              <a:rPr lang="en-GB" sz="1200" dirty="0">
                <a:latin typeface="+mj-lt"/>
                <a:cs typeface="Gotham Rounded Light"/>
              </a:rPr>
              <a:t> </a:t>
            </a:r>
          </a:p>
        </p:txBody>
      </p:sp>
      <p:pic>
        <p:nvPicPr>
          <p:cNvPr id="5" name="Picture 4">
            <a:extLst>
              <a:ext uri="{FF2B5EF4-FFF2-40B4-BE49-F238E27FC236}">
                <a16:creationId xmlns:a16="http://schemas.microsoft.com/office/drawing/2014/main" id="{866C0366-A096-4CEE-AC95-7E0311778E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8139" y="3551007"/>
            <a:ext cx="1285200" cy="1407153"/>
          </a:xfrm>
          <a:prstGeom prst="rect">
            <a:avLst/>
          </a:prstGeom>
        </p:spPr>
      </p:pic>
    </p:spTree>
    <p:extLst>
      <p:ext uri="{BB962C8B-B14F-4D97-AF65-F5344CB8AC3E}">
        <p14:creationId xmlns:p14="http://schemas.microsoft.com/office/powerpoint/2010/main" val="37406269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3EBAA8-B631-49B6-8D69-865324F83D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532" imgH="533" progId="TCLayout.ActiveDocument.1">
                  <p:embed/>
                </p:oleObj>
              </mc:Choice>
              <mc:Fallback>
                <p:oleObj name="think-cell Slide" r:id="rId4" imgW="532" imgH="533" progId="TCLayout.ActiveDocument.1">
                  <p:embed/>
                  <p:pic>
                    <p:nvPicPr>
                      <p:cNvPr id="5" name="Object 4" hidden="1">
                        <a:extLst>
                          <a:ext uri="{FF2B5EF4-FFF2-40B4-BE49-F238E27FC236}">
                            <a16:creationId xmlns:a16="http://schemas.microsoft.com/office/drawing/2014/main" id="{223EBAA8-B631-49B6-8D69-865324F83D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6AFDAF2-6981-4409-A644-6853CC0DC66E}"/>
              </a:ext>
            </a:extLst>
          </p:cNvPr>
          <p:cNvSpPr>
            <a:spLocks noGrp="1"/>
          </p:cNvSpPr>
          <p:nvPr>
            <p:ph type="sldNum" sz="quarter" idx="4"/>
          </p:nvPr>
        </p:nvSpPr>
        <p:spPr/>
        <p:txBody>
          <a:bodyPr/>
          <a:lstStyle/>
          <a:p>
            <a:fld id="{24C8C45C-947F-4981-8B3F-4F32E973C901}" type="slidenum">
              <a:rPr lang="en-GB" smtClean="0"/>
              <a:pPr/>
              <a:t>23</a:t>
            </a:fld>
            <a:endParaRPr lang="en-GB" dirty="0"/>
          </a:p>
        </p:txBody>
      </p:sp>
    </p:spTree>
    <p:extLst>
      <p:ext uri="{BB962C8B-B14F-4D97-AF65-F5344CB8AC3E}">
        <p14:creationId xmlns:p14="http://schemas.microsoft.com/office/powerpoint/2010/main" val="10952068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D8769-5441-431A-B995-6C0CE946DF05}"/>
              </a:ext>
            </a:extLst>
          </p:cNvPr>
          <p:cNvSpPr>
            <a:spLocks noGrp="1"/>
          </p:cNvSpPr>
          <p:nvPr>
            <p:ph type="title"/>
          </p:nvPr>
        </p:nvSpPr>
        <p:spPr/>
        <p:txBody>
          <a:bodyPr/>
          <a:lstStyle/>
          <a:p>
            <a:r>
              <a:rPr lang="en-GB" dirty="0"/>
              <a:t>Who we are</a:t>
            </a:r>
          </a:p>
        </p:txBody>
      </p:sp>
      <p:sp>
        <p:nvSpPr>
          <p:cNvPr id="4" name="Slide Number Placeholder 3">
            <a:extLst>
              <a:ext uri="{FF2B5EF4-FFF2-40B4-BE49-F238E27FC236}">
                <a16:creationId xmlns:a16="http://schemas.microsoft.com/office/drawing/2014/main" id="{56928D92-5801-4753-9A43-3270E3E49112}"/>
              </a:ext>
            </a:extLst>
          </p:cNvPr>
          <p:cNvSpPr>
            <a:spLocks noGrp="1"/>
          </p:cNvSpPr>
          <p:nvPr>
            <p:ph type="sldNum" sz="quarter" idx="12"/>
          </p:nvPr>
        </p:nvSpPr>
        <p:spPr/>
        <p:txBody>
          <a:bodyPr/>
          <a:lstStyle/>
          <a:p>
            <a:fld id="{23AA811B-2EBD-4900-905E-5BE206449611}" type="slidenum">
              <a:rPr lang="en-GB" smtClean="0"/>
              <a:pPr/>
              <a:t>3</a:t>
            </a:fld>
            <a:endParaRPr lang="en-GB" dirty="0"/>
          </a:p>
        </p:txBody>
      </p:sp>
      <p:sp>
        <p:nvSpPr>
          <p:cNvPr id="5" name="Content Placeholder 5">
            <a:extLst>
              <a:ext uri="{FF2B5EF4-FFF2-40B4-BE49-F238E27FC236}">
                <a16:creationId xmlns:a16="http://schemas.microsoft.com/office/drawing/2014/main" id="{B49DD8F5-D2C8-4225-8F58-A2EED30C3D12}"/>
              </a:ext>
            </a:extLst>
          </p:cNvPr>
          <p:cNvSpPr>
            <a:spLocks noGrp="1"/>
          </p:cNvSpPr>
          <p:nvPr>
            <p:ph idx="1"/>
          </p:nvPr>
        </p:nvSpPr>
        <p:spPr>
          <a:xfrm>
            <a:off x="359999" y="1829496"/>
            <a:ext cx="5558400" cy="4296001"/>
          </a:xfrm>
        </p:spPr>
        <p:txBody>
          <a:bodyPr/>
          <a:lstStyle/>
          <a:p>
            <a:r>
              <a:rPr lang="en-GB" sz="1000" dirty="0" err="1">
                <a:solidFill>
                  <a:srgbClr val="273943"/>
                </a:solidFill>
              </a:rPr>
              <a:t>dfdf</a:t>
            </a:r>
            <a:endParaRPr lang="en-GB" sz="1000" dirty="0">
              <a:solidFill>
                <a:srgbClr val="273943"/>
              </a:solidFill>
            </a:endParaRPr>
          </a:p>
        </p:txBody>
      </p:sp>
      <p:sp>
        <p:nvSpPr>
          <p:cNvPr id="6" name="TextBox 5">
            <a:extLst>
              <a:ext uri="{FF2B5EF4-FFF2-40B4-BE49-F238E27FC236}">
                <a16:creationId xmlns:a16="http://schemas.microsoft.com/office/drawing/2014/main" id="{73D48CA3-B5C3-41F7-A8A9-B1FC5D2D9780}"/>
              </a:ext>
            </a:extLst>
          </p:cNvPr>
          <p:cNvSpPr txBox="1"/>
          <p:nvPr/>
        </p:nvSpPr>
        <p:spPr bwMode="auto">
          <a:xfrm>
            <a:off x="6274799" y="3569751"/>
            <a:ext cx="5559552" cy="26314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spcAft>
                <a:spcPts val="600"/>
              </a:spcAft>
              <a:buFontTx/>
              <a:buNone/>
            </a:pPr>
            <a:r>
              <a:rPr lang="en-GB" sz="1400" dirty="0">
                <a:solidFill>
                  <a:srgbClr val="009DF0"/>
                </a:solidFill>
                <a:latin typeface="+mj-lt"/>
                <a:ea typeface="ＭＳ Ｐゴシック" pitchFamily="-111" charset="-128"/>
              </a:rPr>
              <a:t>Primary work areas</a:t>
            </a:r>
          </a:p>
          <a:p>
            <a:pPr marL="144000" indent="-144000">
              <a:spcAft>
                <a:spcPts val="600"/>
              </a:spcAft>
              <a:buFont typeface="Arial" panose="020B0604020202020204" pitchFamily="34" charset="0"/>
              <a:buChar char="•"/>
            </a:pPr>
            <a:r>
              <a:rPr lang="en-GB" sz="1050" dirty="0">
                <a:solidFill>
                  <a:srgbClr val="273943"/>
                </a:solidFill>
              </a:rPr>
              <a:t>Construction and infrastructure advisory services</a:t>
            </a:r>
          </a:p>
          <a:p>
            <a:pPr marL="144000" indent="-144000">
              <a:spcAft>
                <a:spcPts val="600"/>
              </a:spcAft>
              <a:buFont typeface="Arial" panose="020B0604020202020204" pitchFamily="34" charset="0"/>
              <a:buChar char="•"/>
            </a:pPr>
            <a:r>
              <a:rPr lang="en-GB" sz="1050" dirty="0">
                <a:solidFill>
                  <a:srgbClr val="273943"/>
                </a:solidFill>
              </a:rPr>
              <a:t>Procurement and contract management</a:t>
            </a:r>
          </a:p>
          <a:p>
            <a:pPr marL="144000" indent="-144000">
              <a:spcAft>
                <a:spcPts val="600"/>
              </a:spcAft>
              <a:buFont typeface="Arial" panose="020B0604020202020204" pitchFamily="34" charset="0"/>
              <a:buChar char="•"/>
            </a:pPr>
            <a:r>
              <a:rPr lang="en-GB" sz="1050" dirty="0">
                <a:solidFill>
                  <a:srgbClr val="273943"/>
                </a:solidFill>
              </a:rPr>
              <a:t>Legal services</a:t>
            </a:r>
          </a:p>
          <a:p>
            <a:pPr>
              <a:spcAft>
                <a:spcPts val="600"/>
              </a:spcAft>
              <a:buFontTx/>
              <a:buNone/>
            </a:pPr>
            <a:endParaRPr lang="en-GB" sz="600" spc="0" dirty="0">
              <a:solidFill>
                <a:srgbClr val="000000"/>
              </a:solidFill>
              <a:latin typeface="+mj-lt"/>
              <a:ea typeface="ＭＳ Ｐゴシック" pitchFamily="-111" charset="-128"/>
            </a:endParaRPr>
          </a:p>
          <a:p>
            <a:pPr>
              <a:spcAft>
                <a:spcPts val="600"/>
              </a:spcAft>
            </a:pPr>
            <a:r>
              <a:rPr lang="en-GB" sz="1400" dirty="0">
                <a:solidFill>
                  <a:srgbClr val="009DF0"/>
                </a:solidFill>
                <a:latin typeface="+mj-lt"/>
                <a:ea typeface="ＭＳ Ｐゴシック" pitchFamily="-111" charset="-128"/>
              </a:rPr>
              <a:t>Key words</a:t>
            </a:r>
          </a:p>
          <a:p>
            <a:pPr marL="144000" indent="-144000">
              <a:spcAft>
                <a:spcPts val="600"/>
              </a:spcAft>
              <a:buFont typeface="Arial" panose="020B0604020202020204" pitchFamily="34" charset="0"/>
              <a:buChar char="•"/>
            </a:pPr>
            <a:r>
              <a:rPr lang="en-GB" sz="1050" dirty="0">
                <a:solidFill>
                  <a:srgbClr val="273943"/>
                </a:solidFill>
              </a:rPr>
              <a:t>Focus on business oriented and implementable solutions</a:t>
            </a:r>
          </a:p>
          <a:p>
            <a:pPr marL="144000" indent="-144000">
              <a:spcAft>
                <a:spcPts val="600"/>
              </a:spcAft>
              <a:buFont typeface="Arial" panose="020B0604020202020204" pitchFamily="34" charset="0"/>
              <a:buChar char="•"/>
            </a:pPr>
            <a:r>
              <a:rPr lang="en-GB" sz="1050" dirty="0">
                <a:solidFill>
                  <a:srgbClr val="273943"/>
                </a:solidFill>
              </a:rPr>
              <a:t>Operational experience from both buy and sell side</a:t>
            </a:r>
          </a:p>
          <a:p>
            <a:pPr marL="144000" indent="-144000">
              <a:spcAft>
                <a:spcPts val="600"/>
              </a:spcAft>
              <a:buFont typeface="Arial" panose="020B0604020202020204" pitchFamily="34" charset="0"/>
              <a:buChar char="•"/>
            </a:pPr>
            <a:r>
              <a:rPr lang="en-GB" sz="1050" dirty="0">
                <a:solidFill>
                  <a:srgbClr val="273943"/>
                </a:solidFill>
              </a:rPr>
              <a:t>International experience in large and small scale project</a:t>
            </a:r>
          </a:p>
          <a:p>
            <a:pPr marL="144000" indent="-144000">
              <a:spcAft>
                <a:spcPts val="600"/>
              </a:spcAft>
              <a:buFont typeface="Arial" panose="020B0604020202020204" pitchFamily="34" charset="0"/>
              <a:buChar char="•"/>
            </a:pPr>
            <a:r>
              <a:rPr lang="en-GB" sz="1050" dirty="0">
                <a:solidFill>
                  <a:srgbClr val="273943"/>
                </a:solidFill>
              </a:rPr>
              <a:t>Working within contract management roles since 2012</a:t>
            </a:r>
          </a:p>
          <a:p>
            <a:pPr marL="144000" indent="-144000">
              <a:spcAft>
                <a:spcPts val="600"/>
              </a:spcAft>
              <a:buFont typeface="Arial" panose="020B0604020202020204" pitchFamily="34" charset="0"/>
              <a:buChar char="•"/>
            </a:pPr>
            <a:r>
              <a:rPr lang="en-GB" sz="1050" dirty="0">
                <a:solidFill>
                  <a:srgbClr val="273943"/>
                </a:solidFill>
              </a:rPr>
              <a:t>Formal legal education</a:t>
            </a:r>
          </a:p>
        </p:txBody>
      </p:sp>
      <p:sp>
        <p:nvSpPr>
          <p:cNvPr id="7" name="TextBox 6">
            <a:extLst>
              <a:ext uri="{FF2B5EF4-FFF2-40B4-BE49-F238E27FC236}">
                <a16:creationId xmlns:a16="http://schemas.microsoft.com/office/drawing/2014/main" id="{0E78B83B-992F-4BA7-95BA-00909EFD629F}"/>
              </a:ext>
            </a:extLst>
          </p:cNvPr>
          <p:cNvSpPr txBox="1"/>
          <p:nvPr/>
        </p:nvSpPr>
        <p:spPr bwMode="auto">
          <a:xfrm>
            <a:off x="359999" y="3569751"/>
            <a:ext cx="5559552" cy="239296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spcAft>
                <a:spcPts val="600"/>
              </a:spcAft>
            </a:pPr>
            <a:r>
              <a:rPr lang="en-GB" sz="1400" dirty="0">
                <a:solidFill>
                  <a:srgbClr val="009DF0"/>
                </a:solidFill>
                <a:latin typeface="+mj-lt"/>
                <a:ea typeface="ＭＳ Ｐゴシック" pitchFamily="-111" charset="-128"/>
              </a:rPr>
              <a:t>Primary work areas</a:t>
            </a:r>
          </a:p>
          <a:p>
            <a:pPr marL="144000" indent="-144000">
              <a:spcAft>
                <a:spcPts val="600"/>
              </a:spcAft>
              <a:buFont typeface="Arial" panose="020B0604020202020204" pitchFamily="34" charset="0"/>
              <a:buChar char="•"/>
            </a:pPr>
            <a:r>
              <a:rPr lang="en-GB" sz="1050" dirty="0">
                <a:solidFill>
                  <a:srgbClr val="273943"/>
                </a:solidFill>
              </a:rPr>
              <a:t>Project contract management on major construction projects</a:t>
            </a:r>
          </a:p>
          <a:p>
            <a:pPr marL="144000" indent="-144000">
              <a:spcAft>
                <a:spcPts val="600"/>
              </a:spcAft>
              <a:buFont typeface="Arial" panose="020B0604020202020204" pitchFamily="34" charset="0"/>
              <a:buChar char="•"/>
            </a:pPr>
            <a:r>
              <a:rPr lang="en-GB" sz="1050" dirty="0">
                <a:solidFill>
                  <a:srgbClr val="273943"/>
                </a:solidFill>
              </a:rPr>
              <a:t>Contract and commercial advisory services</a:t>
            </a:r>
          </a:p>
          <a:p>
            <a:pPr marL="144000" indent="-144000">
              <a:spcAft>
                <a:spcPts val="600"/>
              </a:spcAft>
              <a:buFont typeface="Arial" panose="020B0604020202020204" pitchFamily="34" charset="0"/>
              <a:buChar char="•"/>
            </a:pPr>
            <a:r>
              <a:rPr lang="en-GB" sz="1050" dirty="0">
                <a:solidFill>
                  <a:srgbClr val="273943"/>
                </a:solidFill>
              </a:rPr>
              <a:t>Strategic advisory</a:t>
            </a:r>
          </a:p>
          <a:p>
            <a:pPr>
              <a:spcAft>
                <a:spcPts val="600"/>
              </a:spcAft>
            </a:pPr>
            <a:endParaRPr lang="en-GB" sz="600" dirty="0">
              <a:solidFill>
                <a:srgbClr val="000000"/>
              </a:solidFill>
              <a:latin typeface="+mj-lt"/>
              <a:ea typeface="ＭＳ Ｐゴシック" pitchFamily="-111" charset="-128"/>
            </a:endParaRPr>
          </a:p>
          <a:p>
            <a:pPr>
              <a:spcAft>
                <a:spcPts val="600"/>
              </a:spcAft>
            </a:pPr>
            <a:r>
              <a:rPr lang="en-GB" sz="1400" dirty="0">
                <a:solidFill>
                  <a:srgbClr val="009DF0"/>
                </a:solidFill>
                <a:latin typeface="+mj-lt"/>
                <a:ea typeface="ＭＳ Ｐゴシック" pitchFamily="-111" charset="-128"/>
              </a:rPr>
              <a:t>Key words</a:t>
            </a:r>
          </a:p>
          <a:p>
            <a:pPr marL="144000" indent="-144000">
              <a:spcAft>
                <a:spcPts val="600"/>
              </a:spcAft>
              <a:buFont typeface="Arial" panose="020B0604020202020204" pitchFamily="34" charset="0"/>
              <a:buChar char="•"/>
            </a:pPr>
            <a:r>
              <a:rPr lang="en-GB" sz="1050" dirty="0">
                <a:solidFill>
                  <a:srgbClr val="273943"/>
                </a:solidFill>
              </a:rPr>
              <a:t>Experienced Contract Management leader</a:t>
            </a:r>
          </a:p>
          <a:p>
            <a:pPr marL="144000" indent="-144000">
              <a:spcAft>
                <a:spcPts val="600"/>
              </a:spcAft>
              <a:buFont typeface="Arial" panose="020B0604020202020204" pitchFamily="34" charset="0"/>
              <a:buChar char="•"/>
            </a:pPr>
            <a:r>
              <a:rPr lang="en-GB" sz="1050" dirty="0">
                <a:solidFill>
                  <a:srgbClr val="273943"/>
                </a:solidFill>
              </a:rPr>
              <a:t>Wide experience within complex CAPEX-projects, onshore and offshore</a:t>
            </a:r>
          </a:p>
          <a:p>
            <a:pPr marL="144000" indent="-144000">
              <a:spcAft>
                <a:spcPts val="600"/>
              </a:spcAft>
              <a:buFont typeface="Arial" panose="020B0604020202020204" pitchFamily="34" charset="0"/>
              <a:buChar char="•"/>
            </a:pPr>
            <a:r>
              <a:rPr lang="en-GB" sz="1050" dirty="0">
                <a:solidFill>
                  <a:srgbClr val="273943"/>
                </a:solidFill>
              </a:rPr>
              <a:t>Vast FIDIC suite knowledge</a:t>
            </a:r>
          </a:p>
          <a:p>
            <a:pPr marL="144000" indent="-144000">
              <a:spcAft>
                <a:spcPts val="600"/>
              </a:spcAft>
              <a:buFont typeface="Arial" panose="020B0604020202020204" pitchFamily="34" charset="0"/>
              <a:buChar char="•"/>
            </a:pPr>
            <a:r>
              <a:rPr lang="en-GB" sz="1050" dirty="0">
                <a:solidFill>
                  <a:srgbClr val="273943"/>
                </a:solidFill>
              </a:rPr>
              <a:t>Procurement and supply chain experience</a:t>
            </a:r>
          </a:p>
        </p:txBody>
      </p:sp>
      <p:sp>
        <p:nvSpPr>
          <p:cNvPr id="8" name="Rectangle 7">
            <a:extLst>
              <a:ext uri="{FF2B5EF4-FFF2-40B4-BE49-F238E27FC236}">
                <a16:creationId xmlns:a16="http://schemas.microsoft.com/office/drawing/2014/main" id="{319FBD76-CAD1-4BBB-8B3F-CEA185F98B4F}"/>
              </a:ext>
            </a:extLst>
          </p:cNvPr>
          <p:cNvSpPr/>
          <p:nvPr/>
        </p:nvSpPr>
        <p:spPr>
          <a:xfrm>
            <a:off x="359999" y="1829496"/>
            <a:ext cx="5558400" cy="1599504"/>
          </a:xfrm>
          <a:prstGeom prst="rect">
            <a:avLst/>
          </a:prstGeom>
          <a:solidFill>
            <a:srgbClr val="009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9" name="Rectangle 8">
            <a:extLst>
              <a:ext uri="{FF2B5EF4-FFF2-40B4-BE49-F238E27FC236}">
                <a16:creationId xmlns:a16="http://schemas.microsoft.com/office/drawing/2014/main" id="{735C49B0-59A7-40AC-A843-AFE925E65506}"/>
              </a:ext>
            </a:extLst>
          </p:cNvPr>
          <p:cNvSpPr/>
          <p:nvPr/>
        </p:nvSpPr>
        <p:spPr>
          <a:xfrm>
            <a:off x="6274799" y="1829496"/>
            <a:ext cx="5558400" cy="1599504"/>
          </a:xfrm>
          <a:prstGeom prst="rect">
            <a:avLst/>
          </a:prstGeom>
          <a:solidFill>
            <a:srgbClr val="009D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10" name="Picture 9" descr="C:\Users\BESA\AppData\Local\Microsoft\Windows\Temporary Internet Files\Content.IE5\U2HRG7MB\LBRI.jpg">
            <a:extLst>
              <a:ext uri="{FF2B5EF4-FFF2-40B4-BE49-F238E27FC236}">
                <a16:creationId xmlns:a16="http://schemas.microsoft.com/office/drawing/2014/main" id="{E2940BC4-6885-4C2A-802C-479769B5DAC3}"/>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46249" y="1975452"/>
            <a:ext cx="1187936" cy="1307592"/>
          </a:xfrm>
          <a:prstGeom prst="rect">
            <a:avLst/>
          </a:prstGeom>
          <a:noFill/>
          <a:ln>
            <a:noFill/>
          </a:ln>
        </p:spPr>
      </p:pic>
      <p:pic>
        <p:nvPicPr>
          <p:cNvPr id="11" name="Picture 10">
            <a:extLst>
              <a:ext uri="{FF2B5EF4-FFF2-40B4-BE49-F238E27FC236}">
                <a16:creationId xmlns:a16="http://schemas.microsoft.com/office/drawing/2014/main" id="{60562E89-E517-429B-8A50-199EB2AA1C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1449" y="1975452"/>
            <a:ext cx="1194267" cy="1307592"/>
          </a:xfrm>
          <a:prstGeom prst="rect">
            <a:avLst/>
          </a:prstGeom>
        </p:spPr>
      </p:pic>
      <p:sp>
        <p:nvSpPr>
          <p:cNvPr id="12" name="TextBox 11">
            <a:extLst>
              <a:ext uri="{FF2B5EF4-FFF2-40B4-BE49-F238E27FC236}">
                <a16:creationId xmlns:a16="http://schemas.microsoft.com/office/drawing/2014/main" id="{B07E00B5-A654-42B9-ABB5-B7C1556AC950}"/>
              </a:ext>
            </a:extLst>
          </p:cNvPr>
          <p:cNvSpPr txBox="1"/>
          <p:nvPr/>
        </p:nvSpPr>
        <p:spPr bwMode="auto">
          <a:xfrm>
            <a:off x="7785727" y="1975452"/>
            <a:ext cx="3240360" cy="1331134"/>
          </a:xfrm>
          <a:prstGeom prst="rect">
            <a:avLst/>
          </a:prstGeom>
          <a:noFill/>
          <a:ln w="9525">
            <a:noFill/>
            <a:miter lim="800000"/>
            <a:headEnd/>
            <a:tailEnd/>
          </a:ln>
          <a:effectLst/>
        </p:spPr>
        <p:txBody>
          <a:bodyPr vert="horz" wrap="square" lIns="36000" tIns="0" rIns="0" bIns="0" numCol="1" rtlCol="0" anchor="t" anchorCtr="0" compatLnSpc="1">
            <a:prstTxWarp prst="textNoShape">
              <a:avLst/>
            </a:prstTxWarp>
            <a:spAutoFit/>
          </a:bodyPr>
          <a:lstStyle/>
          <a:p>
            <a:pPr marL="12700" indent="-25400" defTabSz="457200" eaLnBrk="0" hangingPunct="0">
              <a:spcAft>
                <a:spcPts val="300"/>
              </a:spcAft>
            </a:pPr>
            <a:r>
              <a:rPr lang="en-GB" sz="1400" dirty="0">
                <a:solidFill>
                  <a:schemeClr val="bg1"/>
                </a:solidFill>
                <a:latin typeface="+mj-lt"/>
                <a:ea typeface="ＭＳ Ｐゴシック" pitchFamily="-111" charset="-128"/>
              </a:rPr>
              <a:t>Lars </a:t>
            </a:r>
            <a:r>
              <a:rPr lang="en-GB" sz="1400" dirty="0" err="1">
                <a:solidFill>
                  <a:schemeClr val="bg1"/>
                </a:solidFill>
                <a:latin typeface="+mj-lt"/>
                <a:ea typeface="ＭＳ Ｐゴシック" pitchFamily="-111" charset="-128"/>
              </a:rPr>
              <a:t>Boe</a:t>
            </a:r>
            <a:r>
              <a:rPr lang="en-GB" sz="1400" dirty="0">
                <a:solidFill>
                  <a:schemeClr val="bg1"/>
                </a:solidFill>
                <a:latin typeface="+mj-lt"/>
                <a:ea typeface="ＭＳ Ｐゴシック" pitchFamily="-111" charset="-128"/>
              </a:rPr>
              <a:t> </a:t>
            </a:r>
            <a:r>
              <a:rPr lang="en-GB" sz="1400" dirty="0" err="1">
                <a:solidFill>
                  <a:schemeClr val="bg1"/>
                </a:solidFill>
                <a:latin typeface="+mj-lt"/>
                <a:ea typeface="ＭＳ Ｐゴシック" pitchFamily="-111" charset="-128"/>
              </a:rPr>
              <a:t>Riber</a:t>
            </a:r>
            <a:endParaRPr lang="en-GB" sz="1400" dirty="0">
              <a:solidFill>
                <a:schemeClr val="bg1"/>
              </a:solidFill>
              <a:latin typeface="+mj-lt"/>
              <a:ea typeface="ＭＳ Ｐゴシック" pitchFamily="-111" charset="-128"/>
            </a:endParaRPr>
          </a:p>
          <a:p>
            <a:pPr marL="12700" indent="-25400" defTabSz="457200" eaLnBrk="0" hangingPunct="0">
              <a:spcAft>
                <a:spcPts val="300"/>
              </a:spcAft>
              <a:buFontTx/>
              <a:buNone/>
            </a:pPr>
            <a:r>
              <a:rPr lang="en-GB" sz="1200" spc="0" dirty="0">
                <a:solidFill>
                  <a:schemeClr val="bg1"/>
                </a:solidFill>
                <a:latin typeface="+mj-lt"/>
                <a:ea typeface="ＭＳ Ｐゴシック" pitchFamily="-111" charset="-128"/>
                <a:cs typeface="ＭＳ Ｐゴシック" pitchFamily="-111" charset="-128"/>
              </a:rPr>
              <a:t>Manager</a:t>
            </a:r>
          </a:p>
          <a:p>
            <a:pPr marL="12700" indent="-25400" defTabSz="457200" eaLnBrk="0" hangingPunct="0">
              <a:spcAft>
                <a:spcPts val="300"/>
              </a:spcAft>
              <a:buFontTx/>
              <a:buNone/>
            </a:pPr>
            <a:r>
              <a:rPr lang="en-GB" sz="1200" spc="0" dirty="0">
                <a:solidFill>
                  <a:schemeClr val="bg1"/>
                </a:solidFill>
                <a:latin typeface="+mj-lt"/>
                <a:ea typeface="ＭＳ Ｐゴシック" pitchFamily="-111" charset="-128"/>
                <a:cs typeface="ＭＳ Ｐゴシック" pitchFamily="-111" charset="-128"/>
              </a:rPr>
              <a:t>Legal &amp; Contract Management Consulting</a:t>
            </a:r>
          </a:p>
          <a:p>
            <a:pPr marL="12700" indent="-25400" defTabSz="457200" eaLnBrk="0" hangingPunct="0">
              <a:spcAft>
                <a:spcPts val="300"/>
              </a:spcAft>
              <a:buFontTx/>
              <a:buNone/>
            </a:pPr>
            <a:endParaRPr lang="en-GB" sz="1200" spc="0" dirty="0">
              <a:solidFill>
                <a:schemeClr val="bg1"/>
              </a:solidFill>
              <a:latin typeface="+mj-lt"/>
              <a:ea typeface="ＭＳ Ｐゴシック" pitchFamily="-111" charset="-128"/>
              <a:cs typeface="ＭＳ Ｐゴシック" pitchFamily="-111" charset="-128"/>
            </a:endParaRPr>
          </a:p>
          <a:p>
            <a:pPr marL="12700" indent="-25400" defTabSz="457200" eaLnBrk="0" hangingPunct="0">
              <a:spcAft>
                <a:spcPts val="300"/>
              </a:spcAft>
              <a:buFontTx/>
              <a:buNone/>
            </a:pPr>
            <a:r>
              <a:rPr lang="en-GB" sz="1200" dirty="0">
                <a:solidFill>
                  <a:schemeClr val="bg1"/>
                </a:solidFill>
                <a:latin typeface="+mj-lt"/>
                <a:ea typeface="ＭＳ Ｐゴシック" pitchFamily="-111" charset="-128"/>
                <a:cs typeface="ＭＳ Ｐゴシック" pitchFamily="-111" charset="-128"/>
                <a:hlinkClick r:id="rId4">
                  <a:extLst>
                    <a:ext uri="{A12FA001-AC4F-418D-AE19-62706E023703}">
                      <ahyp:hlinkClr xmlns:ahyp="http://schemas.microsoft.com/office/drawing/2018/hyperlinkcolor" val="tx"/>
                    </a:ext>
                  </a:extLst>
                </a:hlinkClick>
              </a:rPr>
              <a:t>lbri@ramboll.com</a:t>
            </a:r>
            <a:endParaRPr lang="en-GB" sz="1200" dirty="0">
              <a:solidFill>
                <a:schemeClr val="bg1"/>
              </a:solidFill>
              <a:latin typeface="+mj-lt"/>
              <a:ea typeface="ＭＳ Ｐゴシック" pitchFamily="-111" charset="-128"/>
              <a:cs typeface="ＭＳ Ｐゴシック" pitchFamily="-111" charset="-128"/>
            </a:endParaRPr>
          </a:p>
          <a:p>
            <a:pPr marL="12700" indent="-25400" defTabSz="457200" eaLnBrk="0" hangingPunct="0">
              <a:spcAft>
                <a:spcPts val="300"/>
              </a:spcAft>
              <a:buFontTx/>
              <a:buNone/>
            </a:pPr>
            <a:r>
              <a:rPr lang="en-GB" sz="1200" dirty="0">
                <a:solidFill>
                  <a:schemeClr val="bg1"/>
                </a:solidFill>
                <a:latin typeface="+mj-lt"/>
                <a:ea typeface="ＭＳ Ｐゴシック" pitchFamily="-111" charset="-128"/>
                <a:cs typeface="ＭＳ Ｐゴシック" pitchFamily="-111" charset="-128"/>
              </a:rPr>
              <a:t>+45 5161 3570</a:t>
            </a:r>
            <a:endParaRPr lang="en-GB" sz="1200" b="1" spc="0" dirty="0">
              <a:solidFill>
                <a:schemeClr val="bg1"/>
              </a:solidFill>
              <a:latin typeface="+mj-lt"/>
              <a:ea typeface="ＭＳ Ｐゴシック" pitchFamily="-111" charset="-128"/>
              <a:cs typeface="ＭＳ Ｐゴシック" pitchFamily="-111" charset="-128"/>
            </a:endParaRPr>
          </a:p>
        </p:txBody>
      </p:sp>
      <p:sp>
        <p:nvSpPr>
          <p:cNvPr id="13" name="TextBox 12">
            <a:extLst>
              <a:ext uri="{FF2B5EF4-FFF2-40B4-BE49-F238E27FC236}">
                <a16:creationId xmlns:a16="http://schemas.microsoft.com/office/drawing/2014/main" id="{D526DAE8-C7A9-43B2-AC59-87950CB67581}"/>
              </a:ext>
            </a:extLst>
          </p:cNvPr>
          <p:cNvSpPr txBox="1"/>
          <p:nvPr/>
        </p:nvSpPr>
        <p:spPr bwMode="auto">
          <a:xfrm>
            <a:off x="1877258" y="1975452"/>
            <a:ext cx="3240360" cy="1331134"/>
          </a:xfrm>
          <a:prstGeom prst="rect">
            <a:avLst/>
          </a:prstGeom>
          <a:noFill/>
          <a:ln w="9525">
            <a:noFill/>
            <a:miter lim="800000"/>
            <a:headEnd/>
            <a:tailEnd/>
          </a:ln>
          <a:effectLst/>
        </p:spPr>
        <p:txBody>
          <a:bodyPr vert="horz" wrap="square" lIns="36000" tIns="0" rIns="0" bIns="0" numCol="1" rtlCol="0" anchor="t" anchorCtr="0" compatLnSpc="1">
            <a:prstTxWarp prst="textNoShape">
              <a:avLst/>
            </a:prstTxWarp>
            <a:spAutoFit/>
          </a:bodyPr>
          <a:lstStyle/>
          <a:p>
            <a:pPr marL="12700" indent="-25400" defTabSz="457200" eaLnBrk="0" hangingPunct="0">
              <a:spcAft>
                <a:spcPts val="300"/>
              </a:spcAft>
              <a:buFontTx/>
              <a:buNone/>
            </a:pPr>
            <a:r>
              <a:rPr lang="en-GB" sz="1400" spc="0" dirty="0">
                <a:solidFill>
                  <a:schemeClr val="bg1"/>
                </a:solidFill>
                <a:latin typeface="+mj-lt"/>
                <a:ea typeface="ＭＳ Ｐゴシック" pitchFamily="-111" charset="-128"/>
                <a:cs typeface="ＭＳ Ｐゴシック" pitchFamily="-111" charset="-128"/>
              </a:rPr>
              <a:t>René </a:t>
            </a:r>
            <a:r>
              <a:rPr lang="en-GB" sz="1400" spc="0" dirty="0" err="1">
                <a:solidFill>
                  <a:schemeClr val="bg1"/>
                </a:solidFill>
                <a:latin typeface="+mj-lt"/>
                <a:ea typeface="ＭＳ Ｐゴシック" pitchFamily="-111" charset="-128"/>
                <a:cs typeface="ＭＳ Ｐゴシック" pitchFamily="-111" charset="-128"/>
              </a:rPr>
              <a:t>Søegaard</a:t>
            </a:r>
            <a:endParaRPr lang="en-GB" sz="1400" spc="0" dirty="0">
              <a:solidFill>
                <a:schemeClr val="bg1"/>
              </a:solidFill>
              <a:latin typeface="+mj-lt"/>
              <a:ea typeface="ＭＳ Ｐゴシック" pitchFamily="-111" charset="-128"/>
              <a:cs typeface="ＭＳ Ｐゴシック" pitchFamily="-111" charset="-128"/>
            </a:endParaRPr>
          </a:p>
          <a:p>
            <a:pPr marL="12700" indent="-25400" defTabSz="457200" eaLnBrk="0" hangingPunct="0">
              <a:spcAft>
                <a:spcPts val="300"/>
              </a:spcAft>
              <a:buFontTx/>
              <a:buNone/>
            </a:pPr>
            <a:r>
              <a:rPr lang="en-GB" sz="1200" spc="0" dirty="0">
                <a:solidFill>
                  <a:schemeClr val="bg1"/>
                </a:solidFill>
                <a:latin typeface="+mj-lt"/>
                <a:ea typeface="ＭＳ Ｐゴシック" pitchFamily="-111" charset="-128"/>
                <a:cs typeface="ＭＳ Ｐゴシック" pitchFamily="-111" charset="-128"/>
              </a:rPr>
              <a:t>Director</a:t>
            </a:r>
          </a:p>
          <a:p>
            <a:pPr marL="12700" indent="-25400" defTabSz="457200" eaLnBrk="0" hangingPunct="0">
              <a:spcAft>
                <a:spcPts val="300"/>
              </a:spcAft>
              <a:buFontTx/>
              <a:buNone/>
            </a:pPr>
            <a:r>
              <a:rPr lang="en-GB" sz="1200" spc="0" dirty="0">
                <a:solidFill>
                  <a:schemeClr val="bg1"/>
                </a:solidFill>
                <a:latin typeface="+mj-lt"/>
                <a:ea typeface="ＭＳ Ｐゴシック" pitchFamily="-111" charset="-128"/>
                <a:cs typeface="ＭＳ Ｐゴシック" pitchFamily="-111" charset="-128"/>
              </a:rPr>
              <a:t>Legal &amp; Contract Management Consulting</a:t>
            </a:r>
          </a:p>
          <a:p>
            <a:pPr marL="12700" indent="-25400" defTabSz="457200" eaLnBrk="0" hangingPunct="0">
              <a:spcAft>
                <a:spcPts val="300"/>
              </a:spcAft>
              <a:buFontTx/>
              <a:buNone/>
            </a:pPr>
            <a:endParaRPr lang="en-GB" sz="1200" spc="0" dirty="0">
              <a:solidFill>
                <a:schemeClr val="bg1"/>
              </a:solidFill>
              <a:latin typeface="+mj-lt"/>
              <a:ea typeface="ＭＳ Ｐゴシック" pitchFamily="-111" charset="-128"/>
              <a:cs typeface="ＭＳ Ｐゴシック" pitchFamily="-111" charset="-128"/>
            </a:endParaRPr>
          </a:p>
          <a:p>
            <a:pPr marL="12700" indent="-25400" defTabSz="457200" eaLnBrk="0" hangingPunct="0">
              <a:spcAft>
                <a:spcPts val="300"/>
              </a:spcAft>
              <a:buFontTx/>
              <a:buNone/>
            </a:pPr>
            <a:r>
              <a:rPr lang="en-GB" sz="1200" spc="0" dirty="0">
                <a:solidFill>
                  <a:schemeClr val="bg1"/>
                </a:solidFill>
                <a:latin typeface="+mj-lt"/>
                <a:ea typeface="ＭＳ Ｐゴシック" pitchFamily="-111" charset="-128"/>
                <a:cs typeface="ＭＳ Ｐゴシック" pitchFamily="-111" charset="-128"/>
                <a:hlinkClick r:id="rId5">
                  <a:extLst>
                    <a:ext uri="{A12FA001-AC4F-418D-AE19-62706E023703}">
                      <ahyp:hlinkClr xmlns:ahyp="http://schemas.microsoft.com/office/drawing/2018/hyperlinkcolor" val="tx"/>
                    </a:ext>
                  </a:extLst>
                </a:hlinkClick>
              </a:rPr>
              <a:t>rs</a:t>
            </a:r>
            <a:r>
              <a:rPr lang="en-GB" sz="1200" dirty="0">
                <a:solidFill>
                  <a:schemeClr val="bg1"/>
                </a:solidFill>
                <a:latin typeface="+mj-lt"/>
                <a:ea typeface="ＭＳ Ｐゴシック" pitchFamily="-111" charset="-128"/>
                <a:cs typeface="ＭＳ Ｐゴシック" pitchFamily="-111" charset="-128"/>
                <a:hlinkClick r:id="rId5">
                  <a:extLst>
                    <a:ext uri="{A12FA001-AC4F-418D-AE19-62706E023703}">
                      <ahyp:hlinkClr xmlns:ahyp="http://schemas.microsoft.com/office/drawing/2018/hyperlinkcolor" val="tx"/>
                    </a:ext>
                  </a:extLst>
                </a:hlinkClick>
              </a:rPr>
              <a:t>oe@ramboll.com</a:t>
            </a:r>
            <a:endParaRPr lang="en-GB" sz="1200" dirty="0">
              <a:solidFill>
                <a:schemeClr val="bg1"/>
              </a:solidFill>
              <a:latin typeface="+mj-lt"/>
              <a:ea typeface="ＭＳ Ｐゴシック" pitchFamily="-111" charset="-128"/>
              <a:cs typeface="ＭＳ Ｐゴシック" pitchFamily="-111" charset="-128"/>
            </a:endParaRPr>
          </a:p>
          <a:p>
            <a:pPr marL="12700" indent="-25400" defTabSz="457200" eaLnBrk="0" hangingPunct="0">
              <a:spcAft>
                <a:spcPts val="300"/>
              </a:spcAft>
              <a:buFontTx/>
              <a:buNone/>
            </a:pPr>
            <a:r>
              <a:rPr lang="en-GB" sz="1200" dirty="0">
                <a:solidFill>
                  <a:schemeClr val="bg1"/>
                </a:solidFill>
                <a:latin typeface="+mj-lt"/>
                <a:ea typeface="ＭＳ Ｐゴシック" pitchFamily="-111" charset="-128"/>
                <a:cs typeface="ＭＳ Ｐゴシック" pitchFamily="-111" charset="-128"/>
              </a:rPr>
              <a:t>+45 5161 1445</a:t>
            </a:r>
            <a:endParaRPr lang="en-GB" sz="1200" b="1" spc="0" dirty="0">
              <a:solidFill>
                <a:schemeClr val="bg1"/>
              </a:solidFill>
              <a:latin typeface="+mj-lt"/>
              <a:ea typeface="ＭＳ Ｐゴシック" pitchFamily="-111" charset="-128"/>
              <a:cs typeface="ＭＳ Ｐゴシック" pitchFamily="-111" charset="-128"/>
            </a:endParaRPr>
          </a:p>
        </p:txBody>
      </p:sp>
    </p:spTree>
    <p:extLst>
      <p:ext uri="{BB962C8B-B14F-4D97-AF65-F5344CB8AC3E}">
        <p14:creationId xmlns:p14="http://schemas.microsoft.com/office/powerpoint/2010/main" val="37604647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E2C2C7-502C-429A-97C5-F8272314C7D0}"/>
              </a:ext>
            </a:extLst>
          </p:cNvPr>
          <p:cNvSpPr>
            <a:spLocks noGrp="1"/>
          </p:cNvSpPr>
          <p:nvPr>
            <p:ph type="title"/>
          </p:nvPr>
        </p:nvSpPr>
        <p:spPr/>
        <p:txBody>
          <a:bodyPr/>
          <a:lstStyle/>
          <a:p>
            <a:r>
              <a:rPr lang="en-GB" dirty="0"/>
              <a:t>Ramboll in brief</a:t>
            </a:r>
          </a:p>
        </p:txBody>
      </p:sp>
      <p:sp>
        <p:nvSpPr>
          <p:cNvPr id="6" name="Content Placeholder 5">
            <a:extLst>
              <a:ext uri="{FF2B5EF4-FFF2-40B4-BE49-F238E27FC236}">
                <a16:creationId xmlns:a16="http://schemas.microsoft.com/office/drawing/2014/main" id="{5486C23E-09D4-4D07-98BF-091CFA984150}"/>
              </a:ext>
            </a:extLst>
          </p:cNvPr>
          <p:cNvSpPr>
            <a:spLocks noGrp="1"/>
          </p:cNvSpPr>
          <p:nvPr>
            <p:ph idx="1"/>
          </p:nvPr>
        </p:nvSpPr>
        <p:spPr>
          <a:xfrm>
            <a:off x="5650802" y="1828800"/>
            <a:ext cx="6184800" cy="3267561"/>
          </a:xfrm>
        </p:spPr>
        <p:txBody>
          <a:bodyPr>
            <a:spAutoFit/>
          </a:bodyPr>
          <a:lstStyle/>
          <a:p>
            <a:pPr>
              <a:spcAft>
                <a:spcPts val="1000"/>
              </a:spcAft>
            </a:pPr>
            <a:r>
              <a:rPr lang="en-GB" sz="1400" dirty="0"/>
              <a:t>Independent architecture, engineering and consultancy company</a:t>
            </a:r>
          </a:p>
          <a:p>
            <a:pPr>
              <a:spcAft>
                <a:spcPts val="1000"/>
              </a:spcAft>
            </a:pPr>
            <a:r>
              <a:rPr lang="en-GB" sz="1400" dirty="0"/>
              <a:t>Founded 1945 in Denmark</a:t>
            </a:r>
          </a:p>
          <a:p>
            <a:pPr>
              <a:spcAft>
                <a:spcPts val="1000"/>
              </a:spcAft>
            </a:pPr>
            <a:r>
              <a:rPr lang="en-GB" sz="1400" dirty="0"/>
              <a:t>17,000 experts</a:t>
            </a:r>
          </a:p>
          <a:p>
            <a:pPr>
              <a:spcAft>
                <a:spcPts val="1000"/>
              </a:spcAft>
            </a:pPr>
            <a:r>
              <a:rPr lang="en-GB" sz="1400" dirty="0"/>
              <a:t>Present in 35 countries</a:t>
            </a:r>
          </a:p>
          <a:p>
            <a:pPr>
              <a:spcAft>
                <a:spcPts val="1000"/>
              </a:spcAft>
            </a:pPr>
            <a:r>
              <a:rPr lang="en-GB" sz="1400" dirty="0"/>
              <a:t>Particularly strong presence in the Nordics, the UK, </a:t>
            </a:r>
            <a:br>
              <a:rPr lang="en-GB" sz="1400" dirty="0"/>
            </a:br>
            <a:r>
              <a:rPr lang="en-GB" sz="1400" dirty="0"/>
              <a:t>North America, Continental Europe, and Asia Pacific</a:t>
            </a:r>
          </a:p>
          <a:p>
            <a:pPr>
              <a:spcAft>
                <a:spcPts val="1000"/>
              </a:spcAft>
            </a:pPr>
            <a:r>
              <a:rPr lang="en-GB" sz="1400" dirty="0"/>
              <a:t>Creating sustainable solutions across Buildings, Transport, Energy, Environment &amp; Health, Water, Management Consulting and Architecture &amp; Landscape.</a:t>
            </a:r>
          </a:p>
          <a:p>
            <a:pPr>
              <a:spcAft>
                <a:spcPts val="1000"/>
              </a:spcAft>
            </a:pPr>
            <a:r>
              <a:rPr lang="en-GB" sz="1400" dirty="0"/>
              <a:t>EUR 1.9 billion revenue</a:t>
            </a:r>
          </a:p>
          <a:p>
            <a:pPr>
              <a:spcAft>
                <a:spcPts val="1000"/>
              </a:spcAft>
            </a:pPr>
            <a:r>
              <a:rPr lang="en-GB" sz="1400" dirty="0"/>
              <a:t>Owned by </a:t>
            </a:r>
            <a:r>
              <a:rPr lang="en-GB" sz="1400" dirty="0" err="1"/>
              <a:t>Rambøll</a:t>
            </a:r>
            <a:r>
              <a:rPr lang="en-GB" sz="1400" dirty="0"/>
              <a:t> </a:t>
            </a:r>
            <a:r>
              <a:rPr lang="en-GB" sz="1400" dirty="0" err="1"/>
              <a:t>Fonden</a:t>
            </a:r>
            <a:r>
              <a:rPr lang="en-GB" sz="1400" dirty="0"/>
              <a:t> – The Ramboll Foundation</a:t>
            </a:r>
          </a:p>
        </p:txBody>
      </p:sp>
      <p:sp>
        <p:nvSpPr>
          <p:cNvPr id="4" name="Slide Number Placeholder 3">
            <a:extLst>
              <a:ext uri="{FF2B5EF4-FFF2-40B4-BE49-F238E27FC236}">
                <a16:creationId xmlns:a16="http://schemas.microsoft.com/office/drawing/2014/main" id="{892DC72C-8238-4DEB-BB95-64C0F4D33F6B}"/>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7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9" name="Picture Placeholder 1">
            <a:extLst>
              <a:ext uri="{FF2B5EF4-FFF2-40B4-BE49-F238E27FC236}">
                <a16:creationId xmlns:a16="http://schemas.microsoft.com/office/drawing/2014/main" id="{BB342065-9BC5-4D31-8CC2-CEB3AB55D8A0}"/>
              </a:ext>
            </a:extLst>
          </p:cNvPr>
          <p:cNvPicPr>
            <a:picLocks noGrp="1" noChangeAspect="1"/>
          </p:cNvPicPr>
          <p:nvPr>
            <p:ph type="pic" sz="quarter" idx="14"/>
            <p:custDataLst>
              <p:tags r:id="rId1"/>
            </p:custDataLst>
          </p:nvPr>
        </p:nvPicPr>
        <p:blipFill rotWithShape="1">
          <a:blip r:embed="rId3">
            <a:extLst>
              <a:ext uri="{28A0092B-C50C-407E-A947-70E740481C1C}">
                <a14:useLocalDpi xmlns:a14="http://schemas.microsoft.com/office/drawing/2010/main" val="0"/>
              </a:ext>
            </a:extLst>
          </a:blip>
          <a:srcRect l="24290" r="24290"/>
          <a:stretch/>
        </p:blipFill>
        <p:spPr>
          <a:xfrm>
            <a:off x="0" y="0"/>
            <a:ext cx="5290801" cy="6858000"/>
          </a:xfrm>
        </p:spPr>
      </p:pic>
    </p:spTree>
    <p:extLst>
      <p:ext uri="{BB962C8B-B14F-4D97-AF65-F5344CB8AC3E}">
        <p14:creationId xmlns:p14="http://schemas.microsoft.com/office/powerpoint/2010/main" val="22955487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82" name="Object 1481" hidden="1">
            <a:extLst>
              <a:ext uri="{FF2B5EF4-FFF2-40B4-BE49-F238E27FC236}">
                <a16:creationId xmlns:a16="http://schemas.microsoft.com/office/drawing/2014/main" id="{4711FAF4-C728-4A02-8E2D-080A885BF5A3}"/>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532" imgH="533" progId="TCLayout.ActiveDocument.1">
                  <p:embed/>
                </p:oleObj>
              </mc:Choice>
              <mc:Fallback>
                <p:oleObj name="think-cell Slide" r:id="rId6" imgW="532" imgH="533" progId="TCLayout.ActiveDocument.1">
                  <p:embed/>
                  <p:pic>
                    <p:nvPicPr>
                      <p:cNvPr id="1482" name="Object 1481" hidden="1">
                        <a:extLst>
                          <a:ext uri="{FF2B5EF4-FFF2-40B4-BE49-F238E27FC236}">
                            <a16:creationId xmlns:a16="http://schemas.microsoft.com/office/drawing/2014/main" id="{4711FAF4-C728-4A02-8E2D-080A885BF5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4AEA326-56F0-46C3-A9CF-FA5981797A02}"/>
              </a:ext>
            </a:extLst>
          </p:cNvPr>
          <p:cNvSpPr>
            <a:spLocks noGrp="1"/>
          </p:cNvSpPr>
          <p:nvPr>
            <p:ph type="title"/>
          </p:nvPr>
        </p:nvSpPr>
        <p:spPr/>
        <p:txBody>
          <a:bodyPr vert="horz"/>
          <a:lstStyle/>
          <a:p>
            <a:r>
              <a:rPr lang="en-GB" dirty="0"/>
              <a:t>Geographical footprint</a:t>
            </a:r>
          </a:p>
        </p:txBody>
      </p:sp>
      <p:sp>
        <p:nvSpPr>
          <p:cNvPr id="4" name="Slide Number Placeholder 3">
            <a:extLst>
              <a:ext uri="{FF2B5EF4-FFF2-40B4-BE49-F238E27FC236}">
                <a16:creationId xmlns:a16="http://schemas.microsoft.com/office/drawing/2014/main" id="{25B30A95-5AF9-4BF2-ABC5-A5B2142E08B0}"/>
              </a:ext>
            </a:extLst>
          </p:cNvPr>
          <p:cNvSpPr>
            <a:spLocks noGrp="1"/>
          </p:cNvSpPr>
          <p:nvPr>
            <p:ph type="sldNum" sz="quarter" idx="12"/>
          </p:nvPr>
        </p:nvSpPr>
        <p:spPr/>
        <p:txBody>
          <a:bodyPr/>
          <a:lstStyle/>
          <a:p>
            <a:fld id="{23AA811B-2EBD-4900-905E-5BE206449611}" type="slidenum">
              <a:rPr lang="en-GB"/>
              <a:pPr/>
              <a:t>5</a:t>
            </a:fld>
            <a:endParaRPr lang="en-GB" dirty="0"/>
          </a:p>
        </p:txBody>
      </p:sp>
      <p:sp>
        <p:nvSpPr>
          <p:cNvPr id="1475" name="Oval 1474">
            <a:extLst>
              <a:ext uri="{FF2B5EF4-FFF2-40B4-BE49-F238E27FC236}">
                <a16:creationId xmlns:a16="http://schemas.microsoft.com/office/drawing/2014/main" id="{FEB64BE0-21CE-4C7C-9CED-50057C08C31C}"/>
              </a:ext>
            </a:extLst>
          </p:cNvPr>
          <p:cNvSpPr/>
          <p:nvPr/>
        </p:nvSpPr>
        <p:spPr>
          <a:xfrm>
            <a:off x="358775" y="5113879"/>
            <a:ext cx="106960" cy="106960"/>
          </a:xfrm>
          <a:prstGeom prst="ellipse">
            <a:avLst/>
          </a:prstGeom>
          <a:solidFill>
            <a:srgbClr val="009DF0"/>
          </a:solidFill>
          <a:ln w="9334" cap="flat">
            <a:noFill/>
            <a:prstDash val="solid"/>
            <a:miter/>
          </a:ln>
        </p:spPr>
        <p:txBody>
          <a:bodyPr rtlCol="0" anchor="ctr"/>
          <a:lstStyle/>
          <a:p>
            <a:endParaRPr lang="en-GB" dirty="0" err="1">
              <a:solidFill>
                <a:schemeClr val="tx1"/>
              </a:solidFill>
            </a:endParaRPr>
          </a:p>
        </p:txBody>
      </p:sp>
      <p:sp>
        <p:nvSpPr>
          <p:cNvPr id="1478" name="TextBox 1477">
            <a:extLst>
              <a:ext uri="{FF2B5EF4-FFF2-40B4-BE49-F238E27FC236}">
                <a16:creationId xmlns:a16="http://schemas.microsoft.com/office/drawing/2014/main" id="{34CD4AB7-EA09-4620-AE82-78B584CFB4C2}"/>
              </a:ext>
            </a:extLst>
          </p:cNvPr>
          <p:cNvSpPr txBox="1"/>
          <p:nvPr/>
        </p:nvSpPr>
        <p:spPr>
          <a:xfrm>
            <a:off x="540953" y="5074655"/>
            <a:ext cx="1373774" cy="161583"/>
          </a:xfrm>
          <a:prstGeom prst="rect">
            <a:avLst/>
          </a:prstGeom>
          <a:noFill/>
        </p:spPr>
        <p:txBody>
          <a:bodyPr wrap="none" lIns="0" tIns="0" rIns="0" bIns="0">
            <a:spAutoFit/>
          </a:bodyPr>
          <a:lstStyle/>
          <a:p>
            <a:r>
              <a:rPr lang="en-GB" sz="1050" u="none" strike="noStrike" dirty="0">
                <a:solidFill>
                  <a:srgbClr val="273943"/>
                </a:solidFill>
                <a:effectLst/>
              </a:rPr>
              <a:t>Ramboll Head Office</a:t>
            </a:r>
            <a:endParaRPr lang="en-GB" sz="1050" dirty="0"/>
          </a:p>
        </p:txBody>
      </p:sp>
      <p:sp>
        <p:nvSpPr>
          <p:cNvPr id="1479" name="TextBox 1478">
            <a:extLst>
              <a:ext uri="{FF2B5EF4-FFF2-40B4-BE49-F238E27FC236}">
                <a16:creationId xmlns:a16="http://schemas.microsoft.com/office/drawing/2014/main" id="{C99DABA4-5C18-4C95-A642-D48BEFA51ECC}"/>
              </a:ext>
            </a:extLst>
          </p:cNvPr>
          <p:cNvSpPr txBox="1"/>
          <p:nvPr/>
        </p:nvSpPr>
        <p:spPr>
          <a:xfrm>
            <a:off x="540953" y="5312487"/>
            <a:ext cx="1027525" cy="161583"/>
          </a:xfrm>
          <a:prstGeom prst="rect">
            <a:avLst/>
          </a:prstGeom>
          <a:noFill/>
        </p:spPr>
        <p:txBody>
          <a:bodyPr wrap="none" lIns="0" tIns="0" rIns="0" bIns="0">
            <a:spAutoFit/>
          </a:bodyPr>
          <a:lstStyle/>
          <a:p>
            <a:r>
              <a:rPr lang="en-GB" sz="1050" u="none" strike="noStrike" dirty="0">
                <a:solidFill>
                  <a:srgbClr val="273943"/>
                </a:solidFill>
                <a:effectLst/>
              </a:rPr>
              <a:t>Ramboll offices</a:t>
            </a:r>
            <a:endParaRPr lang="en-GB" sz="1050" dirty="0"/>
          </a:p>
        </p:txBody>
      </p:sp>
      <p:sp>
        <p:nvSpPr>
          <p:cNvPr id="1009" name="Oval 1008">
            <a:extLst>
              <a:ext uri="{FF2B5EF4-FFF2-40B4-BE49-F238E27FC236}">
                <a16:creationId xmlns:a16="http://schemas.microsoft.com/office/drawing/2014/main" id="{9E48BCB2-84B8-4EC2-B7AF-B60D43EA8133}"/>
              </a:ext>
            </a:extLst>
          </p:cNvPr>
          <p:cNvSpPr/>
          <p:nvPr/>
        </p:nvSpPr>
        <p:spPr>
          <a:xfrm>
            <a:off x="358775" y="5339798"/>
            <a:ext cx="106960" cy="106960"/>
          </a:xfrm>
          <a:prstGeom prst="ellipse">
            <a:avLst/>
          </a:prstGeom>
          <a:solidFill>
            <a:srgbClr val="417B6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dirty="0" err="1">
              <a:solidFill>
                <a:schemeClr val="lt1"/>
              </a:solidFill>
            </a:endParaRPr>
          </a:p>
        </p:txBody>
      </p:sp>
      <p:grpSp>
        <p:nvGrpSpPr>
          <p:cNvPr id="2" name="Group 1">
            <a:extLst>
              <a:ext uri="{FF2B5EF4-FFF2-40B4-BE49-F238E27FC236}">
                <a16:creationId xmlns:a16="http://schemas.microsoft.com/office/drawing/2014/main" id="{3D258735-7F46-4C00-BA59-30FE77F0DDD7}"/>
              </a:ext>
            </a:extLst>
          </p:cNvPr>
          <p:cNvGrpSpPr/>
          <p:nvPr/>
        </p:nvGrpSpPr>
        <p:grpSpPr>
          <a:xfrm>
            <a:off x="1251915" y="1408197"/>
            <a:ext cx="9792701" cy="4822258"/>
            <a:chOff x="1251915" y="1408197"/>
            <a:chExt cx="9792701" cy="4822258"/>
          </a:xfrm>
        </p:grpSpPr>
        <p:sp>
          <p:nvSpPr>
            <p:cNvPr id="958" name="Freeform: Shape 957">
              <a:extLst>
                <a:ext uri="{FF2B5EF4-FFF2-40B4-BE49-F238E27FC236}">
                  <a16:creationId xmlns:a16="http://schemas.microsoft.com/office/drawing/2014/main" id="{62C3DD6C-B80D-4BF3-B39C-2C12F50486E3}"/>
                </a:ext>
              </a:extLst>
            </p:cNvPr>
            <p:cNvSpPr/>
            <p:nvPr/>
          </p:nvSpPr>
          <p:spPr>
            <a:xfrm>
              <a:off x="2909102" y="2006252"/>
              <a:ext cx="65548" cy="48367"/>
            </a:xfrm>
            <a:custGeom>
              <a:avLst/>
              <a:gdLst>
                <a:gd name="connsiteX0" fmla="*/ 10271 w 65548"/>
                <a:gd name="connsiteY0" fmla="*/ 0 h 48367"/>
                <a:gd name="connsiteX1" fmla="*/ 37909 w 65548"/>
                <a:gd name="connsiteY1" fmla="*/ 0 h 48367"/>
                <a:gd name="connsiteX2" fmla="*/ 62093 w 65548"/>
                <a:gd name="connsiteY2" fmla="*/ 0 h 48367"/>
                <a:gd name="connsiteX3" fmla="*/ 65548 w 65548"/>
                <a:gd name="connsiteY3" fmla="*/ 13819 h 48367"/>
                <a:gd name="connsiteX4" fmla="*/ 58638 w 65548"/>
                <a:gd name="connsiteY4" fmla="*/ 34548 h 48367"/>
                <a:gd name="connsiteX5" fmla="*/ 48274 w 65548"/>
                <a:gd name="connsiteY5" fmla="*/ 48367 h 48367"/>
                <a:gd name="connsiteX6" fmla="*/ 37909 w 65548"/>
                <a:gd name="connsiteY6" fmla="*/ 41458 h 48367"/>
                <a:gd name="connsiteX7" fmla="*/ 24090 w 65548"/>
                <a:gd name="connsiteY7" fmla="*/ 24184 h 48367"/>
                <a:gd name="connsiteX8" fmla="*/ 10271 w 65548"/>
                <a:gd name="connsiteY8" fmla="*/ 17274 h 48367"/>
                <a:gd name="connsiteX9" fmla="*/ 0 w 65548"/>
                <a:gd name="connsiteY9" fmla="*/ 6910 h 48367"/>
                <a:gd name="connsiteX10" fmla="*/ 10271 w 65548"/>
                <a:gd name="connsiteY10" fmla="*/ 0 h 4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48" h="48367">
                  <a:moveTo>
                    <a:pt x="10271" y="0"/>
                  </a:moveTo>
                  <a:lnTo>
                    <a:pt x="37909" y="0"/>
                  </a:lnTo>
                  <a:lnTo>
                    <a:pt x="62093" y="0"/>
                  </a:lnTo>
                  <a:lnTo>
                    <a:pt x="65548" y="13819"/>
                  </a:lnTo>
                  <a:lnTo>
                    <a:pt x="58638" y="34548"/>
                  </a:lnTo>
                  <a:lnTo>
                    <a:pt x="48274" y="48367"/>
                  </a:lnTo>
                  <a:lnTo>
                    <a:pt x="37909" y="41458"/>
                  </a:lnTo>
                  <a:lnTo>
                    <a:pt x="24090" y="24184"/>
                  </a:lnTo>
                  <a:lnTo>
                    <a:pt x="10271" y="17274"/>
                  </a:lnTo>
                  <a:lnTo>
                    <a:pt x="0" y="6910"/>
                  </a:lnTo>
                  <a:lnTo>
                    <a:pt x="10271" y="0"/>
                  </a:lnTo>
                  <a:close/>
                </a:path>
              </a:pathLst>
            </a:custGeom>
            <a:solidFill>
              <a:srgbClr val="CEE3BF"/>
            </a:solidFill>
            <a:ln w="9334" cap="flat">
              <a:noFill/>
              <a:prstDash val="solid"/>
              <a:miter/>
            </a:ln>
          </p:spPr>
          <p:txBody>
            <a:bodyPr rtlCol="0" anchor="ctr"/>
            <a:lstStyle/>
            <a:p>
              <a:endParaRPr lang="en-GB" dirty="0"/>
            </a:p>
          </p:txBody>
        </p:sp>
        <p:sp>
          <p:nvSpPr>
            <p:cNvPr id="959" name="Freeform: Shape 958">
              <a:extLst>
                <a:ext uri="{FF2B5EF4-FFF2-40B4-BE49-F238E27FC236}">
                  <a16:creationId xmlns:a16="http://schemas.microsoft.com/office/drawing/2014/main" id="{6071DBEF-8CB6-46AA-8DCB-02B6D1B97B9F}"/>
                </a:ext>
              </a:extLst>
            </p:cNvPr>
            <p:cNvSpPr/>
            <p:nvPr/>
          </p:nvSpPr>
          <p:spPr>
            <a:xfrm>
              <a:off x="3627142" y="2009707"/>
              <a:ext cx="120824" cy="48367"/>
            </a:xfrm>
            <a:custGeom>
              <a:avLst/>
              <a:gdLst>
                <a:gd name="connsiteX0" fmla="*/ 6910 w 120824"/>
                <a:gd name="connsiteY0" fmla="*/ 0 h 48367"/>
                <a:gd name="connsiteX1" fmla="*/ 38003 w 120824"/>
                <a:gd name="connsiteY1" fmla="*/ 0 h 48367"/>
                <a:gd name="connsiteX2" fmla="*/ 72551 w 120824"/>
                <a:gd name="connsiteY2" fmla="*/ 3455 h 48367"/>
                <a:gd name="connsiteX3" fmla="*/ 107006 w 120824"/>
                <a:gd name="connsiteY3" fmla="*/ 20729 h 48367"/>
                <a:gd name="connsiteX4" fmla="*/ 120825 w 120824"/>
                <a:gd name="connsiteY4" fmla="*/ 38003 h 48367"/>
                <a:gd name="connsiteX5" fmla="*/ 103551 w 120824"/>
                <a:gd name="connsiteY5" fmla="*/ 41458 h 48367"/>
                <a:gd name="connsiteX6" fmla="*/ 79461 w 120824"/>
                <a:gd name="connsiteY6" fmla="*/ 41458 h 48367"/>
                <a:gd name="connsiteX7" fmla="*/ 55277 w 120824"/>
                <a:gd name="connsiteY7" fmla="*/ 41458 h 48367"/>
                <a:gd name="connsiteX8" fmla="*/ 44912 w 120824"/>
                <a:gd name="connsiteY8" fmla="*/ 48367 h 48367"/>
                <a:gd name="connsiteX9" fmla="*/ 24184 w 120824"/>
                <a:gd name="connsiteY9" fmla="*/ 44913 h 48367"/>
                <a:gd name="connsiteX10" fmla="*/ 17274 w 120824"/>
                <a:gd name="connsiteY10" fmla="*/ 27638 h 48367"/>
                <a:gd name="connsiteX11" fmla="*/ 0 w 120824"/>
                <a:gd name="connsiteY11" fmla="*/ 17274 h 48367"/>
                <a:gd name="connsiteX12" fmla="*/ 0 w 120824"/>
                <a:gd name="connsiteY12" fmla="*/ 0 h 48367"/>
                <a:gd name="connsiteX13" fmla="*/ 6910 w 120824"/>
                <a:gd name="connsiteY13" fmla="*/ 0 h 4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24" h="48367">
                  <a:moveTo>
                    <a:pt x="6910" y="0"/>
                  </a:moveTo>
                  <a:lnTo>
                    <a:pt x="38003" y="0"/>
                  </a:lnTo>
                  <a:lnTo>
                    <a:pt x="72551" y="3455"/>
                  </a:lnTo>
                  <a:lnTo>
                    <a:pt x="107006" y="20729"/>
                  </a:lnTo>
                  <a:lnTo>
                    <a:pt x="120825" y="38003"/>
                  </a:lnTo>
                  <a:lnTo>
                    <a:pt x="103551" y="41458"/>
                  </a:lnTo>
                  <a:lnTo>
                    <a:pt x="79461" y="41458"/>
                  </a:lnTo>
                  <a:lnTo>
                    <a:pt x="55277" y="41458"/>
                  </a:lnTo>
                  <a:lnTo>
                    <a:pt x="44912" y="48367"/>
                  </a:lnTo>
                  <a:lnTo>
                    <a:pt x="24184" y="44913"/>
                  </a:lnTo>
                  <a:lnTo>
                    <a:pt x="17274" y="27638"/>
                  </a:lnTo>
                  <a:lnTo>
                    <a:pt x="0" y="17274"/>
                  </a:lnTo>
                  <a:lnTo>
                    <a:pt x="0" y="0"/>
                  </a:lnTo>
                  <a:lnTo>
                    <a:pt x="6910" y="0"/>
                  </a:lnTo>
                  <a:close/>
                </a:path>
              </a:pathLst>
            </a:custGeom>
            <a:solidFill>
              <a:srgbClr val="CEE3BF"/>
            </a:solidFill>
            <a:ln w="9334" cap="flat">
              <a:noFill/>
              <a:prstDash val="solid"/>
              <a:miter/>
            </a:ln>
          </p:spPr>
          <p:txBody>
            <a:bodyPr rtlCol="0" anchor="ctr"/>
            <a:lstStyle/>
            <a:p>
              <a:endParaRPr lang="en-GB" dirty="0"/>
            </a:p>
          </p:txBody>
        </p:sp>
        <p:sp>
          <p:nvSpPr>
            <p:cNvPr id="960" name="Freeform: Shape 959">
              <a:extLst>
                <a:ext uri="{FF2B5EF4-FFF2-40B4-BE49-F238E27FC236}">
                  <a16:creationId xmlns:a16="http://schemas.microsoft.com/office/drawing/2014/main" id="{C7E9D0AB-37FF-48C8-9473-8AE54F461741}"/>
                </a:ext>
              </a:extLst>
            </p:cNvPr>
            <p:cNvSpPr/>
            <p:nvPr/>
          </p:nvSpPr>
          <p:spPr>
            <a:xfrm>
              <a:off x="4079442" y="3032890"/>
              <a:ext cx="65547" cy="31093"/>
            </a:xfrm>
            <a:custGeom>
              <a:avLst/>
              <a:gdLst>
                <a:gd name="connsiteX0" fmla="*/ 0 w 65547"/>
                <a:gd name="connsiteY0" fmla="*/ 3455 h 31093"/>
                <a:gd name="connsiteX1" fmla="*/ 13819 w 65547"/>
                <a:gd name="connsiteY1" fmla="*/ 13819 h 31093"/>
                <a:gd name="connsiteX2" fmla="*/ 31093 w 65547"/>
                <a:gd name="connsiteY2" fmla="*/ 24184 h 31093"/>
                <a:gd name="connsiteX3" fmla="*/ 58638 w 65547"/>
                <a:gd name="connsiteY3" fmla="*/ 31093 h 31093"/>
                <a:gd name="connsiteX4" fmla="*/ 65548 w 65547"/>
                <a:gd name="connsiteY4" fmla="*/ 20729 h 31093"/>
                <a:gd name="connsiteX5" fmla="*/ 51729 w 65547"/>
                <a:gd name="connsiteY5" fmla="*/ 10364 h 31093"/>
                <a:gd name="connsiteX6" fmla="*/ 38003 w 65547"/>
                <a:gd name="connsiteY6" fmla="*/ 3455 h 31093"/>
                <a:gd name="connsiteX7" fmla="*/ 24184 w 65547"/>
                <a:gd name="connsiteY7" fmla="*/ 0 h 31093"/>
                <a:gd name="connsiteX8" fmla="*/ 13819 w 65547"/>
                <a:gd name="connsiteY8" fmla="*/ 0 h 31093"/>
                <a:gd name="connsiteX9" fmla="*/ 0 w 65547"/>
                <a:gd name="connsiteY9" fmla="*/ 3455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47" h="31093">
                  <a:moveTo>
                    <a:pt x="0" y="3455"/>
                  </a:moveTo>
                  <a:lnTo>
                    <a:pt x="13819" y="13819"/>
                  </a:lnTo>
                  <a:lnTo>
                    <a:pt x="31093" y="24184"/>
                  </a:lnTo>
                  <a:lnTo>
                    <a:pt x="58638" y="31093"/>
                  </a:lnTo>
                  <a:lnTo>
                    <a:pt x="65548" y="20729"/>
                  </a:lnTo>
                  <a:lnTo>
                    <a:pt x="51729" y="10364"/>
                  </a:lnTo>
                  <a:lnTo>
                    <a:pt x="38003" y="3455"/>
                  </a:lnTo>
                  <a:lnTo>
                    <a:pt x="24184" y="0"/>
                  </a:lnTo>
                  <a:lnTo>
                    <a:pt x="13819" y="0"/>
                  </a:lnTo>
                  <a:lnTo>
                    <a:pt x="0" y="3455"/>
                  </a:lnTo>
                  <a:close/>
                </a:path>
              </a:pathLst>
            </a:custGeom>
            <a:solidFill>
              <a:srgbClr val="CEE3BF"/>
            </a:solidFill>
            <a:ln w="9334" cap="flat">
              <a:noFill/>
              <a:prstDash val="solid"/>
              <a:miter/>
            </a:ln>
          </p:spPr>
          <p:txBody>
            <a:bodyPr rtlCol="0" anchor="ctr"/>
            <a:lstStyle/>
            <a:p>
              <a:endParaRPr lang="en-GB" dirty="0"/>
            </a:p>
          </p:txBody>
        </p:sp>
        <p:sp>
          <p:nvSpPr>
            <p:cNvPr id="961" name="Freeform: Shape 960">
              <a:extLst>
                <a:ext uri="{FF2B5EF4-FFF2-40B4-BE49-F238E27FC236}">
                  <a16:creationId xmlns:a16="http://schemas.microsoft.com/office/drawing/2014/main" id="{E07142B4-C509-41C5-9E1B-0580D32E9E90}"/>
                </a:ext>
              </a:extLst>
            </p:cNvPr>
            <p:cNvSpPr/>
            <p:nvPr/>
          </p:nvSpPr>
          <p:spPr>
            <a:xfrm>
              <a:off x="2142601" y="2718316"/>
              <a:ext cx="27638" cy="51915"/>
            </a:xfrm>
            <a:custGeom>
              <a:avLst/>
              <a:gdLst>
                <a:gd name="connsiteX0" fmla="*/ 0 w 27638"/>
                <a:gd name="connsiteY0" fmla="*/ 0 h 51915"/>
                <a:gd name="connsiteX1" fmla="*/ 17274 w 27638"/>
                <a:gd name="connsiteY1" fmla="*/ 6910 h 51915"/>
                <a:gd name="connsiteX2" fmla="*/ 27638 w 27638"/>
                <a:gd name="connsiteY2" fmla="*/ 27639 h 51915"/>
                <a:gd name="connsiteX3" fmla="*/ 24184 w 27638"/>
                <a:gd name="connsiteY3" fmla="*/ 41458 h 51915"/>
                <a:gd name="connsiteX4" fmla="*/ 17274 w 27638"/>
                <a:gd name="connsiteY4" fmla="*/ 51915 h 51915"/>
                <a:gd name="connsiteX5" fmla="*/ 6910 w 27638"/>
                <a:gd name="connsiteY5" fmla="*/ 38003 h 51915"/>
                <a:gd name="connsiteX6" fmla="*/ 6910 w 27638"/>
                <a:gd name="connsiteY6" fmla="*/ 27639 h 51915"/>
                <a:gd name="connsiteX7" fmla="*/ 0 w 27638"/>
                <a:gd name="connsiteY7" fmla="*/ 13819 h 51915"/>
                <a:gd name="connsiteX8" fmla="*/ 0 w 27638"/>
                <a:gd name="connsiteY8" fmla="*/ 0 h 5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38" h="51915">
                  <a:moveTo>
                    <a:pt x="0" y="0"/>
                  </a:moveTo>
                  <a:lnTo>
                    <a:pt x="17274" y="6910"/>
                  </a:lnTo>
                  <a:lnTo>
                    <a:pt x="27638" y="27639"/>
                  </a:lnTo>
                  <a:lnTo>
                    <a:pt x="24184" y="41458"/>
                  </a:lnTo>
                  <a:lnTo>
                    <a:pt x="17274" y="51915"/>
                  </a:lnTo>
                  <a:lnTo>
                    <a:pt x="6910" y="38003"/>
                  </a:lnTo>
                  <a:lnTo>
                    <a:pt x="6910" y="27639"/>
                  </a:lnTo>
                  <a:lnTo>
                    <a:pt x="0" y="13819"/>
                  </a:lnTo>
                  <a:lnTo>
                    <a:pt x="0" y="0"/>
                  </a:lnTo>
                  <a:close/>
                </a:path>
              </a:pathLst>
            </a:custGeom>
            <a:solidFill>
              <a:srgbClr val="CEE3BF"/>
            </a:solidFill>
            <a:ln w="9334" cap="flat">
              <a:noFill/>
              <a:prstDash val="solid"/>
              <a:miter/>
            </a:ln>
          </p:spPr>
          <p:txBody>
            <a:bodyPr rtlCol="0" anchor="ctr"/>
            <a:lstStyle/>
            <a:p>
              <a:endParaRPr lang="en-GB" dirty="0"/>
            </a:p>
          </p:txBody>
        </p:sp>
        <p:sp>
          <p:nvSpPr>
            <p:cNvPr id="962" name="Freeform: Shape 961">
              <a:extLst>
                <a:ext uri="{FF2B5EF4-FFF2-40B4-BE49-F238E27FC236}">
                  <a16:creationId xmlns:a16="http://schemas.microsoft.com/office/drawing/2014/main" id="{25B05ED2-7216-488C-B5B8-3E625152D02B}"/>
                </a:ext>
              </a:extLst>
            </p:cNvPr>
            <p:cNvSpPr/>
            <p:nvPr/>
          </p:nvSpPr>
          <p:spPr>
            <a:xfrm>
              <a:off x="2142601" y="2718316"/>
              <a:ext cx="27638" cy="51915"/>
            </a:xfrm>
            <a:custGeom>
              <a:avLst/>
              <a:gdLst>
                <a:gd name="connsiteX0" fmla="*/ 0 w 27638"/>
                <a:gd name="connsiteY0" fmla="*/ 0 h 51915"/>
                <a:gd name="connsiteX1" fmla="*/ 17274 w 27638"/>
                <a:gd name="connsiteY1" fmla="*/ 6910 h 51915"/>
                <a:gd name="connsiteX2" fmla="*/ 27638 w 27638"/>
                <a:gd name="connsiteY2" fmla="*/ 27639 h 51915"/>
                <a:gd name="connsiteX3" fmla="*/ 24184 w 27638"/>
                <a:gd name="connsiteY3" fmla="*/ 41458 h 51915"/>
                <a:gd name="connsiteX4" fmla="*/ 17274 w 27638"/>
                <a:gd name="connsiteY4" fmla="*/ 51915 h 51915"/>
                <a:gd name="connsiteX5" fmla="*/ 6910 w 27638"/>
                <a:gd name="connsiteY5" fmla="*/ 38003 h 51915"/>
                <a:gd name="connsiteX6" fmla="*/ 6910 w 27638"/>
                <a:gd name="connsiteY6" fmla="*/ 27639 h 51915"/>
                <a:gd name="connsiteX7" fmla="*/ 0 w 27638"/>
                <a:gd name="connsiteY7" fmla="*/ 13819 h 51915"/>
                <a:gd name="connsiteX8" fmla="*/ 0 w 27638"/>
                <a:gd name="connsiteY8" fmla="*/ 0 h 5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38" h="51915">
                  <a:moveTo>
                    <a:pt x="0" y="0"/>
                  </a:moveTo>
                  <a:lnTo>
                    <a:pt x="17274" y="6910"/>
                  </a:lnTo>
                  <a:lnTo>
                    <a:pt x="27638" y="27639"/>
                  </a:lnTo>
                  <a:lnTo>
                    <a:pt x="24184" y="41458"/>
                  </a:lnTo>
                  <a:lnTo>
                    <a:pt x="17274" y="51915"/>
                  </a:lnTo>
                  <a:lnTo>
                    <a:pt x="6910" y="38003"/>
                  </a:lnTo>
                  <a:lnTo>
                    <a:pt x="6910" y="27639"/>
                  </a:lnTo>
                  <a:lnTo>
                    <a:pt x="0" y="13819"/>
                  </a:lnTo>
                  <a:lnTo>
                    <a:pt x="0" y="0"/>
                  </a:lnTo>
                  <a:close/>
                </a:path>
              </a:pathLst>
            </a:custGeom>
            <a:solidFill>
              <a:srgbClr val="CEE3BF"/>
            </a:solidFill>
            <a:ln w="9334" cap="flat">
              <a:noFill/>
              <a:prstDash val="solid"/>
              <a:miter/>
            </a:ln>
          </p:spPr>
          <p:txBody>
            <a:bodyPr rtlCol="0" anchor="ctr"/>
            <a:lstStyle/>
            <a:p>
              <a:endParaRPr lang="en-GB" dirty="0"/>
            </a:p>
          </p:txBody>
        </p:sp>
        <p:sp>
          <p:nvSpPr>
            <p:cNvPr id="963" name="Freeform: Shape 962">
              <a:extLst>
                <a:ext uri="{FF2B5EF4-FFF2-40B4-BE49-F238E27FC236}">
                  <a16:creationId xmlns:a16="http://schemas.microsoft.com/office/drawing/2014/main" id="{E297D092-98CA-4BD5-82A8-9799963444DC}"/>
                </a:ext>
              </a:extLst>
            </p:cNvPr>
            <p:cNvSpPr/>
            <p:nvPr/>
          </p:nvSpPr>
          <p:spPr>
            <a:xfrm>
              <a:off x="2225517" y="2808234"/>
              <a:ext cx="24183" cy="34548"/>
            </a:xfrm>
            <a:custGeom>
              <a:avLst/>
              <a:gdLst>
                <a:gd name="connsiteX0" fmla="*/ 0 w 24183"/>
                <a:gd name="connsiteY0" fmla="*/ 0 h 34548"/>
                <a:gd name="connsiteX1" fmla="*/ 10364 w 24183"/>
                <a:gd name="connsiteY1" fmla="*/ 6910 h 34548"/>
                <a:gd name="connsiteX2" fmla="*/ 24184 w 24183"/>
                <a:gd name="connsiteY2" fmla="*/ 10364 h 34548"/>
                <a:gd name="connsiteX3" fmla="*/ 20729 w 24183"/>
                <a:gd name="connsiteY3" fmla="*/ 27638 h 34548"/>
                <a:gd name="connsiteX4" fmla="*/ 10364 w 24183"/>
                <a:gd name="connsiteY4" fmla="*/ 34548 h 34548"/>
                <a:gd name="connsiteX5" fmla="*/ 0 w 24183"/>
                <a:gd name="connsiteY5" fmla="*/ 20729 h 34548"/>
                <a:gd name="connsiteX6" fmla="*/ 0 w 24183"/>
                <a:gd name="connsiteY6" fmla="*/ 0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83" h="34548">
                  <a:moveTo>
                    <a:pt x="0" y="0"/>
                  </a:moveTo>
                  <a:lnTo>
                    <a:pt x="10364" y="6910"/>
                  </a:lnTo>
                  <a:lnTo>
                    <a:pt x="24184" y="10364"/>
                  </a:lnTo>
                  <a:lnTo>
                    <a:pt x="20729" y="27638"/>
                  </a:lnTo>
                  <a:lnTo>
                    <a:pt x="10364" y="34548"/>
                  </a:lnTo>
                  <a:lnTo>
                    <a:pt x="0" y="20729"/>
                  </a:lnTo>
                  <a:lnTo>
                    <a:pt x="0" y="0"/>
                  </a:lnTo>
                  <a:close/>
                </a:path>
              </a:pathLst>
            </a:custGeom>
            <a:solidFill>
              <a:srgbClr val="CEE3BF"/>
            </a:solidFill>
            <a:ln w="9334" cap="flat">
              <a:noFill/>
              <a:prstDash val="solid"/>
              <a:miter/>
            </a:ln>
          </p:spPr>
          <p:txBody>
            <a:bodyPr rtlCol="0" anchor="ctr"/>
            <a:lstStyle/>
            <a:p>
              <a:endParaRPr lang="en-GB" dirty="0"/>
            </a:p>
          </p:txBody>
        </p:sp>
        <p:sp>
          <p:nvSpPr>
            <p:cNvPr id="964" name="Freeform: Shape 963">
              <a:extLst>
                <a:ext uri="{FF2B5EF4-FFF2-40B4-BE49-F238E27FC236}">
                  <a16:creationId xmlns:a16="http://schemas.microsoft.com/office/drawing/2014/main" id="{F20E18FB-A024-4E64-891A-54C472497A45}"/>
                </a:ext>
              </a:extLst>
            </p:cNvPr>
            <p:cNvSpPr/>
            <p:nvPr/>
          </p:nvSpPr>
          <p:spPr>
            <a:xfrm>
              <a:off x="2225517" y="2808234"/>
              <a:ext cx="24183" cy="34548"/>
            </a:xfrm>
            <a:custGeom>
              <a:avLst/>
              <a:gdLst>
                <a:gd name="connsiteX0" fmla="*/ 0 w 24183"/>
                <a:gd name="connsiteY0" fmla="*/ 0 h 34548"/>
                <a:gd name="connsiteX1" fmla="*/ 10364 w 24183"/>
                <a:gd name="connsiteY1" fmla="*/ 6910 h 34548"/>
                <a:gd name="connsiteX2" fmla="*/ 24184 w 24183"/>
                <a:gd name="connsiteY2" fmla="*/ 10364 h 34548"/>
                <a:gd name="connsiteX3" fmla="*/ 20729 w 24183"/>
                <a:gd name="connsiteY3" fmla="*/ 27638 h 34548"/>
                <a:gd name="connsiteX4" fmla="*/ 10364 w 24183"/>
                <a:gd name="connsiteY4" fmla="*/ 34548 h 34548"/>
                <a:gd name="connsiteX5" fmla="*/ 0 w 24183"/>
                <a:gd name="connsiteY5" fmla="*/ 20729 h 34548"/>
                <a:gd name="connsiteX6" fmla="*/ 0 w 24183"/>
                <a:gd name="connsiteY6" fmla="*/ 0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83" h="34548">
                  <a:moveTo>
                    <a:pt x="0" y="0"/>
                  </a:moveTo>
                  <a:lnTo>
                    <a:pt x="10364" y="6910"/>
                  </a:lnTo>
                  <a:lnTo>
                    <a:pt x="24184" y="10364"/>
                  </a:lnTo>
                  <a:lnTo>
                    <a:pt x="20729" y="27638"/>
                  </a:lnTo>
                  <a:lnTo>
                    <a:pt x="10364" y="34548"/>
                  </a:lnTo>
                  <a:lnTo>
                    <a:pt x="0" y="20729"/>
                  </a:lnTo>
                  <a:lnTo>
                    <a:pt x="0" y="0"/>
                  </a:lnTo>
                  <a:close/>
                </a:path>
              </a:pathLst>
            </a:custGeom>
            <a:solidFill>
              <a:srgbClr val="CEE3BF"/>
            </a:solidFill>
            <a:ln w="9334" cap="flat">
              <a:noFill/>
              <a:prstDash val="solid"/>
              <a:miter/>
            </a:ln>
          </p:spPr>
          <p:txBody>
            <a:bodyPr rtlCol="0" anchor="ctr"/>
            <a:lstStyle/>
            <a:p>
              <a:endParaRPr lang="en-GB" dirty="0"/>
            </a:p>
          </p:txBody>
        </p:sp>
        <p:sp>
          <p:nvSpPr>
            <p:cNvPr id="965" name="Freeform: Shape 964">
              <a:extLst>
                <a:ext uri="{FF2B5EF4-FFF2-40B4-BE49-F238E27FC236}">
                  <a16:creationId xmlns:a16="http://schemas.microsoft.com/office/drawing/2014/main" id="{7ECC3307-9D0A-4731-9715-07B322084D23}"/>
                </a:ext>
              </a:extLst>
            </p:cNvPr>
            <p:cNvSpPr/>
            <p:nvPr/>
          </p:nvSpPr>
          <p:spPr>
            <a:xfrm>
              <a:off x="7233215" y="3796870"/>
              <a:ext cx="17273" cy="44912"/>
            </a:xfrm>
            <a:custGeom>
              <a:avLst/>
              <a:gdLst>
                <a:gd name="connsiteX0" fmla="*/ 0 w 17273"/>
                <a:gd name="connsiteY0" fmla="*/ 38003 h 44912"/>
                <a:gd name="connsiteX1" fmla="*/ 0 w 17273"/>
                <a:gd name="connsiteY1" fmla="*/ 17274 h 44912"/>
                <a:gd name="connsiteX2" fmla="*/ 6910 w 17273"/>
                <a:gd name="connsiteY2" fmla="*/ 0 h 44912"/>
                <a:gd name="connsiteX3" fmla="*/ 13819 w 17273"/>
                <a:gd name="connsiteY3" fmla="*/ 0 h 44912"/>
                <a:gd name="connsiteX4" fmla="*/ 17274 w 17273"/>
                <a:gd name="connsiteY4" fmla="*/ 13819 h 44912"/>
                <a:gd name="connsiteX5" fmla="*/ 17274 w 17273"/>
                <a:gd name="connsiteY5" fmla="*/ 24184 h 44912"/>
                <a:gd name="connsiteX6" fmla="*/ 13819 w 17273"/>
                <a:gd name="connsiteY6" fmla="*/ 38003 h 44912"/>
                <a:gd name="connsiteX7" fmla="*/ 6910 w 17273"/>
                <a:gd name="connsiteY7" fmla="*/ 44912 h 44912"/>
                <a:gd name="connsiteX8" fmla="*/ 0 w 17273"/>
                <a:gd name="connsiteY8" fmla="*/ 38003 h 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73" h="44912">
                  <a:moveTo>
                    <a:pt x="0" y="38003"/>
                  </a:moveTo>
                  <a:lnTo>
                    <a:pt x="0" y="17274"/>
                  </a:lnTo>
                  <a:lnTo>
                    <a:pt x="6910" y="0"/>
                  </a:lnTo>
                  <a:lnTo>
                    <a:pt x="13819" y="0"/>
                  </a:lnTo>
                  <a:lnTo>
                    <a:pt x="17274" y="13819"/>
                  </a:lnTo>
                  <a:lnTo>
                    <a:pt x="17274" y="24184"/>
                  </a:lnTo>
                  <a:lnTo>
                    <a:pt x="13819" y="38003"/>
                  </a:lnTo>
                  <a:lnTo>
                    <a:pt x="6910" y="44912"/>
                  </a:lnTo>
                  <a:lnTo>
                    <a:pt x="0" y="38003"/>
                  </a:lnTo>
                  <a:close/>
                </a:path>
              </a:pathLst>
            </a:custGeom>
            <a:solidFill>
              <a:srgbClr val="CEE3BF"/>
            </a:solidFill>
            <a:ln w="9334" cap="flat">
              <a:noFill/>
              <a:prstDash val="solid"/>
              <a:miter/>
            </a:ln>
          </p:spPr>
          <p:txBody>
            <a:bodyPr rtlCol="0" anchor="ctr"/>
            <a:lstStyle/>
            <a:p>
              <a:endParaRPr lang="en-GB" dirty="0"/>
            </a:p>
          </p:txBody>
        </p:sp>
        <p:sp>
          <p:nvSpPr>
            <p:cNvPr id="966" name="Freeform: Shape 965">
              <a:extLst>
                <a:ext uri="{FF2B5EF4-FFF2-40B4-BE49-F238E27FC236}">
                  <a16:creationId xmlns:a16="http://schemas.microsoft.com/office/drawing/2014/main" id="{E9777A34-C33E-40CB-BE40-A7B7367A611B}"/>
                </a:ext>
              </a:extLst>
            </p:cNvPr>
            <p:cNvSpPr/>
            <p:nvPr/>
          </p:nvSpPr>
          <p:spPr>
            <a:xfrm>
              <a:off x="3792880" y="2286185"/>
              <a:ext cx="10364" cy="20822"/>
            </a:xfrm>
            <a:custGeom>
              <a:avLst/>
              <a:gdLst>
                <a:gd name="connsiteX0" fmla="*/ 10364 w 10364"/>
                <a:gd name="connsiteY0" fmla="*/ 20822 h 20822"/>
                <a:gd name="connsiteX1" fmla="*/ 0 w 10364"/>
                <a:gd name="connsiteY1" fmla="*/ 13913 h 20822"/>
                <a:gd name="connsiteX2" fmla="*/ 0 w 10364"/>
                <a:gd name="connsiteY2" fmla="*/ 0 h 20822"/>
              </a:gdLst>
              <a:ahLst/>
              <a:cxnLst>
                <a:cxn ang="0">
                  <a:pos x="connsiteX0" y="connsiteY0"/>
                </a:cxn>
                <a:cxn ang="0">
                  <a:pos x="connsiteX1" y="connsiteY1"/>
                </a:cxn>
                <a:cxn ang="0">
                  <a:pos x="connsiteX2" y="connsiteY2"/>
                </a:cxn>
              </a:cxnLst>
              <a:rect l="l" t="t" r="r" b="b"/>
              <a:pathLst>
                <a:path w="10364" h="20822">
                  <a:moveTo>
                    <a:pt x="10364" y="20822"/>
                  </a:moveTo>
                  <a:lnTo>
                    <a:pt x="0" y="13913"/>
                  </a:lnTo>
                  <a:lnTo>
                    <a:pt x="0" y="0"/>
                  </a:lnTo>
                </a:path>
              </a:pathLst>
            </a:custGeom>
            <a:solidFill>
              <a:srgbClr val="CEE3BF"/>
            </a:solidFill>
            <a:ln w="9334" cap="flat">
              <a:noFill/>
              <a:prstDash val="solid"/>
              <a:miter/>
            </a:ln>
          </p:spPr>
          <p:txBody>
            <a:bodyPr rtlCol="0" anchor="ctr"/>
            <a:lstStyle/>
            <a:p>
              <a:endParaRPr lang="en-GB" dirty="0"/>
            </a:p>
          </p:txBody>
        </p:sp>
        <p:sp>
          <p:nvSpPr>
            <p:cNvPr id="967" name="Freeform: Shape 966">
              <a:extLst>
                <a:ext uri="{FF2B5EF4-FFF2-40B4-BE49-F238E27FC236}">
                  <a16:creationId xmlns:a16="http://schemas.microsoft.com/office/drawing/2014/main" id="{BED4D0B2-849D-4072-95D7-8F5B904476F5}"/>
                </a:ext>
              </a:extLst>
            </p:cNvPr>
            <p:cNvSpPr/>
            <p:nvPr/>
          </p:nvSpPr>
          <p:spPr>
            <a:xfrm>
              <a:off x="4117445" y="3036345"/>
              <a:ext cx="27544" cy="17274"/>
            </a:xfrm>
            <a:custGeom>
              <a:avLst/>
              <a:gdLst>
                <a:gd name="connsiteX0" fmla="*/ 27545 w 27544"/>
                <a:gd name="connsiteY0" fmla="*/ 17274 h 17274"/>
                <a:gd name="connsiteX1" fmla="*/ 13726 w 27544"/>
                <a:gd name="connsiteY1" fmla="*/ 6910 h 17274"/>
                <a:gd name="connsiteX2" fmla="*/ 0 w 27544"/>
                <a:gd name="connsiteY2" fmla="*/ 0 h 17274"/>
              </a:gdLst>
              <a:ahLst/>
              <a:cxnLst>
                <a:cxn ang="0">
                  <a:pos x="connsiteX0" y="connsiteY0"/>
                </a:cxn>
                <a:cxn ang="0">
                  <a:pos x="connsiteX1" y="connsiteY1"/>
                </a:cxn>
                <a:cxn ang="0">
                  <a:pos x="connsiteX2" y="connsiteY2"/>
                </a:cxn>
              </a:cxnLst>
              <a:rect l="l" t="t" r="r" b="b"/>
              <a:pathLst>
                <a:path w="27544" h="17274">
                  <a:moveTo>
                    <a:pt x="27545" y="17274"/>
                  </a:moveTo>
                  <a:lnTo>
                    <a:pt x="13726" y="6910"/>
                  </a:lnTo>
                  <a:lnTo>
                    <a:pt x="0" y="0"/>
                  </a:lnTo>
                </a:path>
              </a:pathLst>
            </a:custGeom>
            <a:solidFill>
              <a:srgbClr val="CEE3BF"/>
            </a:solidFill>
            <a:ln w="9334" cap="flat">
              <a:noFill/>
              <a:prstDash val="solid"/>
              <a:miter/>
            </a:ln>
          </p:spPr>
          <p:txBody>
            <a:bodyPr rtlCol="0" anchor="ctr"/>
            <a:lstStyle/>
            <a:p>
              <a:endParaRPr lang="en-GB" dirty="0"/>
            </a:p>
          </p:txBody>
        </p:sp>
        <p:sp>
          <p:nvSpPr>
            <p:cNvPr id="968" name="Freeform: Shape 967">
              <a:extLst>
                <a:ext uri="{FF2B5EF4-FFF2-40B4-BE49-F238E27FC236}">
                  <a16:creationId xmlns:a16="http://schemas.microsoft.com/office/drawing/2014/main" id="{5A810DDD-1D6A-48D1-B9EC-335D140A89D9}"/>
                </a:ext>
              </a:extLst>
            </p:cNvPr>
            <p:cNvSpPr/>
            <p:nvPr/>
          </p:nvSpPr>
          <p:spPr>
            <a:xfrm>
              <a:off x="2208243" y="2815144"/>
              <a:ext cx="13819" cy="31093"/>
            </a:xfrm>
            <a:custGeom>
              <a:avLst/>
              <a:gdLst>
                <a:gd name="connsiteX0" fmla="*/ 0 w 13819"/>
                <a:gd name="connsiteY0" fmla="*/ 0 h 31093"/>
                <a:gd name="connsiteX1" fmla="*/ 13819 w 13819"/>
                <a:gd name="connsiteY1" fmla="*/ 17274 h 31093"/>
                <a:gd name="connsiteX2" fmla="*/ 13819 w 13819"/>
                <a:gd name="connsiteY2" fmla="*/ 31093 h 31093"/>
              </a:gdLst>
              <a:ahLst/>
              <a:cxnLst>
                <a:cxn ang="0">
                  <a:pos x="connsiteX0" y="connsiteY0"/>
                </a:cxn>
                <a:cxn ang="0">
                  <a:pos x="connsiteX1" y="connsiteY1"/>
                </a:cxn>
                <a:cxn ang="0">
                  <a:pos x="connsiteX2" y="connsiteY2"/>
                </a:cxn>
              </a:cxnLst>
              <a:rect l="l" t="t" r="r" b="b"/>
              <a:pathLst>
                <a:path w="13819" h="31093">
                  <a:moveTo>
                    <a:pt x="0" y="0"/>
                  </a:moveTo>
                  <a:lnTo>
                    <a:pt x="13819" y="17274"/>
                  </a:lnTo>
                  <a:lnTo>
                    <a:pt x="13819" y="31093"/>
                  </a:lnTo>
                </a:path>
              </a:pathLst>
            </a:custGeom>
            <a:solidFill>
              <a:srgbClr val="CEE3BF"/>
            </a:solidFill>
            <a:ln w="9334" cap="flat">
              <a:noFill/>
              <a:prstDash val="solid"/>
              <a:miter/>
            </a:ln>
          </p:spPr>
          <p:txBody>
            <a:bodyPr rtlCol="0" anchor="ctr"/>
            <a:lstStyle/>
            <a:p>
              <a:endParaRPr lang="en-GB" dirty="0"/>
            </a:p>
          </p:txBody>
        </p:sp>
        <p:sp>
          <p:nvSpPr>
            <p:cNvPr id="969" name="Freeform: Shape 968">
              <a:extLst>
                <a:ext uri="{FF2B5EF4-FFF2-40B4-BE49-F238E27FC236}">
                  <a16:creationId xmlns:a16="http://schemas.microsoft.com/office/drawing/2014/main" id="{6F82E6B6-0BCD-41D5-A231-1BE869B6581F}"/>
                </a:ext>
              </a:extLst>
            </p:cNvPr>
            <p:cNvSpPr/>
            <p:nvPr/>
          </p:nvSpPr>
          <p:spPr>
            <a:xfrm>
              <a:off x="7119300" y="3672403"/>
              <a:ext cx="48273" cy="48367"/>
            </a:xfrm>
            <a:custGeom>
              <a:avLst/>
              <a:gdLst>
                <a:gd name="connsiteX0" fmla="*/ 48274 w 48273"/>
                <a:gd name="connsiteY0" fmla="*/ 6910 h 48367"/>
                <a:gd name="connsiteX1" fmla="*/ 31000 w 48273"/>
                <a:gd name="connsiteY1" fmla="*/ 0 h 48367"/>
                <a:gd name="connsiteX2" fmla="*/ 24090 w 48273"/>
                <a:gd name="connsiteY2" fmla="*/ 0 h 48367"/>
                <a:gd name="connsiteX3" fmla="*/ 17180 w 48273"/>
                <a:gd name="connsiteY3" fmla="*/ 3455 h 48367"/>
                <a:gd name="connsiteX4" fmla="*/ 0 w 48273"/>
                <a:gd name="connsiteY4" fmla="*/ 17274 h 48367"/>
                <a:gd name="connsiteX5" fmla="*/ 0 w 48273"/>
                <a:gd name="connsiteY5" fmla="*/ 31093 h 48367"/>
                <a:gd name="connsiteX6" fmla="*/ 17180 w 48273"/>
                <a:gd name="connsiteY6" fmla="*/ 34548 h 48367"/>
                <a:gd name="connsiteX7" fmla="*/ 31000 w 48273"/>
                <a:gd name="connsiteY7" fmla="*/ 48367 h 48367"/>
                <a:gd name="connsiteX8" fmla="*/ 44819 w 48273"/>
                <a:gd name="connsiteY8" fmla="*/ 48367 h 48367"/>
                <a:gd name="connsiteX9" fmla="*/ 37909 w 48273"/>
                <a:gd name="connsiteY9" fmla="*/ 31093 h 48367"/>
                <a:gd name="connsiteX10" fmla="*/ 37909 w 48273"/>
                <a:gd name="connsiteY10" fmla="*/ 20729 h 48367"/>
                <a:gd name="connsiteX11" fmla="*/ 48274 w 48273"/>
                <a:gd name="connsiteY11" fmla="*/ 6910 h 4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73" h="48367">
                  <a:moveTo>
                    <a:pt x="48274" y="6910"/>
                  </a:moveTo>
                  <a:lnTo>
                    <a:pt x="31000" y="0"/>
                  </a:lnTo>
                  <a:lnTo>
                    <a:pt x="24090" y="0"/>
                  </a:lnTo>
                  <a:lnTo>
                    <a:pt x="17180" y="3455"/>
                  </a:lnTo>
                  <a:lnTo>
                    <a:pt x="0" y="17274"/>
                  </a:lnTo>
                  <a:lnTo>
                    <a:pt x="0" y="31093"/>
                  </a:lnTo>
                  <a:lnTo>
                    <a:pt x="17180" y="34548"/>
                  </a:lnTo>
                  <a:lnTo>
                    <a:pt x="31000" y="48367"/>
                  </a:lnTo>
                  <a:lnTo>
                    <a:pt x="44819" y="48367"/>
                  </a:lnTo>
                  <a:lnTo>
                    <a:pt x="37909" y="31093"/>
                  </a:lnTo>
                  <a:lnTo>
                    <a:pt x="37909" y="20729"/>
                  </a:lnTo>
                  <a:lnTo>
                    <a:pt x="48274" y="6910"/>
                  </a:lnTo>
                  <a:close/>
                </a:path>
              </a:pathLst>
            </a:custGeom>
            <a:solidFill>
              <a:srgbClr val="CEE3BF"/>
            </a:solidFill>
            <a:ln w="9334" cap="flat">
              <a:noFill/>
              <a:prstDash val="solid"/>
              <a:miter/>
            </a:ln>
          </p:spPr>
          <p:txBody>
            <a:bodyPr rtlCol="0" anchor="ctr"/>
            <a:lstStyle/>
            <a:p>
              <a:endParaRPr lang="en-GB" dirty="0"/>
            </a:p>
          </p:txBody>
        </p:sp>
        <p:sp>
          <p:nvSpPr>
            <p:cNvPr id="970" name="Freeform: Shape 969">
              <a:extLst>
                <a:ext uri="{FF2B5EF4-FFF2-40B4-BE49-F238E27FC236}">
                  <a16:creationId xmlns:a16="http://schemas.microsoft.com/office/drawing/2014/main" id="{8C831D61-9768-4755-8B06-AB8E1D560E7B}"/>
                </a:ext>
              </a:extLst>
            </p:cNvPr>
            <p:cNvSpPr/>
            <p:nvPr/>
          </p:nvSpPr>
          <p:spPr>
            <a:xfrm>
              <a:off x="1545386" y="3942065"/>
              <a:ext cx="20728" cy="17274"/>
            </a:xfrm>
            <a:custGeom>
              <a:avLst/>
              <a:gdLst>
                <a:gd name="connsiteX0" fmla="*/ 20729 w 20728"/>
                <a:gd name="connsiteY0" fmla="*/ 10365 h 17274"/>
                <a:gd name="connsiteX1" fmla="*/ 17274 w 20728"/>
                <a:gd name="connsiteY1" fmla="*/ 3455 h 17274"/>
                <a:gd name="connsiteX2" fmla="*/ 6910 w 20728"/>
                <a:gd name="connsiteY2" fmla="*/ 0 h 17274"/>
                <a:gd name="connsiteX3" fmla="*/ 0 w 20728"/>
                <a:gd name="connsiteY3" fmla="*/ 6910 h 17274"/>
                <a:gd name="connsiteX4" fmla="*/ 6910 w 20728"/>
                <a:gd name="connsiteY4" fmla="*/ 10365 h 17274"/>
                <a:gd name="connsiteX5" fmla="*/ 17274 w 20728"/>
                <a:gd name="connsiteY5" fmla="*/ 17274 h 17274"/>
                <a:gd name="connsiteX6" fmla="*/ 20729 w 20728"/>
                <a:gd name="connsiteY6" fmla="*/ 10365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8" h="17274">
                  <a:moveTo>
                    <a:pt x="20729" y="10365"/>
                  </a:moveTo>
                  <a:lnTo>
                    <a:pt x="17274" y="3455"/>
                  </a:lnTo>
                  <a:lnTo>
                    <a:pt x="6910" y="0"/>
                  </a:lnTo>
                  <a:lnTo>
                    <a:pt x="0" y="6910"/>
                  </a:lnTo>
                  <a:lnTo>
                    <a:pt x="6910" y="10365"/>
                  </a:lnTo>
                  <a:lnTo>
                    <a:pt x="17274" y="17274"/>
                  </a:lnTo>
                  <a:lnTo>
                    <a:pt x="20729" y="10365"/>
                  </a:lnTo>
                  <a:close/>
                </a:path>
              </a:pathLst>
            </a:custGeom>
            <a:solidFill>
              <a:srgbClr val="CEE3BF"/>
            </a:solidFill>
            <a:ln w="9334" cap="flat">
              <a:noFill/>
              <a:prstDash val="solid"/>
              <a:miter/>
            </a:ln>
          </p:spPr>
          <p:txBody>
            <a:bodyPr rtlCol="0" anchor="ctr"/>
            <a:lstStyle/>
            <a:p>
              <a:endParaRPr lang="en-GB" dirty="0"/>
            </a:p>
          </p:txBody>
        </p:sp>
        <p:sp>
          <p:nvSpPr>
            <p:cNvPr id="971" name="Freeform: Shape 970">
              <a:extLst>
                <a:ext uri="{FF2B5EF4-FFF2-40B4-BE49-F238E27FC236}">
                  <a16:creationId xmlns:a16="http://schemas.microsoft.com/office/drawing/2014/main" id="{F1D31950-E2F8-43E1-B917-9F5B543D094F}"/>
                </a:ext>
              </a:extLst>
            </p:cNvPr>
            <p:cNvSpPr/>
            <p:nvPr/>
          </p:nvSpPr>
          <p:spPr>
            <a:xfrm>
              <a:off x="1545386" y="3942065"/>
              <a:ext cx="20728" cy="17274"/>
            </a:xfrm>
            <a:custGeom>
              <a:avLst/>
              <a:gdLst>
                <a:gd name="connsiteX0" fmla="*/ 20729 w 20728"/>
                <a:gd name="connsiteY0" fmla="*/ 10365 h 17274"/>
                <a:gd name="connsiteX1" fmla="*/ 17274 w 20728"/>
                <a:gd name="connsiteY1" fmla="*/ 3455 h 17274"/>
                <a:gd name="connsiteX2" fmla="*/ 6910 w 20728"/>
                <a:gd name="connsiteY2" fmla="*/ 0 h 17274"/>
                <a:gd name="connsiteX3" fmla="*/ 0 w 20728"/>
                <a:gd name="connsiteY3" fmla="*/ 6910 h 17274"/>
                <a:gd name="connsiteX4" fmla="*/ 6910 w 20728"/>
                <a:gd name="connsiteY4" fmla="*/ 10365 h 17274"/>
                <a:gd name="connsiteX5" fmla="*/ 17274 w 20728"/>
                <a:gd name="connsiteY5" fmla="*/ 17274 h 17274"/>
                <a:gd name="connsiteX6" fmla="*/ 20729 w 20728"/>
                <a:gd name="connsiteY6" fmla="*/ 10365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8" h="17274">
                  <a:moveTo>
                    <a:pt x="20729" y="10365"/>
                  </a:moveTo>
                  <a:lnTo>
                    <a:pt x="17274" y="3455"/>
                  </a:lnTo>
                  <a:lnTo>
                    <a:pt x="6910" y="0"/>
                  </a:lnTo>
                  <a:lnTo>
                    <a:pt x="0" y="6910"/>
                  </a:lnTo>
                  <a:lnTo>
                    <a:pt x="6910" y="10365"/>
                  </a:lnTo>
                  <a:lnTo>
                    <a:pt x="17274" y="17274"/>
                  </a:lnTo>
                  <a:lnTo>
                    <a:pt x="20729" y="10365"/>
                  </a:lnTo>
                  <a:close/>
                </a:path>
              </a:pathLst>
            </a:custGeom>
            <a:solidFill>
              <a:srgbClr val="CEE3BF"/>
            </a:solidFill>
            <a:ln w="9334" cap="flat">
              <a:noFill/>
              <a:prstDash val="solid"/>
              <a:miter/>
            </a:ln>
          </p:spPr>
          <p:txBody>
            <a:bodyPr rtlCol="0" anchor="ctr"/>
            <a:lstStyle/>
            <a:p>
              <a:endParaRPr lang="en-GB" dirty="0"/>
            </a:p>
          </p:txBody>
        </p:sp>
        <p:sp>
          <p:nvSpPr>
            <p:cNvPr id="972" name="Freeform: Shape 971">
              <a:extLst>
                <a:ext uri="{FF2B5EF4-FFF2-40B4-BE49-F238E27FC236}">
                  <a16:creationId xmlns:a16="http://schemas.microsoft.com/office/drawing/2014/main" id="{2B003D34-A7C8-4677-9A2E-E26B80A0BD1A}"/>
                </a:ext>
              </a:extLst>
            </p:cNvPr>
            <p:cNvSpPr/>
            <p:nvPr/>
          </p:nvSpPr>
          <p:spPr>
            <a:xfrm>
              <a:off x="1573025" y="3966249"/>
              <a:ext cx="27545" cy="34548"/>
            </a:xfrm>
            <a:custGeom>
              <a:avLst/>
              <a:gdLst>
                <a:gd name="connsiteX0" fmla="*/ 27545 w 27545"/>
                <a:gd name="connsiteY0" fmla="*/ 24184 h 34548"/>
                <a:gd name="connsiteX1" fmla="*/ 13819 w 27545"/>
                <a:gd name="connsiteY1" fmla="*/ 27639 h 34548"/>
                <a:gd name="connsiteX2" fmla="*/ 6910 w 27545"/>
                <a:gd name="connsiteY2" fmla="*/ 34548 h 34548"/>
                <a:gd name="connsiteX3" fmla="*/ 0 w 27545"/>
                <a:gd name="connsiteY3" fmla="*/ 20729 h 34548"/>
                <a:gd name="connsiteX4" fmla="*/ 0 w 27545"/>
                <a:gd name="connsiteY4" fmla="*/ 10365 h 34548"/>
                <a:gd name="connsiteX5" fmla="*/ 6910 w 27545"/>
                <a:gd name="connsiteY5" fmla="*/ 0 h 34548"/>
                <a:gd name="connsiteX6" fmla="*/ 13819 w 27545"/>
                <a:gd name="connsiteY6" fmla="*/ 3455 h 34548"/>
                <a:gd name="connsiteX7" fmla="*/ 24090 w 27545"/>
                <a:gd name="connsiteY7" fmla="*/ 10365 h 34548"/>
                <a:gd name="connsiteX8" fmla="*/ 27545 w 27545"/>
                <a:gd name="connsiteY8" fmla="*/ 24184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45" h="34548">
                  <a:moveTo>
                    <a:pt x="27545" y="24184"/>
                  </a:moveTo>
                  <a:lnTo>
                    <a:pt x="13819" y="27639"/>
                  </a:lnTo>
                  <a:lnTo>
                    <a:pt x="6910" y="34548"/>
                  </a:lnTo>
                  <a:lnTo>
                    <a:pt x="0" y="20729"/>
                  </a:lnTo>
                  <a:lnTo>
                    <a:pt x="0" y="10365"/>
                  </a:lnTo>
                  <a:lnTo>
                    <a:pt x="6910" y="0"/>
                  </a:lnTo>
                  <a:lnTo>
                    <a:pt x="13819" y="3455"/>
                  </a:lnTo>
                  <a:lnTo>
                    <a:pt x="24090" y="10365"/>
                  </a:lnTo>
                  <a:lnTo>
                    <a:pt x="27545" y="24184"/>
                  </a:lnTo>
                  <a:close/>
                </a:path>
              </a:pathLst>
            </a:custGeom>
            <a:solidFill>
              <a:srgbClr val="CEE3BF"/>
            </a:solidFill>
            <a:ln w="9334" cap="flat">
              <a:noFill/>
              <a:prstDash val="solid"/>
              <a:miter/>
            </a:ln>
          </p:spPr>
          <p:txBody>
            <a:bodyPr rtlCol="0" anchor="ctr"/>
            <a:lstStyle/>
            <a:p>
              <a:endParaRPr lang="en-GB" dirty="0"/>
            </a:p>
          </p:txBody>
        </p:sp>
        <p:sp>
          <p:nvSpPr>
            <p:cNvPr id="973" name="Freeform: Shape 972">
              <a:extLst>
                <a:ext uri="{FF2B5EF4-FFF2-40B4-BE49-F238E27FC236}">
                  <a16:creationId xmlns:a16="http://schemas.microsoft.com/office/drawing/2014/main" id="{07CBA27E-9A80-4787-BB75-026C40D01873}"/>
                </a:ext>
              </a:extLst>
            </p:cNvPr>
            <p:cNvSpPr/>
            <p:nvPr/>
          </p:nvSpPr>
          <p:spPr>
            <a:xfrm>
              <a:off x="1573025" y="3966249"/>
              <a:ext cx="27545" cy="34548"/>
            </a:xfrm>
            <a:custGeom>
              <a:avLst/>
              <a:gdLst>
                <a:gd name="connsiteX0" fmla="*/ 27545 w 27545"/>
                <a:gd name="connsiteY0" fmla="*/ 24184 h 34548"/>
                <a:gd name="connsiteX1" fmla="*/ 13819 w 27545"/>
                <a:gd name="connsiteY1" fmla="*/ 27639 h 34548"/>
                <a:gd name="connsiteX2" fmla="*/ 6910 w 27545"/>
                <a:gd name="connsiteY2" fmla="*/ 34548 h 34548"/>
                <a:gd name="connsiteX3" fmla="*/ 0 w 27545"/>
                <a:gd name="connsiteY3" fmla="*/ 20729 h 34548"/>
                <a:gd name="connsiteX4" fmla="*/ 0 w 27545"/>
                <a:gd name="connsiteY4" fmla="*/ 10365 h 34548"/>
                <a:gd name="connsiteX5" fmla="*/ 6910 w 27545"/>
                <a:gd name="connsiteY5" fmla="*/ 0 h 34548"/>
                <a:gd name="connsiteX6" fmla="*/ 13819 w 27545"/>
                <a:gd name="connsiteY6" fmla="*/ 3455 h 34548"/>
                <a:gd name="connsiteX7" fmla="*/ 24090 w 27545"/>
                <a:gd name="connsiteY7" fmla="*/ 10365 h 34548"/>
                <a:gd name="connsiteX8" fmla="*/ 27545 w 27545"/>
                <a:gd name="connsiteY8" fmla="*/ 24184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45" h="34548">
                  <a:moveTo>
                    <a:pt x="27545" y="24184"/>
                  </a:moveTo>
                  <a:lnTo>
                    <a:pt x="13819" y="27639"/>
                  </a:lnTo>
                  <a:lnTo>
                    <a:pt x="6910" y="34548"/>
                  </a:lnTo>
                  <a:lnTo>
                    <a:pt x="0" y="20729"/>
                  </a:lnTo>
                  <a:lnTo>
                    <a:pt x="0" y="10365"/>
                  </a:lnTo>
                  <a:lnTo>
                    <a:pt x="6910" y="0"/>
                  </a:lnTo>
                  <a:lnTo>
                    <a:pt x="13819" y="3455"/>
                  </a:lnTo>
                  <a:lnTo>
                    <a:pt x="24090" y="10365"/>
                  </a:lnTo>
                  <a:lnTo>
                    <a:pt x="27545" y="24184"/>
                  </a:lnTo>
                  <a:close/>
                </a:path>
              </a:pathLst>
            </a:custGeom>
            <a:solidFill>
              <a:srgbClr val="CEE3BF"/>
            </a:solidFill>
            <a:ln w="9334" cap="flat">
              <a:noFill/>
              <a:prstDash val="solid"/>
              <a:miter/>
            </a:ln>
          </p:spPr>
          <p:txBody>
            <a:bodyPr rtlCol="0" anchor="ctr"/>
            <a:lstStyle/>
            <a:p>
              <a:endParaRPr lang="en-GB" dirty="0"/>
            </a:p>
          </p:txBody>
        </p:sp>
        <p:sp>
          <p:nvSpPr>
            <p:cNvPr id="974" name="Freeform: Shape 973">
              <a:extLst>
                <a:ext uri="{FF2B5EF4-FFF2-40B4-BE49-F238E27FC236}">
                  <a16:creationId xmlns:a16="http://schemas.microsoft.com/office/drawing/2014/main" id="{B6ABE6DA-BDE9-4201-8637-9718904927E3}"/>
                </a:ext>
              </a:extLst>
            </p:cNvPr>
            <p:cNvSpPr/>
            <p:nvPr/>
          </p:nvSpPr>
          <p:spPr>
            <a:xfrm>
              <a:off x="1510838" y="3921336"/>
              <a:ext cx="10364" cy="13819"/>
            </a:xfrm>
            <a:custGeom>
              <a:avLst/>
              <a:gdLst>
                <a:gd name="connsiteX0" fmla="*/ 10364 w 10364"/>
                <a:gd name="connsiteY0" fmla="*/ 10365 h 13819"/>
                <a:gd name="connsiteX1" fmla="*/ 6910 w 10364"/>
                <a:gd name="connsiteY1" fmla="*/ 0 h 13819"/>
                <a:gd name="connsiteX2" fmla="*/ 0 w 10364"/>
                <a:gd name="connsiteY2" fmla="*/ 0 h 13819"/>
                <a:gd name="connsiteX3" fmla="*/ 0 w 10364"/>
                <a:gd name="connsiteY3" fmla="*/ 6910 h 13819"/>
                <a:gd name="connsiteX4" fmla="*/ 3455 w 10364"/>
                <a:gd name="connsiteY4" fmla="*/ 13819 h 13819"/>
                <a:gd name="connsiteX5" fmla="*/ 10364 w 10364"/>
                <a:gd name="connsiteY5" fmla="*/ 10365 h 1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4" h="13819">
                  <a:moveTo>
                    <a:pt x="10364" y="10365"/>
                  </a:moveTo>
                  <a:lnTo>
                    <a:pt x="6910" y="0"/>
                  </a:lnTo>
                  <a:lnTo>
                    <a:pt x="0" y="0"/>
                  </a:lnTo>
                  <a:lnTo>
                    <a:pt x="0" y="6910"/>
                  </a:lnTo>
                  <a:lnTo>
                    <a:pt x="3455" y="13819"/>
                  </a:lnTo>
                  <a:lnTo>
                    <a:pt x="10364" y="10365"/>
                  </a:lnTo>
                  <a:close/>
                </a:path>
              </a:pathLst>
            </a:custGeom>
            <a:solidFill>
              <a:srgbClr val="CEE3BF"/>
            </a:solidFill>
            <a:ln w="9334" cap="flat">
              <a:noFill/>
              <a:prstDash val="solid"/>
              <a:miter/>
            </a:ln>
          </p:spPr>
          <p:txBody>
            <a:bodyPr rtlCol="0" anchor="ctr"/>
            <a:lstStyle/>
            <a:p>
              <a:endParaRPr lang="en-GB" dirty="0"/>
            </a:p>
          </p:txBody>
        </p:sp>
        <p:sp>
          <p:nvSpPr>
            <p:cNvPr id="975" name="Freeform: Shape 974">
              <a:extLst>
                <a:ext uri="{FF2B5EF4-FFF2-40B4-BE49-F238E27FC236}">
                  <a16:creationId xmlns:a16="http://schemas.microsoft.com/office/drawing/2014/main" id="{A18B1B9F-A13D-49FD-8D2D-73359414C189}"/>
                </a:ext>
              </a:extLst>
            </p:cNvPr>
            <p:cNvSpPr/>
            <p:nvPr/>
          </p:nvSpPr>
          <p:spPr>
            <a:xfrm>
              <a:off x="1510838" y="3921336"/>
              <a:ext cx="10364" cy="13819"/>
            </a:xfrm>
            <a:custGeom>
              <a:avLst/>
              <a:gdLst>
                <a:gd name="connsiteX0" fmla="*/ 10364 w 10364"/>
                <a:gd name="connsiteY0" fmla="*/ 10365 h 13819"/>
                <a:gd name="connsiteX1" fmla="*/ 6910 w 10364"/>
                <a:gd name="connsiteY1" fmla="*/ 0 h 13819"/>
                <a:gd name="connsiteX2" fmla="*/ 0 w 10364"/>
                <a:gd name="connsiteY2" fmla="*/ 0 h 13819"/>
                <a:gd name="connsiteX3" fmla="*/ 0 w 10364"/>
                <a:gd name="connsiteY3" fmla="*/ 6910 h 13819"/>
                <a:gd name="connsiteX4" fmla="*/ 3455 w 10364"/>
                <a:gd name="connsiteY4" fmla="*/ 13819 h 13819"/>
                <a:gd name="connsiteX5" fmla="*/ 10364 w 10364"/>
                <a:gd name="connsiteY5" fmla="*/ 10365 h 1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4" h="13819">
                  <a:moveTo>
                    <a:pt x="10364" y="10365"/>
                  </a:moveTo>
                  <a:lnTo>
                    <a:pt x="6910" y="0"/>
                  </a:lnTo>
                  <a:lnTo>
                    <a:pt x="0" y="0"/>
                  </a:lnTo>
                  <a:lnTo>
                    <a:pt x="0" y="6910"/>
                  </a:lnTo>
                  <a:lnTo>
                    <a:pt x="3455" y="13819"/>
                  </a:lnTo>
                  <a:lnTo>
                    <a:pt x="10364" y="10365"/>
                  </a:lnTo>
                  <a:close/>
                </a:path>
              </a:pathLst>
            </a:custGeom>
            <a:solidFill>
              <a:srgbClr val="CEE3BF"/>
            </a:solidFill>
            <a:ln w="9334" cap="flat">
              <a:noFill/>
              <a:prstDash val="solid"/>
              <a:miter/>
            </a:ln>
          </p:spPr>
          <p:txBody>
            <a:bodyPr rtlCol="0" anchor="ctr"/>
            <a:lstStyle/>
            <a:p>
              <a:endParaRPr lang="en-GB" dirty="0"/>
            </a:p>
          </p:txBody>
        </p:sp>
        <p:sp>
          <p:nvSpPr>
            <p:cNvPr id="976" name="Freeform: Shape 975">
              <a:extLst>
                <a:ext uri="{FF2B5EF4-FFF2-40B4-BE49-F238E27FC236}">
                  <a16:creationId xmlns:a16="http://schemas.microsoft.com/office/drawing/2014/main" id="{EB17D79A-6F7A-496B-98DD-20AEED3E884D}"/>
                </a:ext>
              </a:extLst>
            </p:cNvPr>
            <p:cNvSpPr/>
            <p:nvPr/>
          </p:nvSpPr>
          <p:spPr>
            <a:xfrm>
              <a:off x="1510838" y="3921336"/>
              <a:ext cx="10364" cy="13819"/>
            </a:xfrm>
            <a:custGeom>
              <a:avLst/>
              <a:gdLst>
                <a:gd name="connsiteX0" fmla="*/ 10364 w 10364"/>
                <a:gd name="connsiteY0" fmla="*/ 10365 h 13819"/>
                <a:gd name="connsiteX1" fmla="*/ 6910 w 10364"/>
                <a:gd name="connsiteY1" fmla="*/ 0 h 13819"/>
                <a:gd name="connsiteX2" fmla="*/ 0 w 10364"/>
                <a:gd name="connsiteY2" fmla="*/ 0 h 13819"/>
                <a:gd name="connsiteX3" fmla="*/ 0 w 10364"/>
                <a:gd name="connsiteY3" fmla="*/ 6910 h 13819"/>
                <a:gd name="connsiteX4" fmla="*/ 3455 w 10364"/>
                <a:gd name="connsiteY4" fmla="*/ 13819 h 13819"/>
                <a:gd name="connsiteX5" fmla="*/ 10364 w 10364"/>
                <a:gd name="connsiteY5" fmla="*/ 10365 h 1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4" h="13819">
                  <a:moveTo>
                    <a:pt x="10364" y="10365"/>
                  </a:moveTo>
                  <a:lnTo>
                    <a:pt x="6910" y="0"/>
                  </a:lnTo>
                  <a:lnTo>
                    <a:pt x="0" y="0"/>
                  </a:lnTo>
                  <a:lnTo>
                    <a:pt x="0" y="6910"/>
                  </a:lnTo>
                  <a:lnTo>
                    <a:pt x="3455" y="13819"/>
                  </a:lnTo>
                  <a:lnTo>
                    <a:pt x="10364" y="10365"/>
                  </a:lnTo>
                  <a:close/>
                </a:path>
              </a:pathLst>
            </a:custGeom>
            <a:solidFill>
              <a:srgbClr val="CEE3BF"/>
            </a:solidFill>
            <a:ln w="9334" cap="flat">
              <a:noFill/>
              <a:prstDash val="solid"/>
              <a:miter/>
            </a:ln>
          </p:spPr>
          <p:txBody>
            <a:bodyPr rtlCol="0" anchor="ctr"/>
            <a:lstStyle/>
            <a:p>
              <a:endParaRPr lang="en-GB" dirty="0"/>
            </a:p>
          </p:txBody>
        </p:sp>
        <p:sp>
          <p:nvSpPr>
            <p:cNvPr id="977" name="Freeform: Shape 976">
              <a:extLst>
                <a:ext uri="{FF2B5EF4-FFF2-40B4-BE49-F238E27FC236}">
                  <a16:creationId xmlns:a16="http://schemas.microsoft.com/office/drawing/2014/main" id="{6C94F82D-6192-4317-B2A6-B36716EC7F3D}"/>
                </a:ext>
              </a:extLst>
            </p:cNvPr>
            <p:cNvSpPr/>
            <p:nvPr/>
          </p:nvSpPr>
          <p:spPr>
            <a:xfrm>
              <a:off x="1510838" y="3921336"/>
              <a:ext cx="10364" cy="13819"/>
            </a:xfrm>
            <a:custGeom>
              <a:avLst/>
              <a:gdLst>
                <a:gd name="connsiteX0" fmla="*/ 10364 w 10364"/>
                <a:gd name="connsiteY0" fmla="*/ 10365 h 13819"/>
                <a:gd name="connsiteX1" fmla="*/ 6910 w 10364"/>
                <a:gd name="connsiteY1" fmla="*/ 0 h 13819"/>
                <a:gd name="connsiteX2" fmla="*/ 0 w 10364"/>
                <a:gd name="connsiteY2" fmla="*/ 0 h 13819"/>
                <a:gd name="connsiteX3" fmla="*/ 0 w 10364"/>
                <a:gd name="connsiteY3" fmla="*/ 6910 h 13819"/>
                <a:gd name="connsiteX4" fmla="*/ 3455 w 10364"/>
                <a:gd name="connsiteY4" fmla="*/ 13819 h 13819"/>
                <a:gd name="connsiteX5" fmla="*/ 10364 w 10364"/>
                <a:gd name="connsiteY5" fmla="*/ 10365 h 1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4" h="13819">
                  <a:moveTo>
                    <a:pt x="10364" y="10365"/>
                  </a:moveTo>
                  <a:lnTo>
                    <a:pt x="6910" y="0"/>
                  </a:lnTo>
                  <a:lnTo>
                    <a:pt x="0" y="0"/>
                  </a:lnTo>
                  <a:lnTo>
                    <a:pt x="0" y="6910"/>
                  </a:lnTo>
                  <a:lnTo>
                    <a:pt x="3455" y="13819"/>
                  </a:lnTo>
                  <a:lnTo>
                    <a:pt x="10364" y="10365"/>
                  </a:lnTo>
                  <a:close/>
                </a:path>
              </a:pathLst>
            </a:custGeom>
            <a:solidFill>
              <a:srgbClr val="CEE3BF"/>
            </a:solidFill>
            <a:ln w="9334" cap="flat">
              <a:noFill/>
              <a:prstDash val="solid"/>
              <a:miter/>
            </a:ln>
          </p:spPr>
          <p:txBody>
            <a:bodyPr rtlCol="0" anchor="ctr"/>
            <a:lstStyle/>
            <a:p>
              <a:endParaRPr lang="en-GB" dirty="0"/>
            </a:p>
          </p:txBody>
        </p:sp>
        <p:sp>
          <p:nvSpPr>
            <p:cNvPr id="978" name="Freeform: Shape 977">
              <a:extLst>
                <a:ext uri="{FF2B5EF4-FFF2-40B4-BE49-F238E27FC236}">
                  <a16:creationId xmlns:a16="http://schemas.microsoft.com/office/drawing/2014/main" id="{CD9A0C82-D494-49E5-AE8F-7CCAC0179471}"/>
                </a:ext>
              </a:extLst>
            </p:cNvPr>
            <p:cNvSpPr/>
            <p:nvPr/>
          </p:nvSpPr>
          <p:spPr>
            <a:xfrm>
              <a:off x="1469381" y="3907517"/>
              <a:ext cx="10364" cy="6909"/>
            </a:xfrm>
            <a:custGeom>
              <a:avLst/>
              <a:gdLst>
                <a:gd name="connsiteX0" fmla="*/ 6910 w 10364"/>
                <a:gd name="connsiteY0" fmla="*/ 0 h 6909"/>
                <a:gd name="connsiteX1" fmla="*/ 0 w 10364"/>
                <a:gd name="connsiteY1" fmla="*/ 0 h 6909"/>
                <a:gd name="connsiteX2" fmla="*/ 3455 w 10364"/>
                <a:gd name="connsiteY2" fmla="*/ 6910 h 6909"/>
                <a:gd name="connsiteX3" fmla="*/ 10364 w 10364"/>
                <a:gd name="connsiteY3" fmla="*/ 6910 h 6909"/>
                <a:gd name="connsiteX4" fmla="*/ 6910 w 10364"/>
                <a:gd name="connsiteY4" fmla="*/ 0 h 6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4" h="6909">
                  <a:moveTo>
                    <a:pt x="6910" y="0"/>
                  </a:moveTo>
                  <a:lnTo>
                    <a:pt x="0" y="0"/>
                  </a:lnTo>
                  <a:lnTo>
                    <a:pt x="3455" y="6910"/>
                  </a:lnTo>
                  <a:lnTo>
                    <a:pt x="10364" y="6910"/>
                  </a:lnTo>
                  <a:lnTo>
                    <a:pt x="6910" y="0"/>
                  </a:lnTo>
                  <a:close/>
                </a:path>
              </a:pathLst>
            </a:custGeom>
            <a:solidFill>
              <a:srgbClr val="CEE3BF"/>
            </a:solidFill>
            <a:ln w="9334" cap="flat">
              <a:noFill/>
              <a:prstDash val="solid"/>
              <a:miter/>
            </a:ln>
          </p:spPr>
          <p:txBody>
            <a:bodyPr rtlCol="0" anchor="ctr"/>
            <a:lstStyle/>
            <a:p>
              <a:endParaRPr lang="en-GB" dirty="0"/>
            </a:p>
          </p:txBody>
        </p:sp>
        <p:sp>
          <p:nvSpPr>
            <p:cNvPr id="979" name="Freeform: Shape 978">
              <a:extLst>
                <a:ext uri="{FF2B5EF4-FFF2-40B4-BE49-F238E27FC236}">
                  <a16:creationId xmlns:a16="http://schemas.microsoft.com/office/drawing/2014/main" id="{AAE46223-C31B-455B-BA5C-7B4EC8075B95}"/>
                </a:ext>
              </a:extLst>
            </p:cNvPr>
            <p:cNvSpPr/>
            <p:nvPr/>
          </p:nvSpPr>
          <p:spPr>
            <a:xfrm>
              <a:off x="1469381" y="3907517"/>
              <a:ext cx="10364" cy="6909"/>
            </a:xfrm>
            <a:custGeom>
              <a:avLst/>
              <a:gdLst>
                <a:gd name="connsiteX0" fmla="*/ 6910 w 10364"/>
                <a:gd name="connsiteY0" fmla="*/ 0 h 6909"/>
                <a:gd name="connsiteX1" fmla="*/ 0 w 10364"/>
                <a:gd name="connsiteY1" fmla="*/ 0 h 6909"/>
                <a:gd name="connsiteX2" fmla="*/ 3455 w 10364"/>
                <a:gd name="connsiteY2" fmla="*/ 6910 h 6909"/>
                <a:gd name="connsiteX3" fmla="*/ 10364 w 10364"/>
                <a:gd name="connsiteY3" fmla="*/ 6910 h 6909"/>
                <a:gd name="connsiteX4" fmla="*/ 6910 w 10364"/>
                <a:gd name="connsiteY4" fmla="*/ 0 h 6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4" h="6909">
                  <a:moveTo>
                    <a:pt x="6910" y="0"/>
                  </a:moveTo>
                  <a:lnTo>
                    <a:pt x="0" y="0"/>
                  </a:lnTo>
                  <a:lnTo>
                    <a:pt x="3455" y="6910"/>
                  </a:lnTo>
                  <a:lnTo>
                    <a:pt x="10364" y="6910"/>
                  </a:lnTo>
                  <a:lnTo>
                    <a:pt x="6910" y="0"/>
                  </a:lnTo>
                  <a:close/>
                </a:path>
              </a:pathLst>
            </a:custGeom>
            <a:solidFill>
              <a:srgbClr val="CEE3BF"/>
            </a:solidFill>
            <a:ln w="9334" cap="flat">
              <a:noFill/>
              <a:prstDash val="solid"/>
              <a:miter/>
            </a:ln>
          </p:spPr>
          <p:txBody>
            <a:bodyPr rtlCol="0" anchor="ctr"/>
            <a:lstStyle/>
            <a:p>
              <a:endParaRPr lang="en-GB" dirty="0"/>
            </a:p>
          </p:txBody>
        </p:sp>
        <p:sp>
          <p:nvSpPr>
            <p:cNvPr id="980" name="Freeform: Shape 979">
              <a:extLst>
                <a:ext uri="{FF2B5EF4-FFF2-40B4-BE49-F238E27FC236}">
                  <a16:creationId xmlns:a16="http://schemas.microsoft.com/office/drawing/2014/main" id="{76DF7F7E-A415-4174-93A9-516274D02954}"/>
                </a:ext>
              </a:extLst>
            </p:cNvPr>
            <p:cNvSpPr/>
            <p:nvPr/>
          </p:nvSpPr>
          <p:spPr>
            <a:xfrm>
              <a:off x="1469381" y="3907517"/>
              <a:ext cx="10364" cy="6909"/>
            </a:xfrm>
            <a:custGeom>
              <a:avLst/>
              <a:gdLst>
                <a:gd name="connsiteX0" fmla="*/ 6910 w 10364"/>
                <a:gd name="connsiteY0" fmla="*/ 0 h 6909"/>
                <a:gd name="connsiteX1" fmla="*/ 0 w 10364"/>
                <a:gd name="connsiteY1" fmla="*/ 0 h 6909"/>
                <a:gd name="connsiteX2" fmla="*/ 3455 w 10364"/>
                <a:gd name="connsiteY2" fmla="*/ 6910 h 6909"/>
                <a:gd name="connsiteX3" fmla="*/ 10364 w 10364"/>
                <a:gd name="connsiteY3" fmla="*/ 6910 h 6909"/>
                <a:gd name="connsiteX4" fmla="*/ 6910 w 10364"/>
                <a:gd name="connsiteY4" fmla="*/ 0 h 6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4" h="6909">
                  <a:moveTo>
                    <a:pt x="6910" y="0"/>
                  </a:moveTo>
                  <a:lnTo>
                    <a:pt x="0" y="0"/>
                  </a:lnTo>
                  <a:lnTo>
                    <a:pt x="3455" y="6910"/>
                  </a:lnTo>
                  <a:lnTo>
                    <a:pt x="10364" y="6910"/>
                  </a:lnTo>
                  <a:lnTo>
                    <a:pt x="6910" y="0"/>
                  </a:lnTo>
                  <a:close/>
                </a:path>
              </a:pathLst>
            </a:custGeom>
            <a:solidFill>
              <a:srgbClr val="CEE3BF"/>
            </a:solidFill>
            <a:ln w="9334" cap="flat">
              <a:noFill/>
              <a:prstDash val="solid"/>
              <a:miter/>
            </a:ln>
          </p:spPr>
          <p:txBody>
            <a:bodyPr rtlCol="0" anchor="ctr"/>
            <a:lstStyle/>
            <a:p>
              <a:endParaRPr lang="en-GB" dirty="0"/>
            </a:p>
          </p:txBody>
        </p:sp>
        <p:sp>
          <p:nvSpPr>
            <p:cNvPr id="981" name="Freeform: Shape 980">
              <a:extLst>
                <a:ext uri="{FF2B5EF4-FFF2-40B4-BE49-F238E27FC236}">
                  <a16:creationId xmlns:a16="http://schemas.microsoft.com/office/drawing/2014/main" id="{67B1AC82-3447-48C1-8FF0-7EC8EC44D79C}"/>
                </a:ext>
              </a:extLst>
            </p:cNvPr>
            <p:cNvSpPr/>
            <p:nvPr/>
          </p:nvSpPr>
          <p:spPr>
            <a:xfrm>
              <a:off x="1469381" y="3907517"/>
              <a:ext cx="10364" cy="6909"/>
            </a:xfrm>
            <a:custGeom>
              <a:avLst/>
              <a:gdLst>
                <a:gd name="connsiteX0" fmla="*/ 6910 w 10364"/>
                <a:gd name="connsiteY0" fmla="*/ 0 h 6909"/>
                <a:gd name="connsiteX1" fmla="*/ 0 w 10364"/>
                <a:gd name="connsiteY1" fmla="*/ 0 h 6909"/>
                <a:gd name="connsiteX2" fmla="*/ 3455 w 10364"/>
                <a:gd name="connsiteY2" fmla="*/ 6910 h 6909"/>
                <a:gd name="connsiteX3" fmla="*/ 10364 w 10364"/>
                <a:gd name="connsiteY3" fmla="*/ 6910 h 6909"/>
                <a:gd name="connsiteX4" fmla="*/ 6910 w 10364"/>
                <a:gd name="connsiteY4" fmla="*/ 0 h 6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4" h="6909">
                  <a:moveTo>
                    <a:pt x="6910" y="0"/>
                  </a:moveTo>
                  <a:lnTo>
                    <a:pt x="0" y="0"/>
                  </a:lnTo>
                  <a:lnTo>
                    <a:pt x="3455" y="6910"/>
                  </a:lnTo>
                  <a:lnTo>
                    <a:pt x="10364" y="6910"/>
                  </a:lnTo>
                  <a:lnTo>
                    <a:pt x="6910" y="0"/>
                  </a:lnTo>
                  <a:close/>
                </a:path>
              </a:pathLst>
            </a:custGeom>
            <a:solidFill>
              <a:srgbClr val="CEE3BF"/>
            </a:solidFill>
            <a:ln w="9334" cap="flat">
              <a:noFill/>
              <a:prstDash val="solid"/>
              <a:miter/>
            </a:ln>
          </p:spPr>
          <p:txBody>
            <a:bodyPr rtlCol="0" anchor="ctr"/>
            <a:lstStyle/>
            <a:p>
              <a:endParaRPr lang="en-GB" dirty="0"/>
            </a:p>
          </p:txBody>
        </p:sp>
        <p:sp>
          <p:nvSpPr>
            <p:cNvPr id="982" name="Freeform: Shape 981">
              <a:extLst>
                <a:ext uri="{FF2B5EF4-FFF2-40B4-BE49-F238E27FC236}">
                  <a16:creationId xmlns:a16="http://schemas.microsoft.com/office/drawing/2014/main" id="{5FA8F1C4-0652-45D3-BA6C-874734ED1619}"/>
                </a:ext>
              </a:extLst>
            </p:cNvPr>
            <p:cNvSpPr/>
            <p:nvPr/>
          </p:nvSpPr>
          <p:spPr>
            <a:xfrm>
              <a:off x="3678964" y="4183995"/>
              <a:ext cx="321017" cy="459769"/>
            </a:xfrm>
            <a:custGeom>
              <a:avLst/>
              <a:gdLst>
                <a:gd name="connsiteX0" fmla="*/ 48274 w 321017"/>
                <a:gd name="connsiteY0" fmla="*/ 114102 h 459769"/>
                <a:gd name="connsiteX1" fmla="*/ 51729 w 321017"/>
                <a:gd name="connsiteY1" fmla="*/ 124466 h 459769"/>
                <a:gd name="connsiteX2" fmla="*/ 58638 w 321017"/>
                <a:gd name="connsiteY2" fmla="*/ 117557 h 459769"/>
                <a:gd name="connsiteX3" fmla="*/ 58638 w 321017"/>
                <a:gd name="connsiteY3" fmla="*/ 100283 h 459769"/>
                <a:gd name="connsiteX4" fmla="*/ 75912 w 321017"/>
                <a:gd name="connsiteY4" fmla="*/ 86464 h 459769"/>
                <a:gd name="connsiteX5" fmla="*/ 86277 w 321017"/>
                <a:gd name="connsiteY5" fmla="*/ 72644 h 459769"/>
                <a:gd name="connsiteX6" fmla="*/ 89732 w 321017"/>
                <a:gd name="connsiteY6" fmla="*/ 62280 h 459769"/>
                <a:gd name="connsiteX7" fmla="*/ 93187 w 321017"/>
                <a:gd name="connsiteY7" fmla="*/ 48367 h 459769"/>
                <a:gd name="connsiteX8" fmla="*/ 117370 w 321017"/>
                <a:gd name="connsiteY8" fmla="*/ 34548 h 459769"/>
                <a:gd name="connsiteX9" fmla="*/ 127734 w 321017"/>
                <a:gd name="connsiteY9" fmla="*/ 34548 h 459769"/>
                <a:gd name="connsiteX10" fmla="*/ 134644 w 321017"/>
                <a:gd name="connsiteY10" fmla="*/ 27638 h 459769"/>
                <a:gd name="connsiteX11" fmla="*/ 151918 w 321017"/>
                <a:gd name="connsiteY11" fmla="*/ 27638 h 459769"/>
                <a:gd name="connsiteX12" fmla="*/ 165737 w 321017"/>
                <a:gd name="connsiteY12" fmla="*/ 20729 h 459769"/>
                <a:gd name="connsiteX13" fmla="*/ 179557 w 321017"/>
                <a:gd name="connsiteY13" fmla="*/ 10365 h 459769"/>
                <a:gd name="connsiteX14" fmla="*/ 189828 w 321017"/>
                <a:gd name="connsiteY14" fmla="*/ 0 h 459769"/>
                <a:gd name="connsiteX15" fmla="*/ 200192 w 321017"/>
                <a:gd name="connsiteY15" fmla="*/ 0 h 459769"/>
                <a:gd name="connsiteX16" fmla="*/ 207102 w 321017"/>
                <a:gd name="connsiteY16" fmla="*/ 3455 h 459769"/>
                <a:gd name="connsiteX17" fmla="*/ 203647 w 321017"/>
                <a:gd name="connsiteY17" fmla="*/ 17274 h 459769"/>
                <a:gd name="connsiteX18" fmla="*/ 193283 w 321017"/>
                <a:gd name="connsiteY18" fmla="*/ 24184 h 459769"/>
                <a:gd name="connsiteX19" fmla="*/ 182918 w 321017"/>
                <a:gd name="connsiteY19" fmla="*/ 31093 h 459769"/>
                <a:gd name="connsiteX20" fmla="*/ 165737 w 321017"/>
                <a:gd name="connsiteY20" fmla="*/ 44912 h 459769"/>
                <a:gd name="connsiteX21" fmla="*/ 158828 w 321017"/>
                <a:gd name="connsiteY21" fmla="*/ 58825 h 459769"/>
                <a:gd name="connsiteX22" fmla="*/ 155373 w 321017"/>
                <a:gd name="connsiteY22" fmla="*/ 83009 h 459769"/>
                <a:gd name="connsiteX23" fmla="*/ 158828 w 321017"/>
                <a:gd name="connsiteY23" fmla="*/ 93373 h 459769"/>
                <a:gd name="connsiteX24" fmla="*/ 165737 w 321017"/>
                <a:gd name="connsiteY24" fmla="*/ 103738 h 459769"/>
                <a:gd name="connsiteX25" fmla="*/ 172554 w 321017"/>
                <a:gd name="connsiteY25" fmla="*/ 110647 h 459769"/>
                <a:gd name="connsiteX26" fmla="*/ 176102 w 321017"/>
                <a:gd name="connsiteY26" fmla="*/ 117557 h 459769"/>
                <a:gd name="connsiteX27" fmla="*/ 176102 w 321017"/>
                <a:gd name="connsiteY27" fmla="*/ 141740 h 459769"/>
                <a:gd name="connsiteX28" fmla="*/ 186373 w 321017"/>
                <a:gd name="connsiteY28" fmla="*/ 148650 h 459769"/>
                <a:gd name="connsiteX29" fmla="*/ 234740 w 321017"/>
                <a:gd name="connsiteY29" fmla="*/ 145195 h 459769"/>
                <a:gd name="connsiteX30" fmla="*/ 255469 w 321017"/>
                <a:gd name="connsiteY30" fmla="*/ 169379 h 459769"/>
                <a:gd name="connsiteX31" fmla="*/ 303836 w 321017"/>
                <a:gd name="connsiteY31" fmla="*/ 165924 h 459769"/>
                <a:gd name="connsiteX32" fmla="*/ 314201 w 321017"/>
                <a:gd name="connsiteY32" fmla="*/ 176289 h 459769"/>
                <a:gd name="connsiteX33" fmla="*/ 303836 w 321017"/>
                <a:gd name="connsiteY33" fmla="*/ 190108 h 459769"/>
                <a:gd name="connsiteX34" fmla="*/ 303836 w 321017"/>
                <a:gd name="connsiteY34" fmla="*/ 207475 h 459769"/>
                <a:gd name="connsiteX35" fmla="*/ 303836 w 321017"/>
                <a:gd name="connsiteY35" fmla="*/ 221295 h 459769"/>
                <a:gd name="connsiteX36" fmla="*/ 303836 w 321017"/>
                <a:gd name="connsiteY36" fmla="*/ 235114 h 459769"/>
                <a:gd name="connsiteX37" fmla="*/ 307198 w 321017"/>
                <a:gd name="connsiteY37" fmla="*/ 235114 h 459769"/>
                <a:gd name="connsiteX38" fmla="*/ 310746 w 321017"/>
                <a:gd name="connsiteY38" fmla="*/ 238568 h 459769"/>
                <a:gd name="connsiteX39" fmla="*/ 310746 w 321017"/>
                <a:gd name="connsiteY39" fmla="*/ 259297 h 459769"/>
                <a:gd name="connsiteX40" fmla="*/ 310746 w 321017"/>
                <a:gd name="connsiteY40" fmla="*/ 276571 h 459769"/>
                <a:gd name="connsiteX41" fmla="*/ 317562 w 321017"/>
                <a:gd name="connsiteY41" fmla="*/ 280026 h 459769"/>
                <a:gd name="connsiteX42" fmla="*/ 321017 w 321017"/>
                <a:gd name="connsiteY42" fmla="*/ 297300 h 459769"/>
                <a:gd name="connsiteX43" fmla="*/ 307198 w 321017"/>
                <a:gd name="connsiteY43" fmla="*/ 290391 h 459769"/>
                <a:gd name="connsiteX44" fmla="*/ 300382 w 321017"/>
                <a:gd name="connsiteY44" fmla="*/ 290391 h 459769"/>
                <a:gd name="connsiteX45" fmla="*/ 290017 w 321017"/>
                <a:gd name="connsiteY45" fmla="*/ 293845 h 459769"/>
                <a:gd name="connsiteX46" fmla="*/ 258924 w 321017"/>
                <a:gd name="connsiteY46" fmla="*/ 293845 h 459769"/>
                <a:gd name="connsiteX47" fmla="*/ 241650 w 321017"/>
                <a:gd name="connsiteY47" fmla="*/ 297300 h 459769"/>
                <a:gd name="connsiteX48" fmla="*/ 241650 w 321017"/>
                <a:gd name="connsiteY48" fmla="*/ 300755 h 459769"/>
                <a:gd name="connsiteX49" fmla="*/ 238195 w 321017"/>
                <a:gd name="connsiteY49" fmla="*/ 304210 h 459769"/>
                <a:gd name="connsiteX50" fmla="*/ 241650 w 321017"/>
                <a:gd name="connsiteY50" fmla="*/ 307665 h 459769"/>
                <a:gd name="connsiteX51" fmla="*/ 252014 w 321017"/>
                <a:gd name="connsiteY51" fmla="*/ 311120 h 459769"/>
                <a:gd name="connsiteX52" fmla="*/ 262379 w 321017"/>
                <a:gd name="connsiteY52" fmla="*/ 314574 h 459769"/>
                <a:gd name="connsiteX53" fmla="*/ 262379 w 321017"/>
                <a:gd name="connsiteY53" fmla="*/ 324939 h 459769"/>
                <a:gd name="connsiteX54" fmla="*/ 252014 w 321017"/>
                <a:gd name="connsiteY54" fmla="*/ 321484 h 459769"/>
                <a:gd name="connsiteX55" fmla="*/ 245105 w 321017"/>
                <a:gd name="connsiteY55" fmla="*/ 321484 h 459769"/>
                <a:gd name="connsiteX56" fmla="*/ 241650 w 321017"/>
                <a:gd name="connsiteY56" fmla="*/ 324939 h 459769"/>
                <a:gd name="connsiteX57" fmla="*/ 241650 w 321017"/>
                <a:gd name="connsiteY57" fmla="*/ 345667 h 459769"/>
                <a:gd name="connsiteX58" fmla="*/ 252014 w 321017"/>
                <a:gd name="connsiteY58" fmla="*/ 359580 h 459769"/>
                <a:gd name="connsiteX59" fmla="*/ 255469 w 321017"/>
                <a:gd name="connsiteY59" fmla="*/ 380309 h 459769"/>
                <a:gd name="connsiteX60" fmla="*/ 252014 w 321017"/>
                <a:gd name="connsiteY60" fmla="*/ 404493 h 459769"/>
                <a:gd name="connsiteX61" fmla="*/ 248559 w 321017"/>
                <a:gd name="connsiteY61" fmla="*/ 435586 h 459769"/>
                <a:gd name="connsiteX62" fmla="*/ 238195 w 321017"/>
                <a:gd name="connsiteY62" fmla="*/ 459770 h 459769"/>
                <a:gd name="connsiteX63" fmla="*/ 227831 w 321017"/>
                <a:gd name="connsiteY63" fmla="*/ 452860 h 459769"/>
                <a:gd name="connsiteX64" fmla="*/ 227831 w 321017"/>
                <a:gd name="connsiteY64" fmla="*/ 435586 h 459769"/>
                <a:gd name="connsiteX65" fmla="*/ 234740 w 321017"/>
                <a:gd name="connsiteY65" fmla="*/ 425222 h 459769"/>
                <a:gd name="connsiteX66" fmla="*/ 231286 w 321017"/>
                <a:gd name="connsiteY66" fmla="*/ 414857 h 459769"/>
                <a:gd name="connsiteX67" fmla="*/ 227831 w 321017"/>
                <a:gd name="connsiteY67" fmla="*/ 404493 h 459769"/>
                <a:gd name="connsiteX68" fmla="*/ 155373 w 321017"/>
                <a:gd name="connsiteY68" fmla="*/ 401038 h 459769"/>
                <a:gd name="connsiteX69" fmla="*/ 148463 w 321017"/>
                <a:gd name="connsiteY69" fmla="*/ 387219 h 459769"/>
                <a:gd name="connsiteX70" fmla="*/ 127734 w 321017"/>
                <a:gd name="connsiteY70" fmla="*/ 366490 h 459769"/>
                <a:gd name="connsiteX71" fmla="*/ 110461 w 321017"/>
                <a:gd name="connsiteY71" fmla="*/ 345667 h 459769"/>
                <a:gd name="connsiteX72" fmla="*/ 86277 w 321017"/>
                <a:gd name="connsiteY72" fmla="*/ 338758 h 459769"/>
                <a:gd name="connsiteX73" fmla="*/ 65548 w 321017"/>
                <a:gd name="connsiteY73" fmla="*/ 331848 h 459769"/>
                <a:gd name="connsiteX74" fmla="*/ 44912 w 321017"/>
                <a:gd name="connsiteY74" fmla="*/ 331848 h 459769"/>
                <a:gd name="connsiteX75" fmla="*/ 27639 w 321017"/>
                <a:gd name="connsiteY75" fmla="*/ 321484 h 459769"/>
                <a:gd name="connsiteX76" fmla="*/ 0 w 321017"/>
                <a:gd name="connsiteY76" fmla="*/ 304210 h 459769"/>
                <a:gd name="connsiteX77" fmla="*/ 6910 w 321017"/>
                <a:gd name="connsiteY77" fmla="*/ 290391 h 459769"/>
                <a:gd name="connsiteX78" fmla="*/ 6910 w 321017"/>
                <a:gd name="connsiteY78" fmla="*/ 273117 h 459769"/>
                <a:gd name="connsiteX79" fmla="*/ 20729 w 321017"/>
                <a:gd name="connsiteY79" fmla="*/ 273117 h 459769"/>
                <a:gd name="connsiteX80" fmla="*/ 34548 w 321017"/>
                <a:gd name="connsiteY80" fmla="*/ 262752 h 459769"/>
                <a:gd name="connsiteX81" fmla="*/ 41458 w 321017"/>
                <a:gd name="connsiteY81" fmla="*/ 238568 h 459769"/>
                <a:gd name="connsiteX82" fmla="*/ 41458 w 321017"/>
                <a:gd name="connsiteY82" fmla="*/ 214385 h 459769"/>
                <a:gd name="connsiteX83" fmla="*/ 41458 w 321017"/>
                <a:gd name="connsiteY83" fmla="*/ 190108 h 459769"/>
                <a:gd name="connsiteX84" fmla="*/ 38003 w 321017"/>
                <a:gd name="connsiteY84" fmla="*/ 165924 h 459769"/>
                <a:gd name="connsiteX85" fmla="*/ 34548 w 321017"/>
                <a:gd name="connsiteY85" fmla="*/ 155560 h 459769"/>
                <a:gd name="connsiteX86" fmla="*/ 24184 w 321017"/>
                <a:gd name="connsiteY86" fmla="*/ 138286 h 459769"/>
                <a:gd name="connsiteX87" fmla="*/ 44912 w 321017"/>
                <a:gd name="connsiteY87" fmla="*/ 124466 h 459769"/>
                <a:gd name="connsiteX88" fmla="*/ 48274 w 321017"/>
                <a:gd name="connsiteY88" fmla="*/ 114102 h 45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21017" h="459769">
                  <a:moveTo>
                    <a:pt x="48274" y="114102"/>
                  </a:moveTo>
                  <a:lnTo>
                    <a:pt x="51729" y="124466"/>
                  </a:lnTo>
                  <a:lnTo>
                    <a:pt x="58638" y="117557"/>
                  </a:lnTo>
                  <a:lnTo>
                    <a:pt x="58638" y="100283"/>
                  </a:lnTo>
                  <a:lnTo>
                    <a:pt x="75912" y="86464"/>
                  </a:lnTo>
                  <a:lnTo>
                    <a:pt x="86277" y="72644"/>
                  </a:lnTo>
                  <a:lnTo>
                    <a:pt x="89732" y="62280"/>
                  </a:lnTo>
                  <a:lnTo>
                    <a:pt x="93187" y="48367"/>
                  </a:lnTo>
                  <a:lnTo>
                    <a:pt x="117370" y="34548"/>
                  </a:lnTo>
                  <a:lnTo>
                    <a:pt x="127734" y="34548"/>
                  </a:lnTo>
                  <a:lnTo>
                    <a:pt x="134644" y="27638"/>
                  </a:lnTo>
                  <a:lnTo>
                    <a:pt x="151918" y="27638"/>
                  </a:lnTo>
                  <a:lnTo>
                    <a:pt x="165737" y="20729"/>
                  </a:lnTo>
                  <a:lnTo>
                    <a:pt x="179557" y="10365"/>
                  </a:lnTo>
                  <a:lnTo>
                    <a:pt x="189828" y="0"/>
                  </a:lnTo>
                  <a:lnTo>
                    <a:pt x="200192" y="0"/>
                  </a:lnTo>
                  <a:lnTo>
                    <a:pt x="207102" y="3455"/>
                  </a:lnTo>
                  <a:lnTo>
                    <a:pt x="203647" y="17274"/>
                  </a:lnTo>
                  <a:lnTo>
                    <a:pt x="193283" y="24184"/>
                  </a:lnTo>
                  <a:lnTo>
                    <a:pt x="182918" y="31093"/>
                  </a:lnTo>
                  <a:lnTo>
                    <a:pt x="165737" y="44912"/>
                  </a:lnTo>
                  <a:lnTo>
                    <a:pt x="158828" y="58825"/>
                  </a:lnTo>
                  <a:lnTo>
                    <a:pt x="155373" y="83009"/>
                  </a:lnTo>
                  <a:lnTo>
                    <a:pt x="158828" y="93373"/>
                  </a:lnTo>
                  <a:lnTo>
                    <a:pt x="165737" y="103738"/>
                  </a:lnTo>
                  <a:lnTo>
                    <a:pt x="172554" y="110647"/>
                  </a:lnTo>
                  <a:lnTo>
                    <a:pt x="176102" y="117557"/>
                  </a:lnTo>
                  <a:lnTo>
                    <a:pt x="176102" y="141740"/>
                  </a:lnTo>
                  <a:lnTo>
                    <a:pt x="186373" y="148650"/>
                  </a:lnTo>
                  <a:lnTo>
                    <a:pt x="234740" y="145195"/>
                  </a:lnTo>
                  <a:lnTo>
                    <a:pt x="255469" y="169379"/>
                  </a:lnTo>
                  <a:lnTo>
                    <a:pt x="303836" y="165924"/>
                  </a:lnTo>
                  <a:lnTo>
                    <a:pt x="314201" y="176289"/>
                  </a:lnTo>
                  <a:lnTo>
                    <a:pt x="303836" y="190108"/>
                  </a:lnTo>
                  <a:lnTo>
                    <a:pt x="303836" y="207475"/>
                  </a:lnTo>
                  <a:lnTo>
                    <a:pt x="303836" y="221295"/>
                  </a:lnTo>
                  <a:lnTo>
                    <a:pt x="303836" y="235114"/>
                  </a:lnTo>
                  <a:lnTo>
                    <a:pt x="307198" y="235114"/>
                  </a:lnTo>
                  <a:lnTo>
                    <a:pt x="310746" y="238568"/>
                  </a:lnTo>
                  <a:lnTo>
                    <a:pt x="310746" y="259297"/>
                  </a:lnTo>
                  <a:lnTo>
                    <a:pt x="310746" y="276571"/>
                  </a:lnTo>
                  <a:lnTo>
                    <a:pt x="317562" y="280026"/>
                  </a:lnTo>
                  <a:lnTo>
                    <a:pt x="321017" y="297300"/>
                  </a:lnTo>
                  <a:lnTo>
                    <a:pt x="307198" y="290391"/>
                  </a:lnTo>
                  <a:lnTo>
                    <a:pt x="300382" y="290391"/>
                  </a:lnTo>
                  <a:lnTo>
                    <a:pt x="290017" y="293845"/>
                  </a:lnTo>
                  <a:lnTo>
                    <a:pt x="258924" y="293845"/>
                  </a:lnTo>
                  <a:lnTo>
                    <a:pt x="241650" y="297300"/>
                  </a:lnTo>
                  <a:lnTo>
                    <a:pt x="241650" y="300755"/>
                  </a:lnTo>
                  <a:lnTo>
                    <a:pt x="238195" y="304210"/>
                  </a:lnTo>
                  <a:lnTo>
                    <a:pt x="241650" y="307665"/>
                  </a:lnTo>
                  <a:lnTo>
                    <a:pt x="252014" y="311120"/>
                  </a:lnTo>
                  <a:lnTo>
                    <a:pt x="262379" y="314574"/>
                  </a:lnTo>
                  <a:lnTo>
                    <a:pt x="262379" y="324939"/>
                  </a:lnTo>
                  <a:lnTo>
                    <a:pt x="252014" y="321484"/>
                  </a:lnTo>
                  <a:lnTo>
                    <a:pt x="245105" y="321484"/>
                  </a:lnTo>
                  <a:lnTo>
                    <a:pt x="241650" y="324939"/>
                  </a:lnTo>
                  <a:lnTo>
                    <a:pt x="241650" y="345667"/>
                  </a:lnTo>
                  <a:lnTo>
                    <a:pt x="252014" y="359580"/>
                  </a:lnTo>
                  <a:lnTo>
                    <a:pt x="255469" y="380309"/>
                  </a:lnTo>
                  <a:lnTo>
                    <a:pt x="252014" y="404493"/>
                  </a:lnTo>
                  <a:lnTo>
                    <a:pt x="248559" y="435586"/>
                  </a:lnTo>
                  <a:lnTo>
                    <a:pt x="238195" y="459770"/>
                  </a:lnTo>
                  <a:lnTo>
                    <a:pt x="227831" y="452860"/>
                  </a:lnTo>
                  <a:lnTo>
                    <a:pt x="227831" y="435586"/>
                  </a:lnTo>
                  <a:lnTo>
                    <a:pt x="234740" y="425222"/>
                  </a:lnTo>
                  <a:lnTo>
                    <a:pt x="231286" y="414857"/>
                  </a:lnTo>
                  <a:lnTo>
                    <a:pt x="227831" y="404493"/>
                  </a:lnTo>
                  <a:lnTo>
                    <a:pt x="155373" y="401038"/>
                  </a:lnTo>
                  <a:lnTo>
                    <a:pt x="148463" y="387219"/>
                  </a:lnTo>
                  <a:lnTo>
                    <a:pt x="127734" y="366490"/>
                  </a:lnTo>
                  <a:lnTo>
                    <a:pt x="110461" y="345667"/>
                  </a:lnTo>
                  <a:lnTo>
                    <a:pt x="86277" y="338758"/>
                  </a:lnTo>
                  <a:lnTo>
                    <a:pt x="65548" y="331848"/>
                  </a:lnTo>
                  <a:lnTo>
                    <a:pt x="44912" y="331848"/>
                  </a:lnTo>
                  <a:lnTo>
                    <a:pt x="27639" y="321484"/>
                  </a:lnTo>
                  <a:lnTo>
                    <a:pt x="0" y="304210"/>
                  </a:lnTo>
                  <a:lnTo>
                    <a:pt x="6910" y="290391"/>
                  </a:lnTo>
                  <a:lnTo>
                    <a:pt x="6910" y="273117"/>
                  </a:lnTo>
                  <a:lnTo>
                    <a:pt x="20729" y="273117"/>
                  </a:lnTo>
                  <a:lnTo>
                    <a:pt x="34548" y="262752"/>
                  </a:lnTo>
                  <a:lnTo>
                    <a:pt x="41458" y="238568"/>
                  </a:lnTo>
                  <a:lnTo>
                    <a:pt x="41458" y="214385"/>
                  </a:lnTo>
                  <a:lnTo>
                    <a:pt x="41458" y="190108"/>
                  </a:lnTo>
                  <a:lnTo>
                    <a:pt x="38003" y="165924"/>
                  </a:lnTo>
                  <a:lnTo>
                    <a:pt x="34548" y="155560"/>
                  </a:lnTo>
                  <a:lnTo>
                    <a:pt x="24184" y="138286"/>
                  </a:lnTo>
                  <a:lnTo>
                    <a:pt x="44912" y="124466"/>
                  </a:lnTo>
                  <a:lnTo>
                    <a:pt x="48274" y="114102"/>
                  </a:lnTo>
                  <a:close/>
                </a:path>
              </a:pathLst>
            </a:custGeom>
            <a:solidFill>
              <a:srgbClr val="CEE3BF"/>
            </a:solidFill>
            <a:ln w="9334" cap="flat">
              <a:noFill/>
              <a:prstDash val="solid"/>
              <a:miter/>
            </a:ln>
          </p:spPr>
          <p:txBody>
            <a:bodyPr rtlCol="0" anchor="ctr"/>
            <a:lstStyle/>
            <a:p>
              <a:endParaRPr lang="en-GB" dirty="0"/>
            </a:p>
          </p:txBody>
        </p:sp>
        <p:sp>
          <p:nvSpPr>
            <p:cNvPr id="983" name="Freeform: Shape 982">
              <a:extLst>
                <a:ext uri="{FF2B5EF4-FFF2-40B4-BE49-F238E27FC236}">
                  <a16:creationId xmlns:a16="http://schemas.microsoft.com/office/drawing/2014/main" id="{75CA13B3-CFA4-4995-98DF-93A6A5995C8C}"/>
                </a:ext>
              </a:extLst>
            </p:cNvPr>
            <p:cNvSpPr/>
            <p:nvPr/>
          </p:nvSpPr>
          <p:spPr>
            <a:xfrm>
              <a:off x="3623687" y="4488205"/>
              <a:ext cx="151918" cy="172833"/>
            </a:xfrm>
            <a:custGeom>
              <a:avLst/>
              <a:gdLst>
                <a:gd name="connsiteX0" fmla="*/ 44913 w 151918"/>
                <a:gd name="connsiteY0" fmla="*/ 172834 h 172833"/>
                <a:gd name="connsiteX1" fmla="*/ 34548 w 151918"/>
                <a:gd name="connsiteY1" fmla="*/ 162470 h 172833"/>
                <a:gd name="connsiteX2" fmla="*/ 13819 w 151918"/>
                <a:gd name="connsiteY2" fmla="*/ 152105 h 172833"/>
                <a:gd name="connsiteX3" fmla="*/ 13819 w 151918"/>
                <a:gd name="connsiteY3" fmla="*/ 131376 h 172833"/>
                <a:gd name="connsiteX4" fmla="*/ 24184 w 151918"/>
                <a:gd name="connsiteY4" fmla="*/ 124467 h 172833"/>
                <a:gd name="connsiteX5" fmla="*/ 31093 w 151918"/>
                <a:gd name="connsiteY5" fmla="*/ 110647 h 172833"/>
                <a:gd name="connsiteX6" fmla="*/ 31093 w 151918"/>
                <a:gd name="connsiteY6" fmla="*/ 100283 h 172833"/>
                <a:gd name="connsiteX7" fmla="*/ 24184 w 151918"/>
                <a:gd name="connsiteY7" fmla="*/ 100283 h 172833"/>
                <a:gd name="connsiteX8" fmla="*/ 17274 w 151918"/>
                <a:gd name="connsiteY8" fmla="*/ 107193 h 172833"/>
                <a:gd name="connsiteX9" fmla="*/ 10364 w 151918"/>
                <a:gd name="connsiteY9" fmla="*/ 107193 h 172833"/>
                <a:gd name="connsiteX10" fmla="*/ 0 w 151918"/>
                <a:gd name="connsiteY10" fmla="*/ 100283 h 172833"/>
                <a:gd name="connsiteX11" fmla="*/ 0 w 151918"/>
                <a:gd name="connsiteY11" fmla="*/ 83009 h 172833"/>
                <a:gd name="connsiteX12" fmla="*/ 3455 w 151918"/>
                <a:gd name="connsiteY12" fmla="*/ 65735 h 172833"/>
                <a:gd name="connsiteX13" fmla="*/ 10364 w 151918"/>
                <a:gd name="connsiteY13" fmla="*/ 44913 h 172833"/>
                <a:gd name="connsiteX14" fmla="*/ 17274 w 151918"/>
                <a:gd name="connsiteY14" fmla="*/ 31093 h 172833"/>
                <a:gd name="connsiteX15" fmla="*/ 24184 w 151918"/>
                <a:gd name="connsiteY15" fmla="*/ 20729 h 172833"/>
                <a:gd name="connsiteX16" fmla="*/ 38003 w 151918"/>
                <a:gd name="connsiteY16" fmla="*/ 10365 h 172833"/>
                <a:gd name="connsiteX17" fmla="*/ 55277 w 151918"/>
                <a:gd name="connsiteY17" fmla="*/ 0 h 172833"/>
                <a:gd name="connsiteX18" fmla="*/ 100189 w 151918"/>
                <a:gd name="connsiteY18" fmla="*/ 27639 h 172833"/>
                <a:gd name="connsiteX19" fmla="*/ 120825 w 151918"/>
                <a:gd name="connsiteY19" fmla="*/ 27639 h 172833"/>
                <a:gd name="connsiteX20" fmla="*/ 151918 w 151918"/>
                <a:gd name="connsiteY20" fmla="*/ 38003 h 172833"/>
                <a:gd name="connsiteX21" fmla="*/ 148463 w 151918"/>
                <a:gd name="connsiteY21" fmla="*/ 51822 h 172833"/>
                <a:gd name="connsiteX22" fmla="*/ 148463 w 151918"/>
                <a:gd name="connsiteY22" fmla="*/ 69190 h 172833"/>
                <a:gd name="connsiteX23" fmla="*/ 141554 w 151918"/>
                <a:gd name="connsiteY23" fmla="*/ 83009 h 172833"/>
                <a:gd name="connsiteX24" fmla="*/ 131189 w 151918"/>
                <a:gd name="connsiteY24" fmla="*/ 96828 h 172833"/>
                <a:gd name="connsiteX25" fmla="*/ 117370 w 151918"/>
                <a:gd name="connsiteY25" fmla="*/ 107193 h 172833"/>
                <a:gd name="connsiteX26" fmla="*/ 89825 w 151918"/>
                <a:gd name="connsiteY26" fmla="*/ 117557 h 172833"/>
                <a:gd name="connsiteX27" fmla="*/ 79461 w 151918"/>
                <a:gd name="connsiteY27" fmla="*/ 127921 h 172833"/>
                <a:gd name="connsiteX28" fmla="*/ 69096 w 151918"/>
                <a:gd name="connsiteY28" fmla="*/ 141741 h 172833"/>
                <a:gd name="connsiteX29" fmla="*/ 62187 w 151918"/>
                <a:gd name="connsiteY29" fmla="*/ 159015 h 172833"/>
                <a:gd name="connsiteX30" fmla="*/ 44913 w 151918"/>
                <a:gd name="connsiteY30" fmla="*/ 172834 h 17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1918" h="172833">
                  <a:moveTo>
                    <a:pt x="44913" y="172834"/>
                  </a:moveTo>
                  <a:lnTo>
                    <a:pt x="34548" y="162470"/>
                  </a:lnTo>
                  <a:lnTo>
                    <a:pt x="13819" y="152105"/>
                  </a:lnTo>
                  <a:lnTo>
                    <a:pt x="13819" y="131376"/>
                  </a:lnTo>
                  <a:lnTo>
                    <a:pt x="24184" y="124467"/>
                  </a:lnTo>
                  <a:lnTo>
                    <a:pt x="31093" y="110647"/>
                  </a:lnTo>
                  <a:lnTo>
                    <a:pt x="31093" y="100283"/>
                  </a:lnTo>
                  <a:lnTo>
                    <a:pt x="24184" y="100283"/>
                  </a:lnTo>
                  <a:lnTo>
                    <a:pt x="17274" y="107193"/>
                  </a:lnTo>
                  <a:lnTo>
                    <a:pt x="10364" y="107193"/>
                  </a:lnTo>
                  <a:lnTo>
                    <a:pt x="0" y="100283"/>
                  </a:lnTo>
                  <a:lnTo>
                    <a:pt x="0" y="83009"/>
                  </a:lnTo>
                  <a:lnTo>
                    <a:pt x="3455" y="65735"/>
                  </a:lnTo>
                  <a:lnTo>
                    <a:pt x="10364" y="44913"/>
                  </a:lnTo>
                  <a:lnTo>
                    <a:pt x="17274" y="31093"/>
                  </a:lnTo>
                  <a:lnTo>
                    <a:pt x="24184" y="20729"/>
                  </a:lnTo>
                  <a:lnTo>
                    <a:pt x="38003" y="10365"/>
                  </a:lnTo>
                  <a:lnTo>
                    <a:pt x="55277" y="0"/>
                  </a:lnTo>
                  <a:lnTo>
                    <a:pt x="100189" y="27639"/>
                  </a:lnTo>
                  <a:lnTo>
                    <a:pt x="120825" y="27639"/>
                  </a:lnTo>
                  <a:lnTo>
                    <a:pt x="151918" y="38003"/>
                  </a:lnTo>
                  <a:lnTo>
                    <a:pt x="148463" y="51822"/>
                  </a:lnTo>
                  <a:lnTo>
                    <a:pt x="148463" y="69190"/>
                  </a:lnTo>
                  <a:lnTo>
                    <a:pt x="141554" y="83009"/>
                  </a:lnTo>
                  <a:lnTo>
                    <a:pt x="131189" y="96828"/>
                  </a:lnTo>
                  <a:lnTo>
                    <a:pt x="117370" y="107193"/>
                  </a:lnTo>
                  <a:lnTo>
                    <a:pt x="89825" y="117557"/>
                  </a:lnTo>
                  <a:lnTo>
                    <a:pt x="79461" y="127921"/>
                  </a:lnTo>
                  <a:lnTo>
                    <a:pt x="69096" y="141741"/>
                  </a:lnTo>
                  <a:lnTo>
                    <a:pt x="62187" y="159015"/>
                  </a:lnTo>
                  <a:lnTo>
                    <a:pt x="44913" y="172834"/>
                  </a:lnTo>
                  <a:close/>
                </a:path>
              </a:pathLst>
            </a:custGeom>
            <a:solidFill>
              <a:srgbClr val="CEE3BF"/>
            </a:solidFill>
            <a:ln w="9334" cap="flat">
              <a:noFill/>
              <a:prstDash val="solid"/>
              <a:miter/>
            </a:ln>
          </p:spPr>
          <p:txBody>
            <a:bodyPr rtlCol="0" anchor="ctr"/>
            <a:lstStyle/>
            <a:p>
              <a:endParaRPr lang="en-GB" dirty="0"/>
            </a:p>
          </p:txBody>
        </p:sp>
        <p:sp>
          <p:nvSpPr>
            <p:cNvPr id="984" name="Freeform: Shape 983">
              <a:extLst>
                <a:ext uri="{FF2B5EF4-FFF2-40B4-BE49-F238E27FC236}">
                  <a16:creationId xmlns:a16="http://schemas.microsoft.com/office/drawing/2014/main" id="{DD29F071-2C38-42C0-A071-BCDE5EE49F37}"/>
                </a:ext>
              </a:extLst>
            </p:cNvPr>
            <p:cNvSpPr/>
            <p:nvPr/>
          </p:nvSpPr>
          <p:spPr>
            <a:xfrm>
              <a:off x="4138080" y="4225453"/>
              <a:ext cx="34547" cy="27731"/>
            </a:xfrm>
            <a:custGeom>
              <a:avLst/>
              <a:gdLst>
                <a:gd name="connsiteX0" fmla="*/ 20729 w 34547"/>
                <a:gd name="connsiteY0" fmla="*/ 0 h 27731"/>
                <a:gd name="connsiteX1" fmla="*/ 34548 w 34547"/>
                <a:gd name="connsiteY1" fmla="*/ 0 h 27731"/>
                <a:gd name="connsiteX2" fmla="*/ 31093 w 34547"/>
                <a:gd name="connsiteY2" fmla="*/ 17367 h 27731"/>
                <a:gd name="connsiteX3" fmla="*/ 24184 w 34547"/>
                <a:gd name="connsiteY3" fmla="*/ 27732 h 27731"/>
                <a:gd name="connsiteX4" fmla="*/ 0 w 34547"/>
                <a:gd name="connsiteY4" fmla="*/ 24277 h 27731"/>
                <a:gd name="connsiteX5" fmla="*/ 10364 w 34547"/>
                <a:gd name="connsiteY5" fmla="*/ 10458 h 27731"/>
                <a:gd name="connsiteX6" fmla="*/ 17274 w 34547"/>
                <a:gd name="connsiteY6" fmla="*/ 10458 h 27731"/>
                <a:gd name="connsiteX7" fmla="*/ 20729 w 34547"/>
                <a:gd name="connsiteY7" fmla="*/ 0 h 2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7" h="27731">
                  <a:moveTo>
                    <a:pt x="20729" y="0"/>
                  </a:moveTo>
                  <a:lnTo>
                    <a:pt x="34548" y="0"/>
                  </a:lnTo>
                  <a:lnTo>
                    <a:pt x="31093" y="17367"/>
                  </a:lnTo>
                  <a:lnTo>
                    <a:pt x="24184" y="27732"/>
                  </a:lnTo>
                  <a:lnTo>
                    <a:pt x="0" y="24277"/>
                  </a:lnTo>
                  <a:lnTo>
                    <a:pt x="10364" y="10458"/>
                  </a:lnTo>
                  <a:lnTo>
                    <a:pt x="17274" y="10458"/>
                  </a:lnTo>
                  <a:lnTo>
                    <a:pt x="20729" y="0"/>
                  </a:lnTo>
                  <a:close/>
                </a:path>
              </a:pathLst>
            </a:custGeom>
            <a:solidFill>
              <a:srgbClr val="CEE3BF"/>
            </a:solidFill>
            <a:ln w="9334" cap="flat">
              <a:noFill/>
              <a:prstDash val="solid"/>
              <a:miter/>
            </a:ln>
          </p:spPr>
          <p:txBody>
            <a:bodyPr rtlCol="0" anchor="ctr"/>
            <a:lstStyle/>
            <a:p>
              <a:endParaRPr lang="en-GB" dirty="0"/>
            </a:p>
          </p:txBody>
        </p:sp>
        <p:sp>
          <p:nvSpPr>
            <p:cNvPr id="985" name="Freeform: Shape 984">
              <a:extLst>
                <a:ext uri="{FF2B5EF4-FFF2-40B4-BE49-F238E27FC236}">
                  <a16:creationId xmlns:a16="http://schemas.microsoft.com/office/drawing/2014/main" id="{C456507E-D6F2-4EAC-9F61-ABBF02CBB11E}"/>
                </a:ext>
              </a:extLst>
            </p:cNvPr>
            <p:cNvSpPr/>
            <p:nvPr/>
          </p:nvSpPr>
          <p:spPr>
            <a:xfrm>
              <a:off x="4138080" y="4225453"/>
              <a:ext cx="34547" cy="27731"/>
            </a:xfrm>
            <a:custGeom>
              <a:avLst/>
              <a:gdLst>
                <a:gd name="connsiteX0" fmla="*/ 20729 w 34547"/>
                <a:gd name="connsiteY0" fmla="*/ 0 h 27731"/>
                <a:gd name="connsiteX1" fmla="*/ 34548 w 34547"/>
                <a:gd name="connsiteY1" fmla="*/ 0 h 27731"/>
                <a:gd name="connsiteX2" fmla="*/ 31093 w 34547"/>
                <a:gd name="connsiteY2" fmla="*/ 17367 h 27731"/>
                <a:gd name="connsiteX3" fmla="*/ 24184 w 34547"/>
                <a:gd name="connsiteY3" fmla="*/ 27732 h 27731"/>
                <a:gd name="connsiteX4" fmla="*/ 0 w 34547"/>
                <a:gd name="connsiteY4" fmla="*/ 24277 h 27731"/>
                <a:gd name="connsiteX5" fmla="*/ 10364 w 34547"/>
                <a:gd name="connsiteY5" fmla="*/ 10458 h 27731"/>
                <a:gd name="connsiteX6" fmla="*/ 17274 w 34547"/>
                <a:gd name="connsiteY6" fmla="*/ 10458 h 27731"/>
                <a:gd name="connsiteX7" fmla="*/ 20729 w 34547"/>
                <a:gd name="connsiteY7" fmla="*/ 0 h 2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7" h="27731">
                  <a:moveTo>
                    <a:pt x="20729" y="0"/>
                  </a:moveTo>
                  <a:lnTo>
                    <a:pt x="34548" y="0"/>
                  </a:lnTo>
                  <a:lnTo>
                    <a:pt x="31093" y="17367"/>
                  </a:lnTo>
                  <a:lnTo>
                    <a:pt x="24184" y="27732"/>
                  </a:lnTo>
                  <a:lnTo>
                    <a:pt x="0" y="24277"/>
                  </a:lnTo>
                  <a:lnTo>
                    <a:pt x="10364" y="10458"/>
                  </a:lnTo>
                  <a:lnTo>
                    <a:pt x="17274" y="10458"/>
                  </a:lnTo>
                  <a:lnTo>
                    <a:pt x="20729" y="0"/>
                  </a:lnTo>
                  <a:close/>
                </a:path>
              </a:pathLst>
            </a:custGeom>
            <a:solidFill>
              <a:srgbClr val="CEE3BF"/>
            </a:solidFill>
            <a:ln w="9334" cap="flat">
              <a:noFill/>
              <a:prstDash val="solid"/>
              <a:miter/>
            </a:ln>
          </p:spPr>
          <p:txBody>
            <a:bodyPr rtlCol="0" anchor="ctr"/>
            <a:lstStyle/>
            <a:p>
              <a:endParaRPr lang="en-GB" dirty="0"/>
            </a:p>
          </p:txBody>
        </p:sp>
        <p:sp>
          <p:nvSpPr>
            <p:cNvPr id="986" name="Freeform: Shape 985">
              <a:extLst>
                <a:ext uri="{FF2B5EF4-FFF2-40B4-BE49-F238E27FC236}">
                  <a16:creationId xmlns:a16="http://schemas.microsoft.com/office/drawing/2014/main" id="{D93D2A62-DCB8-4EC3-9EC6-07B27085F6D0}"/>
                </a:ext>
              </a:extLst>
            </p:cNvPr>
            <p:cNvSpPr/>
            <p:nvPr/>
          </p:nvSpPr>
          <p:spPr>
            <a:xfrm>
              <a:off x="3834337" y="4187450"/>
              <a:ext cx="362474" cy="318029"/>
            </a:xfrm>
            <a:custGeom>
              <a:avLst/>
              <a:gdLst>
                <a:gd name="connsiteX0" fmla="*/ 75912 w 362474"/>
                <a:gd name="connsiteY0" fmla="*/ 24184 h 318029"/>
                <a:gd name="connsiteX1" fmla="*/ 79367 w 362474"/>
                <a:gd name="connsiteY1" fmla="*/ 13819 h 318029"/>
                <a:gd name="connsiteX2" fmla="*/ 79367 w 362474"/>
                <a:gd name="connsiteY2" fmla="*/ 3455 h 318029"/>
                <a:gd name="connsiteX3" fmla="*/ 86277 w 362474"/>
                <a:gd name="connsiteY3" fmla="*/ 0 h 318029"/>
                <a:gd name="connsiteX4" fmla="*/ 89732 w 362474"/>
                <a:gd name="connsiteY4" fmla="*/ 6910 h 318029"/>
                <a:gd name="connsiteX5" fmla="*/ 89732 w 362474"/>
                <a:gd name="connsiteY5" fmla="*/ 20729 h 318029"/>
                <a:gd name="connsiteX6" fmla="*/ 103551 w 362474"/>
                <a:gd name="connsiteY6" fmla="*/ 24184 h 318029"/>
                <a:gd name="connsiteX7" fmla="*/ 120825 w 362474"/>
                <a:gd name="connsiteY7" fmla="*/ 27638 h 318029"/>
                <a:gd name="connsiteX8" fmla="*/ 131189 w 362474"/>
                <a:gd name="connsiteY8" fmla="*/ 38003 h 318029"/>
                <a:gd name="connsiteX9" fmla="*/ 138099 w 362474"/>
                <a:gd name="connsiteY9" fmla="*/ 41458 h 318029"/>
                <a:gd name="connsiteX10" fmla="*/ 169099 w 362474"/>
                <a:gd name="connsiteY10" fmla="*/ 48461 h 318029"/>
                <a:gd name="connsiteX11" fmla="*/ 186373 w 362474"/>
                <a:gd name="connsiteY11" fmla="*/ 48461 h 318029"/>
                <a:gd name="connsiteX12" fmla="*/ 217466 w 362474"/>
                <a:gd name="connsiteY12" fmla="*/ 62280 h 318029"/>
                <a:gd name="connsiteX13" fmla="*/ 238195 w 362474"/>
                <a:gd name="connsiteY13" fmla="*/ 55370 h 318029"/>
                <a:gd name="connsiteX14" fmla="*/ 252014 w 362474"/>
                <a:gd name="connsiteY14" fmla="*/ 48461 h 318029"/>
                <a:gd name="connsiteX15" fmla="*/ 269288 w 362474"/>
                <a:gd name="connsiteY15" fmla="*/ 44912 h 318029"/>
                <a:gd name="connsiteX16" fmla="*/ 283108 w 362474"/>
                <a:gd name="connsiteY16" fmla="*/ 48461 h 318029"/>
                <a:gd name="connsiteX17" fmla="*/ 300288 w 362474"/>
                <a:gd name="connsiteY17" fmla="*/ 48461 h 318029"/>
                <a:gd name="connsiteX18" fmla="*/ 293472 w 362474"/>
                <a:gd name="connsiteY18" fmla="*/ 51915 h 318029"/>
                <a:gd name="connsiteX19" fmla="*/ 279653 w 362474"/>
                <a:gd name="connsiteY19" fmla="*/ 55370 h 318029"/>
                <a:gd name="connsiteX20" fmla="*/ 283108 w 362474"/>
                <a:gd name="connsiteY20" fmla="*/ 69190 h 318029"/>
                <a:gd name="connsiteX21" fmla="*/ 303743 w 362474"/>
                <a:gd name="connsiteY21" fmla="*/ 69190 h 318029"/>
                <a:gd name="connsiteX22" fmla="*/ 324472 w 362474"/>
                <a:gd name="connsiteY22" fmla="*/ 72644 h 318029"/>
                <a:gd name="connsiteX23" fmla="*/ 331381 w 362474"/>
                <a:gd name="connsiteY23" fmla="*/ 79554 h 318029"/>
                <a:gd name="connsiteX24" fmla="*/ 331381 w 362474"/>
                <a:gd name="connsiteY24" fmla="*/ 89918 h 318029"/>
                <a:gd name="connsiteX25" fmla="*/ 324472 w 362474"/>
                <a:gd name="connsiteY25" fmla="*/ 96828 h 318029"/>
                <a:gd name="connsiteX26" fmla="*/ 324472 w 362474"/>
                <a:gd name="connsiteY26" fmla="*/ 107193 h 318029"/>
                <a:gd name="connsiteX27" fmla="*/ 338291 w 362474"/>
                <a:gd name="connsiteY27" fmla="*/ 103738 h 318029"/>
                <a:gd name="connsiteX28" fmla="*/ 348656 w 362474"/>
                <a:gd name="connsiteY28" fmla="*/ 100283 h 318029"/>
                <a:gd name="connsiteX29" fmla="*/ 362475 w 362474"/>
                <a:gd name="connsiteY29" fmla="*/ 107193 h 318029"/>
                <a:gd name="connsiteX30" fmla="*/ 352110 w 362474"/>
                <a:gd name="connsiteY30" fmla="*/ 121012 h 318029"/>
                <a:gd name="connsiteX31" fmla="*/ 345201 w 362474"/>
                <a:gd name="connsiteY31" fmla="*/ 131376 h 318029"/>
                <a:gd name="connsiteX32" fmla="*/ 348656 w 362474"/>
                <a:gd name="connsiteY32" fmla="*/ 145196 h 318029"/>
                <a:gd name="connsiteX33" fmla="*/ 331381 w 362474"/>
                <a:gd name="connsiteY33" fmla="*/ 155560 h 318029"/>
                <a:gd name="connsiteX34" fmla="*/ 324472 w 362474"/>
                <a:gd name="connsiteY34" fmla="*/ 165924 h 318029"/>
                <a:gd name="connsiteX35" fmla="*/ 327927 w 362474"/>
                <a:gd name="connsiteY35" fmla="*/ 179743 h 318029"/>
                <a:gd name="connsiteX36" fmla="*/ 334836 w 362474"/>
                <a:gd name="connsiteY36" fmla="*/ 190108 h 318029"/>
                <a:gd name="connsiteX37" fmla="*/ 338291 w 362474"/>
                <a:gd name="connsiteY37" fmla="*/ 200472 h 318029"/>
                <a:gd name="connsiteX38" fmla="*/ 331381 w 362474"/>
                <a:gd name="connsiteY38" fmla="*/ 217840 h 318029"/>
                <a:gd name="connsiteX39" fmla="*/ 310653 w 362474"/>
                <a:gd name="connsiteY39" fmla="*/ 224749 h 318029"/>
                <a:gd name="connsiteX40" fmla="*/ 293472 w 362474"/>
                <a:gd name="connsiteY40" fmla="*/ 228204 h 318029"/>
                <a:gd name="connsiteX41" fmla="*/ 283108 w 362474"/>
                <a:gd name="connsiteY41" fmla="*/ 235114 h 318029"/>
                <a:gd name="connsiteX42" fmla="*/ 272743 w 362474"/>
                <a:gd name="connsiteY42" fmla="*/ 235114 h 318029"/>
                <a:gd name="connsiteX43" fmla="*/ 255469 w 362474"/>
                <a:gd name="connsiteY43" fmla="*/ 231659 h 318029"/>
                <a:gd name="connsiteX44" fmla="*/ 241650 w 362474"/>
                <a:gd name="connsiteY44" fmla="*/ 224749 h 318029"/>
                <a:gd name="connsiteX45" fmla="*/ 231285 w 362474"/>
                <a:gd name="connsiteY45" fmla="*/ 228204 h 318029"/>
                <a:gd name="connsiteX46" fmla="*/ 241650 w 362474"/>
                <a:gd name="connsiteY46" fmla="*/ 238569 h 318029"/>
                <a:gd name="connsiteX47" fmla="*/ 245105 w 362474"/>
                <a:gd name="connsiteY47" fmla="*/ 255843 h 318029"/>
                <a:gd name="connsiteX48" fmla="*/ 255469 w 362474"/>
                <a:gd name="connsiteY48" fmla="*/ 269662 h 318029"/>
                <a:gd name="connsiteX49" fmla="*/ 265834 w 362474"/>
                <a:gd name="connsiteY49" fmla="*/ 269662 h 318029"/>
                <a:gd name="connsiteX50" fmla="*/ 265834 w 362474"/>
                <a:gd name="connsiteY50" fmla="*/ 276571 h 318029"/>
                <a:gd name="connsiteX51" fmla="*/ 262379 w 362474"/>
                <a:gd name="connsiteY51" fmla="*/ 286936 h 318029"/>
                <a:gd name="connsiteX52" fmla="*/ 252014 w 362474"/>
                <a:gd name="connsiteY52" fmla="*/ 286936 h 318029"/>
                <a:gd name="connsiteX53" fmla="*/ 241650 w 362474"/>
                <a:gd name="connsiteY53" fmla="*/ 290391 h 318029"/>
                <a:gd name="connsiteX54" fmla="*/ 224376 w 362474"/>
                <a:gd name="connsiteY54" fmla="*/ 311120 h 318029"/>
                <a:gd name="connsiteX55" fmla="*/ 200192 w 362474"/>
                <a:gd name="connsiteY55" fmla="*/ 318029 h 318029"/>
                <a:gd name="connsiteX56" fmla="*/ 182918 w 362474"/>
                <a:gd name="connsiteY56" fmla="*/ 314574 h 318029"/>
                <a:gd name="connsiteX57" fmla="*/ 169099 w 362474"/>
                <a:gd name="connsiteY57" fmla="*/ 300755 h 318029"/>
                <a:gd name="connsiteX58" fmla="*/ 165644 w 362474"/>
                <a:gd name="connsiteY58" fmla="*/ 293845 h 318029"/>
                <a:gd name="connsiteX59" fmla="*/ 162189 w 362474"/>
                <a:gd name="connsiteY59" fmla="*/ 276571 h 318029"/>
                <a:gd name="connsiteX60" fmla="*/ 155373 w 362474"/>
                <a:gd name="connsiteY60" fmla="*/ 273117 h 318029"/>
                <a:gd name="connsiteX61" fmla="*/ 155373 w 362474"/>
                <a:gd name="connsiteY61" fmla="*/ 235114 h 318029"/>
                <a:gd name="connsiteX62" fmla="*/ 148463 w 362474"/>
                <a:gd name="connsiteY62" fmla="*/ 231659 h 318029"/>
                <a:gd name="connsiteX63" fmla="*/ 148463 w 362474"/>
                <a:gd name="connsiteY63" fmla="*/ 186653 h 318029"/>
                <a:gd name="connsiteX64" fmla="*/ 158828 w 362474"/>
                <a:gd name="connsiteY64" fmla="*/ 172834 h 318029"/>
                <a:gd name="connsiteX65" fmla="*/ 148463 w 362474"/>
                <a:gd name="connsiteY65" fmla="*/ 162469 h 318029"/>
                <a:gd name="connsiteX66" fmla="*/ 100096 w 362474"/>
                <a:gd name="connsiteY66" fmla="*/ 165924 h 318029"/>
                <a:gd name="connsiteX67" fmla="*/ 79367 w 362474"/>
                <a:gd name="connsiteY67" fmla="*/ 141740 h 318029"/>
                <a:gd name="connsiteX68" fmla="*/ 31000 w 362474"/>
                <a:gd name="connsiteY68" fmla="*/ 145196 h 318029"/>
                <a:gd name="connsiteX69" fmla="*/ 20729 w 362474"/>
                <a:gd name="connsiteY69" fmla="*/ 138286 h 318029"/>
                <a:gd name="connsiteX70" fmla="*/ 20729 w 362474"/>
                <a:gd name="connsiteY70" fmla="*/ 114102 h 318029"/>
                <a:gd name="connsiteX71" fmla="*/ 0 w 362474"/>
                <a:gd name="connsiteY71" fmla="*/ 79554 h 318029"/>
                <a:gd name="connsiteX72" fmla="*/ 3455 w 362474"/>
                <a:gd name="connsiteY72" fmla="*/ 55370 h 318029"/>
                <a:gd name="connsiteX73" fmla="*/ 13819 w 362474"/>
                <a:gd name="connsiteY73" fmla="*/ 38003 h 318029"/>
                <a:gd name="connsiteX74" fmla="*/ 31000 w 362474"/>
                <a:gd name="connsiteY74" fmla="*/ 24184 h 318029"/>
                <a:gd name="connsiteX75" fmla="*/ 37909 w 362474"/>
                <a:gd name="connsiteY75" fmla="*/ 27638 h 318029"/>
                <a:gd name="connsiteX76" fmla="*/ 37909 w 362474"/>
                <a:gd name="connsiteY76" fmla="*/ 34548 h 318029"/>
                <a:gd name="connsiteX77" fmla="*/ 37909 w 362474"/>
                <a:gd name="connsiteY77" fmla="*/ 51915 h 318029"/>
                <a:gd name="connsiteX78" fmla="*/ 27545 w 362474"/>
                <a:gd name="connsiteY78" fmla="*/ 58825 h 318029"/>
                <a:gd name="connsiteX79" fmla="*/ 31000 w 362474"/>
                <a:gd name="connsiteY79" fmla="*/ 79554 h 318029"/>
                <a:gd name="connsiteX80" fmla="*/ 37909 w 362474"/>
                <a:gd name="connsiteY80" fmla="*/ 89918 h 318029"/>
                <a:gd name="connsiteX81" fmla="*/ 51729 w 362474"/>
                <a:gd name="connsiteY81" fmla="*/ 83009 h 318029"/>
                <a:gd name="connsiteX82" fmla="*/ 58638 w 362474"/>
                <a:gd name="connsiteY82" fmla="*/ 69190 h 318029"/>
                <a:gd name="connsiteX83" fmla="*/ 51729 w 362474"/>
                <a:gd name="connsiteY83" fmla="*/ 55370 h 318029"/>
                <a:gd name="connsiteX84" fmla="*/ 48274 w 362474"/>
                <a:gd name="connsiteY84" fmla="*/ 44912 h 318029"/>
                <a:gd name="connsiteX85" fmla="*/ 55184 w 362474"/>
                <a:gd name="connsiteY85" fmla="*/ 34548 h 318029"/>
                <a:gd name="connsiteX86" fmla="*/ 65548 w 362474"/>
                <a:gd name="connsiteY86" fmla="*/ 31093 h 318029"/>
                <a:gd name="connsiteX87" fmla="*/ 75912 w 362474"/>
                <a:gd name="connsiteY87" fmla="*/ 24184 h 31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62474" h="318029">
                  <a:moveTo>
                    <a:pt x="75912" y="24184"/>
                  </a:moveTo>
                  <a:lnTo>
                    <a:pt x="79367" y="13819"/>
                  </a:lnTo>
                  <a:lnTo>
                    <a:pt x="79367" y="3455"/>
                  </a:lnTo>
                  <a:lnTo>
                    <a:pt x="86277" y="0"/>
                  </a:lnTo>
                  <a:lnTo>
                    <a:pt x="89732" y="6910"/>
                  </a:lnTo>
                  <a:lnTo>
                    <a:pt x="89732" y="20729"/>
                  </a:lnTo>
                  <a:lnTo>
                    <a:pt x="103551" y="24184"/>
                  </a:lnTo>
                  <a:lnTo>
                    <a:pt x="120825" y="27638"/>
                  </a:lnTo>
                  <a:lnTo>
                    <a:pt x="131189" y="38003"/>
                  </a:lnTo>
                  <a:lnTo>
                    <a:pt x="138099" y="41458"/>
                  </a:lnTo>
                  <a:lnTo>
                    <a:pt x="169099" y="48461"/>
                  </a:lnTo>
                  <a:lnTo>
                    <a:pt x="186373" y="48461"/>
                  </a:lnTo>
                  <a:lnTo>
                    <a:pt x="217466" y="62280"/>
                  </a:lnTo>
                  <a:lnTo>
                    <a:pt x="238195" y="55370"/>
                  </a:lnTo>
                  <a:lnTo>
                    <a:pt x="252014" y="48461"/>
                  </a:lnTo>
                  <a:lnTo>
                    <a:pt x="269288" y="44912"/>
                  </a:lnTo>
                  <a:lnTo>
                    <a:pt x="283108" y="48461"/>
                  </a:lnTo>
                  <a:lnTo>
                    <a:pt x="300288" y="48461"/>
                  </a:lnTo>
                  <a:lnTo>
                    <a:pt x="293472" y="51915"/>
                  </a:lnTo>
                  <a:lnTo>
                    <a:pt x="279653" y="55370"/>
                  </a:lnTo>
                  <a:lnTo>
                    <a:pt x="283108" y="69190"/>
                  </a:lnTo>
                  <a:lnTo>
                    <a:pt x="303743" y="69190"/>
                  </a:lnTo>
                  <a:lnTo>
                    <a:pt x="324472" y="72644"/>
                  </a:lnTo>
                  <a:lnTo>
                    <a:pt x="331381" y="79554"/>
                  </a:lnTo>
                  <a:lnTo>
                    <a:pt x="331381" y="89918"/>
                  </a:lnTo>
                  <a:lnTo>
                    <a:pt x="324472" y="96828"/>
                  </a:lnTo>
                  <a:lnTo>
                    <a:pt x="324472" y="107193"/>
                  </a:lnTo>
                  <a:lnTo>
                    <a:pt x="338291" y="103738"/>
                  </a:lnTo>
                  <a:lnTo>
                    <a:pt x="348656" y="100283"/>
                  </a:lnTo>
                  <a:lnTo>
                    <a:pt x="362475" y="107193"/>
                  </a:lnTo>
                  <a:lnTo>
                    <a:pt x="352110" y="121012"/>
                  </a:lnTo>
                  <a:lnTo>
                    <a:pt x="345201" y="131376"/>
                  </a:lnTo>
                  <a:lnTo>
                    <a:pt x="348656" y="145196"/>
                  </a:lnTo>
                  <a:lnTo>
                    <a:pt x="331381" y="155560"/>
                  </a:lnTo>
                  <a:lnTo>
                    <a:pt x="324472" y="165924"/>
                  </a:lnTo>
                  <a:lnTo>
                    <a:pt x="327927" y="179743"/>
                  </a:lnTo>
                  <a:lnTo>
                    <a:pt x="334836" y="190108"/>
                  </a:lnTo>
                  <a:lnTo>
                    <a:pt x="338291" y="200472"/>
                  </a:lnTo>
                  <a:lnTo>
                    <a:pt x="331381" y="217840"/>
                  </a:lnTo>
                  <a:lnTo>
                    <a:pt x="310653" y="224749"/>
                  </a:lnTo>
                  <a:lnTo>
                    <a:pt x="293472" y="228204"/>
                  </a:lnTo>
                  <a:lnTo>
                    <a:pt x="283108" y="235114"/>
                  </a:lnTo>
                  <a:lnTo>
                    <a:pt x="272743" y="235114"/>
                  </a:lnTo>
                  <a:lnTo>
                    <a:pt x="255469" y="231659"/>
                  </a:lnTo>
                  <a:lnTo>
                    <a:pt x="241650" y="224749"/>
                  </a:lnTo>
                  <a:lnTo>
                    <a:pt x="231285" y="228204"/>
                  </a:lnTo>
                  <a:lnTo>
                    <a:pt x="241650" y="238569"/>
                  </a:lnTo>
                  <a:lnTo>
                    <a:pt x="245105" y="255843"/>
                  </a:lnTo>
                  <a:lnTo>
                    <a:pt x="255469" y="269662"/>
                  </a:lnTo>
                  <a:lnTo>
                    <a:pt x="265834" y="269662"/>
                  </a:lnTo>
                  <a:lnTo>
                    <a:pt x="265834" y="276571"/>
                  </a:lnTo>
                  <a:lnTo>
                    <a:pt x="262379" y="286936"/>
                  </a:lnTo>
                  <a:lnTo>
                    <a:pt x="252014" y="286936"/>
                  </a:lnTo>
                  <a:lnTo>
                    <a:pt x="241650" y="290391"/>
                  </a:lnTo>
                  <a:lnTo>
                    <a:pt x="224376" y="311120"/>
                  </a:lnTo>
                  <a:lnTo>
                    <a:pt x="200192" y="318029"/>
                  </a:lnTo>
                  <a:lnTo>
                    <a:pt x="182918" y="314574"/>
                  </a:lnTo>
                  <a:lnTo>
                    <a:pt x="169099" y="300755"/>
                  </a:lnTo>
                  <a:lnTo>
                    <a:pt x="165644" y="293845"/>
                  </a:lnTo>
                  <a:lnTo>
                    <a:pt x="162189" y="276571"/>
                  </a:lnTo>
                  <a:lnTo>
                    <a:pt x="155373" y="273117"/>
                  </a:lnTo>
                  <a:lnTo>
                    <a:pt x="155373" y="235114"/>
                  </a:lnTo>
                  <a:lnTo>
                    <a:pt x="148463" y="231659"/>
                  </a:lnTo>
                  <a:lnTo>
                    <a:pt x="148463" y="186653"/>
                  </a:lnTo>
                  <a:lnTo>
                    <a:pt x="158828" y="172834"/>
                  </a:lnTo>
                  <a:lnTo>
                    <a:pt x="148463" y="162469"/>
                  </a:lnTo>
                  <a:lnTo>
                    <a:pt x="100096" y="165924"/>
                  </a:lnTo>
                  <a:lnTo>
                    <a:pt x="79367" y="141740"/>
                  </a:lnTo>
                  <a:lnTo>
                    <a:pt x="31000" y="145196"/>
                  </a:lnTo>
                  <a:lnTo>
                    <a:pt x="20729" y="138286"/>
                  </a:lnTo>
                  <a:lnTo>
                    <a:pt x="20729" y="114102"/>
                  </a:lnTo>
                  <a:lnTo>
                    <a:pt x="0" y="79554"/>
                  </a:lnTo>
                  <a:lnTo>
                    <a:pt x="3455" y="55370"/>
                  </a:lnTo>
                  <a:lnTo>
                    <a:pt x="13819" y="38003"/>
                  </a:lnTo>
                  <a:lnTo>
                    <a:pt x="31000" y="24184"/>
                  </a:lnTo>
                  <a:lnTo>
                    <a:pt x="37909" y="27638"/>
                  </a:lnTo>
                  <a:lnTo>
                    <a:pt x="37909" y="34548"/>
                  </a:lnTo>
                  <a:lnTo>
                    <a:pt x="37909" y="51915"/>
                  </a:lnTo>
                  <a:lnTo>
                    <a:pt x="27545" y="58825"/>
                  </a:lnTo>
                  <a:lnTo>
                    <a:pt x="31000" y="79554"/>
                  </a:lnTo>
                  <a:lnTo>
                    <a:pt x="37909" y="89918"/>
                  </a:lnTo>
                  <a:lnTo>
                    <a:pt x="51729" y="83009"/>
                  </a:lnTo>
                  <a:lnTo>
                    <a:pt x="58638" y="69190"/>
                  </a:lnTo>
                  <a:lnTo>
                    <a:pt x="51729" y="55370"/>
                  </a:lnTo>
                  <a:lnTo>
                    <a:pt x="48274" y="44912"/>
                  </a:lnTo>
                  <a:lnTo>
                    <a:pt x="55184" y="34548"/>
                  </a:lnTo>
                  <a:lnTo>
                    <a:pt x="65548" y="31093"/>
                  </a:lnTo>
                  <a:lnTo>
                    <a:pt x="75912" y="24184"/>
                  </a:lnTo>
                  <a:close/>
                </a:path>
              </a:pathLst>
            </a:custGeom>
            <a:solidFill>
              <a:srgbClr val="CEE3BF"/>
            </a:solidFill>
            <a:ln w="9334" cap="flat">
              <a:noFill/>
              <a:prstDash val="solid"/>
              <a:miter/>
            </a:ln>
          </p:spPr>
          <p:txBody>
            <a:bodyPr rtlCol="0" anchor="ctr"/>
            <a:lstStyle/>
            <a:p>
              <a:endParaRPr lang="en-GB" dirty="0"/>
            </a:p>
          </p:txBody>
        </p:sp>
        <p:sp>
          <p:nvSpPr>
            <p:cNvPr id="987" name="Freeform: Shape 986">
              <a:extLst>
                <a:ext uri="{FF2B5EF4-FFF2-40B4-BE49-F238E27FC236}">
                  <a16:creationId xmlns:a16="http://schemas.microsoft.com/office/drawing/2014/main" id="{D96EF991-70CE-4658-9E57-7FB61F1192ED}"/>
                </a:ext>
              </a:extLst>
            </p:cNvPr>
            <p:cNvSpPr/>
            <p:nvPr/>
          </p:nvSpPr>
          <p:spPr>
            <a:xfrm>
              <a:off x="4158809" y="4294642"/>
              <a:ext cx="120824" cy="197017"/>
            </a:xfrm>
            <a:custGeom>
              <a:avLst/>
              <a:gdLst>
                <a:gd name="connsiteX0" fmla="*/ 72551 w 120824"/>
                <a:gd name="connsiteY0" fmla="*/ 51822 h 197017"/>
                <a:gd name="connsiteX1" fmla="*/ 86370 w 120824"/>
                <a:gd name="connsiteY1" fmla="*/ 41458 h 197017"/>
                <a:gd name="connsiteX2" fmla="*/ 100096 w 120824"/>
                <a:gd name="connsiteY2" fmla="*/ 51822 h 197017"/>
                <a:gd name="connsiteX3" fmla="*/ 113915 w 120824"/>
                <a:gd name="connsiteY3" fmla="*/ 69096 h 197017"/>
                <a:gd name="connsiteX4" fmla="*/ 110460 w 120824"/>
                <a:gd name="connsiteY4" fmla="*/ 82915 h 197017"/>
                <a:gd name="connsiteX5" fmla="*/ 103551 w 120824"/>
                <a:gd name="connsiteY5" fmla="*/ 93280 h 197017"/>
                <a:gd name="connsiteX6" fmla="*/ 93280 w 120824"/>
                <a:gd name="connsiteY6" fmla="*/ 107192 h 197017"/>
                <a:gd name="connsiteX7" fmla="*/ 89825 w 120824"/>
                <a:gd name="connsiteY7" fmla="*/ 124466 h 197017"/>
                <a:gd name="connsiteX8" fmla="*/ 96641 w 120824"/>
                <a:gd name="connsiteY8" fmla="*/ 131376 h 197017"/>
                <a:gd name="connsiteX9" fmla="*/ 103551 w 120824"/>
                <a:gd name="connsiteY9" fmla="*/ 141740 h 197017"/>
                <a:gd name="connsiteX10" fmla="*/ 110460 w 120824"/>
                <a:gd name="connsiteY10" fmla="*/ 148650 h 197017"/>
                <a:gd name="connsiteX11" fmla="*/ 113915 w 120824"/>
                <a:gd name="connsiteY11" fmla="*/ 155560 h 197017"/>
                <a:gd name="connsiteX12" fmla="*/ 120825 w 120824"/>
                <a:gd name="connsiteY12" fmla="*/ 172834 h 197017"/>
                <a:gd name="connsiteX13" fmla="*/ 113915 w 120824"/>
                <a:gd name="connsiteY13" fmla="*/ 179743 h 197017"/>
                <a:gd name="connsiteX14" fmla="*/ 100096 w 120824"/>
                <a:gd name="connsiteY14" fmla="*/ 186653 h 197017"/>
                <a:gd name="connsiteX15" fmla="*/ 89825 w 120824"/>
                <a:gd name="connsiteY15" fmla="*/ 193562 h 197017"/>
                <a:gd name="connsiteX16" fmla="*/ 72551 w 120824"/>
                <a:gd name="connsiteY16" fmla="*/ 197018 h 197017"/>
                <a:gd name="connsiteX17" fmla="*/ 58732 w 120824"/>
                <a:gd name="connsiteY17" fmla="*/ 197018 h 197017"/>
                <a:gd name="connsiteX18" fmla="*/ 44912 w 120824"/>
                <a:gd name="connsiteY18" fmla="*/ 183198 h 197017"/>
                <a:gd name="connsiteX19" fmla="*/ 34548 w 120824"/>
                <a:gd name="connsiteY19" fmla="*/ 169379 h 197017"/>
                <a:gd name="connsiteX20" fmla="*/ 34548 w 120824"/>
                <a:gd name="connsiteY20" fmla="*/ 155560 h 197017"/>
                <a:gd name="connsiteX21" fmla="*/ 34548 w 120824"/>
                <a:gd name="connsiteY21" fmla="*/ 134831 h 197017"/>
                <a:gd name="connsiteX22" fmla="*/ 44912 w 120824"/>
                <a:gd name="connsiteY22" fmla="*/ 124466 h 197017"/>
                <a:gd name="connsiteX23" fmla="*/ 38003 w 120824"/>
                <a:gd name="connsiteY23" fmla="*/ 107192 h 197017"/>
                <a:gd name="connsiteX24" fmla="*/ 31093 w 120824"/>
                <a:gd name="connsiteY24" fmla="*/ 86370 h 197017"/>
                <a:gd name="connsiteX25" fmla="*/ 10364 w 120824"/>
                <a:gd name="connsiteY25" fmla="*/ 86370 h 197017"/>
                <a:gd name="connsiteX26" fmla="*/ 3455 w 120824"/>
                <a:gd name="connsiteY26" fmla="*/ 72551 h 197017"/>
                <a:gd name="connsiteX27" fmla="*/ 0 w 120824"/>
                <a:gd name="connsiteY27" fmla="*/ 58732 h 197017"/>
                <a:gd name="connsiteX28" fmla="*/ 6910 w 120824"/>
                <a:gd name="connsiteY28" fmla="*/ 48367 h 197017"/>
                <a:gd name="connsiteX29" fmla="*/ 24184 w 120824"/>
                <a:gd name="connsiteY29" fmla="*/ 38003 h 197017"/>
                <a:gd name="connsiteX30" fmla="*/ 20729 w 120824"/>
                <a:gd name="connsiteY30" fmla="*/ 24184 h 197017"/>
                <a:gd name="connsiteX31" fmla="*/ 27638 w 120824"/>
                <a:gd name="connsiteY31" fmla="*/ 13819 h 197017"/>
                <a:gd name="connsiteX32" fmla="*/ 38003 w 120824"/>
                <a:gd name="connsiteY32" fmla="*/ 0 h 197017"/>
                <a:gd name="connsiteX33" fmla="*/ 48367 w 120824"/>
                <a:gd name="connsiteY33" fmla="*/ 3455 h 197017"/>
                <a:gd name="connsiteX34" fmla="*/ 58732 w 120824"/>
                <a:gd name="connsiteY34" fmla="*/ 10364 h 197017"/>
                <a:gd name="connsiteX35" fmla="*/ 72551 w 120824"/>
                <a:gd name="connsiteY35" fmla="*/ 20729 h 197017"/>
                <a:gd name="connsiteX36" fmla="*/ 76006 w 120824"/>
                <a:gd name="connsiteY36" fmla="*/ 27638 h 197017"/>
                <a:gd name="connsiteX37" fmla="*/ 76006 w 120824"/>
                <a:gd name="connsiteY37" fmla="*/ 38003 h 197017"/>
                <a:gd name="connsiteX38" fmla="*/ 72551 w 120824"/>
                <a:gd name="connsiteY38" fmla="*/ 51822 h 19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0824" h="197017">
                  <a:moveTo>
                    <a:pt x="72551" y="51822"/>
                  </a:moveTo>
                  <a:lnTo>
                    <a:pt x="86370" y="41458"/>
                  </a:lnTo>
                  <a:lnTo>
                    <a:pt x="100096" y="51822"/>
                  </a:lnTo>
                  <a:lnTo>
                    <a:pt x="113915" y="69096"/>
                  </a:lnTo>
                  <a:lnTo>
                    <a:pt x="110460" y="82915"/>
                  </a:lnTo>
                  <a:lnTo>
                    <a:pt x="103551" y="93280"/>
                  </a:lnTo>
                  <a:lnTo>
                    <a:pt x="93280" y="107192"/>
                  </a:lnTo>
                  <a:lnTo>
                    <a:pt x="89825" y="124466"/>
                  </a:lnTo>
                  <a:lnTo>
                    <a:pt x="96641" y="131376"/>
                  </a:lnTo>
                  <a:lnTo>
                    <a:pt x="103551" y="141740"/>
                  </a:lnTo>
                  <a:lnTo>
                    <a:pt x="110460" y="148650"/>
                  </a:lnTo>
                  <a:lnTo>
                    <a:pt x="113915" y="155560"/>
                  </a:lnTo>
                  <a:lnTo>
                    <a:pt x="120825" y="172834"/>
                  </a:lnTo>
                  <a:lnTo>
                    <a:pt x="113915" y="179743"/>
                  </a:lnTo>
                  <a:lnTo>
                    <a:pt x="100096" y="186653"/>
                  </a:lnTo>
                  <a:lnTo>
                    <a:pt x="89825" y="193562"/>
                  </a:lnTo>
                  <a:lnTo>
                    <a:pt x="72551" y="197018"/>
                  </a:lnTo>
                  <a:lnTo>
                    <a:pt x="58732" y="197018"/>
                  </a:lnTo>
                  <a:lnTo>
                    <a:pt x="44912" y="183198"/>
                  </a:lnTo>
                  <a:lnTo>
                    <a:pt x="34548" y="169379"/>
                  </a:lnTo>
                  <a:lnTo>
                    <a:pt x="34548" y="155560"/>
                  </a:lnTo>
                  <a:lnTo>
                    <a:pt x="34548" y="134831"/>
                  </a:lnTo>
                  <a:lnTo>
                    <a:pt x="44912" y="124466"/>
                  </a:lnTo>
                  <a:lnTo>
                    <a:pt x="38003" y="107192"/>
                  </a:lnTo>
                  <a:lnTo>
                    <a:pt x="31093" y="86370"/>
                  </a:lnTo>
                  <a:lnTo>
                    <a:pt x="10364" y="86370"/>
                  </a:lnTo>
                  <a:lnTo>
                    <a:pt x="3455" y="72551"/>
                  </a:lnTo>
                  <a:lnTo>
                    <a:pt x="0" y="58732"/>
                  </a:lnTo>
                  <a:lnTo>
                    <a:pt x="6910" y="48367"/>
                  </a:lnTo>
                  <a:lnTo>
                    <a:pt x="24184" y="38003"/>
                  </a:lnTo>
                  <a:lnTo>
                    <a:pt x="20729" y="24184"/>
                  </a:lnTo>
                  <a:lnTo>
                    <a:pt x="27638" y="13819"/>
                  </a:lnTo>
                  <a:lnTo>
                    <a:pt x="38003" y="0"/>
                  </a:lnTo>
                  <a:lnTo>
                    <a:pt x="48367" y="3455"/>
                  </a:lnTo>
                  <a:lnTo>
                    <a:pt x="58732" y="10364"/>
                  </a:lnTo>
                  <a:lnTo>
                    <a:pt x="72551" y="20729"/>
                  </a:lnTo>
                  <a:lnTo>
                    <a:pt x="76006" y="27638"/>
                  </a:lnTo>
                  <a:lnTo>
                    <a:pt x="76006" y="38003"/>
                  </a:lnTo>
                  <a:lnTo>
                    <a:pt x="72551" y="51822"/>
                  </a:lnTo>
                  <a:close/>
                </a:path>
              </a:pathLst>
            </a:custGeom>
            <a:solidFill>
              <a:srgbClr val="CEE3BF"/>
            </a:solidFill>
            <a:ln w="9334" cap="flat">
              <a:noFill/>
              <a:prstDash val="solid"/>
              <a:miter/>
            </a:ln>
          </p:spPr>
          <p:txBody>
            <a:bodyPr rtlCol="0" anchor="ctr"/>
            <a:lstStyle/>
            <a:p>
              <a:endParaRPr lang="en-GB" dirty="0"/>
            </a:p>
          </p:txBody>
        </p:sp>
        <p:sp>
          <p:nvSpPr>
            <p:cNvPr id="988" name="Freeform: Shape 987">
              <a:extLst>
                <a:ext uri="{FF2B5EF4-FFF2-40B4-BE49-F238E27FC236}">
                  <a16:creationId xmlns:a16="http://schemas.microsoft.com/office/drawing/2014/main" id="{3A07C857-4D25-4AAD-9EDD-0ED8A20F57A2}"/>
                </a:ext>
              </a:extLst>
            </p:cNvPr>
            <p:cNvSpPr/>
            <p:nvPr/>
          </p:nvSpPr>
          <p:spPr>
            <a:xfrm>
              <a:off x="4341821" y="4367193"/>
              <a:ext cx="82821" cy="103737"/>
            </a:xfrm>
            <a:custGeom>
              <a:avLst/>
              <a:gdLst>
                <a:gd name="connsiteX0" fmla="*/ 10364 w 82821"/>
                <a:gd name="connsiteY0" fmla="*/ 0 h 103737"/>
                <a:gd name="connsiteX1" fmla="*/ 27638 w 82821"/>
                <a:gd name="connsiteY1" fmla="*/ 3455 h 103737"/>
                <a:gd name="connsiteX2" fmla="*/ 48274 w 82821"/>
                <a:gd name="connsiteY2" fmla="*/ 10365 h 103737"/>
                <a:gd name="connsiteX3" fmla="*/ 65548 w 82821"/>
                <a:gd name="connsiteY3" fmla="*/ 20729 h 103737"/>
                <a:gd name="connsiteX4" fmla="*/ 75912 w 82821"/>
                <a:gd name="connsiteY4" fmla="*/ 34641 h 103737"/>
                <a:gd name="connsiteX5" fmla="*/ 82822 w 82821"/>
                <a:gd name="connsiteY5" fmla="*/ 45006 h 103737"/>
                <a:gd name="connsiteX6" fmla="*/ 72457 w 82821"/>
                <a:gd name="connsiteY6" fmla="*/ 58825 h 103737"/>
                <a:gd name="connsiteX7" fmla="*/ 62093 w 82821"/>
                <a:gd name="connsiteY7" fmla="*/ 79554 h 103737"/>
                <a:gd name="connsiteX8" fmla="*/ 51729 w 82821"/>
                <a:gd name="connsiteY8" fmla="*/ 103738 h 103737"/>
                <a:gd name="connsiteX9" fmla="*/ 41457 w 82821"/>
                <a:gd name="connsiteY9" fmla="*/ 96828 h 103737"/>
                <a:gd name="connsiteX10" fmla="*/ 24184 w 82821"/>
                <a:gd name="connsiteY10" fmla="*/ 93373 h 103737"/>
                <a:gd name="connsiteX11" fmla="*/ 13819 w 82821"/>
                <a:gd name="connsiteY11" fmla="*/ 100283 h 103737"/>
                <a:gd name="connsiteX12" fmla="*/ 3455 w 82821"/>
                <a:gd name="connsiteY12" fmla="*/ 100283 h 103737"/>
                <a:gd name="connsiteX13" fmla="*/ 3455 w 82821"/>
                <a:gd name="connsiteY13" fmla="*/ 86464 h 103737"/>
                <a:gd name="connsiteX14" fmla="*/ 10364 w 82821"/>
                <a:gd name="connsiteY14" fmla="*/ 62280 h 103737"/>
                <a:gd name="connsiteX15" fmla="*/ 17274 w 82821"/>
                <a:gd name="connsiteY15" fmla="*/ 48461 h 103737"/>
                <a:gd name="connsiteX16" fmla="*/ 6910 w 82821"/>
                <a:gd name="connsiteY16" fmla="*/ 41551 h 103737"/>
                <a:gd name="connsiteX17" fmla="*/ 0 w 82821"/>
                <a:gd name="connsiteY17" fmla="*/ 31187 h 103737"/>
                <a:gd name="connsiteX18" fmla="*/ 0 w 82821"/>
                <a:gd name="connsiteY18" fmla="*/ 20729 h 103737"/>
                <a:gd name="connsiteX19" fmla="*/ 3455 w 82821"/>
                <a:gd name="connsiteY19" fmla="*/ 10365 h 103737"/>
                <a:gd name="connsiteX20" fmla="*/ 10364 w 82821"/>
                <a:gd name="connsiteY20" fmla="*/ 0 h 10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21" h="103737">
                  <a:moveTo>
                    <a:pt x="10364" y="0"/>
                  </a:moveTo>
                  <a:lnTo>
                    <a:pt x="27638" y="3455"/>
                  </a:lnTo>
                  <a:lnTo>
                    <a:pt x="48274" y="10365"/>
                  </a:lnTo>
                  <a:lnTo>
                    <a:pt x="65548" y="20729"/>
                  </a:lnTo>
                  <a:lnTo>
                    <a:pt x="75912" y="34641"/>
                  </a:lnTo>
                  <a:lnTo>
                    <a:pt x="82822" y="45006"/>
                  </a:lnTo>
                  <a:lnTo>
                    <a:pt x="72457" y="58825"/>
                  </a:lnTo>
                  <a:lnTo>
                    <a:pt x="62093" y="79554"/>
                  </a:lnTo>
                  <a:lnTo>
                    <a:pt x="51729" y="103738"/>
                  </a:lnTo>
                  <a:lnTo>
                    <a:pt x="41457" y="96828"/>
                  </a:lnTo>
                  <a:lnTo>
                    <a:pt x="24184" y="93373"/>
                  </a:lnTo>
                  <a:lnTo>
                    <a:pt x="13819" y="100283"/>
                  </a:lnTo>
                  <a:lnTo>
                    <a:pt x="3455" y="100283"/>
                  </a:lnTo>
                  <a:lnTo>
                    <a:pt x="3455" y="86464"/>
                  </a:lnTo>
                  <a:lnTo>
                    <a:pt x="10364" y="62280"/>
                  </a:lnTo>
                  <a:lnTo>
                    <a:pt x="17274" y="48461"/>
                  </a:lnTo>
                  <a:lnTo>
                    <a:pt x="6910" y="41551"/>
                  </a:lnTo>
                  <a:lnTo>
                    <a:pt x="0" y="31187"/>
                  </a:lnTo>
                  <a:lnTo>
                    <a:pt x="0" y="20729"/>
                  </a:lnTo>
                  <a:lnTo>
                    <a:pt x="3455" y="10365"/>
                  </a:lnTo>
                  <a:lnTo>
                    <a:pt x="10364" y="0"/>
                  </a:lnTo>
                  <a:close/>
                </a:path>
              </a:pathLst>
            </a:custGeom>
            <a:solidFill>
              <a:srgbClr val="CEE3BF"/>
            </a:solidFill>
            <a:ln w="9334" cap="flat">
              <a:noFill/>
              <a:prstDash val="solid"/>
              <a:miter/>
            </a:ln>
          </p:spPr>
          <p:txBody>
            <a:bodyPr rtlCol="0" anchor="ctr"/>
            <a:lstStyle/>
            <a:p>
              <a:endParaRPr lang="en-GB" dirty="0"/>
            </a:p>
          </p:txBody>
        </p:sp>
        <p:sp>
          <p:nvSpPr>
            <p:cNvPr id="989" name="Freeform: Shape 988">
              <a:extLst>
                <a:ext uri="{FF2B5EF4-FFF2-40B4-BE49-F238E27FC236}">
                  <a16:creationId xmlns:a16="http://schemas.microsoft.com/office/drawing/2014/main" id="{BEA06BB9-0D0A-45D6-87F1-188C4B0F8701}"/>
                </a:ext>
              </a:extLst>
            </p:cNvPr>
            <p:cNvSpPr/>
            <p:nvPr/>
          </p:nvSpPr>
          <p:spPr>
            <a:xfrm>
              <a:off x="4248634" y="4363738"/>
              <a:ext cx="110460" cy="110647"/>
            </a:xfrm>
            <a:custGeom>
              <a:avLst/>
              <a:gdLst>
                <a:gd name="connsiteX0" fmla="*/ 24090 w 110460"/>
                <a:gd name="connsiteY0" fmla="*/ 0 h 110647"/>
                <a:gd name="connsiteX1" fmla="*/ 37909 w 110460"/>
                <a:gd name="connsiteY1" fmla="*/ 0 h 110647"/>
                <a:gd name="connsiteX2" fmla="*/ 55184 w 110460"/>
                <a:gd name="connsiteY2" fmla="*/ 3455 h 110647"/>
                <a:gd name="connsiteX3" fmla="*/ 62093 w 110460"/>
                <a:gd name="connsiteY3" fmla="*/ 3455 h 110647"/>
                <a:gd name="connsiteX4" fmla="*/ 72458 w 110460"/>
                <a:gd name="connsiteY4" fmla="*/ 3455 h 110647"/>
                <a:gd name="connsiteX5" fmla="*/ 82822 w 110460"/>
                <a:gd name="connsiteY5" fmla="*/ 3455 h 110647"/>
                <a:gd name="connsiteX6" fmla="*/ 93187 w 110460"/>
                <a:gd name="connsiteY6" fmla="*/ 3455 h 110647"/>
                <a:gd name="connsiteX7" fmla="*/ 103551 w 110460"/>
                <a:gd name="connsiteY7" fmla="*/ 3455 h 110647"/>
                <a:gd name="connsiteX8" fmla="*/ 93187 w 110460"/>
                <a:gd name="connsiteY8" fmla="*/ 24184 h 110647"/>
                <a:gd name="connsiteX9" fmla="*/ 93187 w 110460"/>
                <a:gd name="connsiteY9" fmla="*/ 34641 h 110647"/>
                <a:gd name="connsiteX10" fmla="*/ 100096 w 110460"/>
                <a:gd name="connsiteY10" fmla="*/ 45006 h 110647"/>
                <a:gd name="connsiteX11" fmla="*/ 110460 w 110460"/>
                <a:gd name="connsiteY11" fmla="*/ 51915 h 110647"/>
                <a:gd name="connsiteX12" fmla="*/ 96641 w 110460"/>
                <a:gd name="connsiteY12" fmla="*/ 89918 h 110647"/>
                <a:gd name="connsiteX13" fmla="*/ 96641 w 110460"/>
                <a:gd name="connsiteY13" fmla="*/ 103738 h 110647"/>
                <a:gd name="connsiteX14" fmla="*/ 86277 w 110460"/>
                <a:gd name="connsiteY14" fmla="*/ 100283 h 110647"/>
                <a:gd name="connsiteX15" fmla="*/ 72458 w 110460"/>
                <a:gd name="connsiteY15" fmla="*/ 96828 h 110647"/>
                <a:gd name="connsiteX16" fmla="*/ 62093 w 110460"/>
                <a:gd name="connsiteY16" fmla="*/ 93373 h 110647"/>
                <a:gd name="connsiteX17" fmla="*/ 55184 w 110460"/>
                <a:gd name="connsiteY17" fmla="*/ 93373 h 110647"/>
                <a:gd name="connsiteX18" fmla="*/ 55184 w 110460"/>
                <a:gd name="connsiteY18" fmla="*/ 103738 h 110647"/>
                <a:gd name="connsiteX19" fmla="*/ 51729 w 110460"/>
                <a:gd name="connsiteY19" fmla="*/ 110647 h 110647"/>
                <a:gd name="connsiteX20" fmla="*/ 48274 w 110460"/>
                <a:gd name="connsiteY20" fmla="*/ 110647 h 110647"/>
                <a:gd name="connsiteX21" fmla="*/ 37909 w 110460"/>
                <a:gd name="connsiteY21" fmla="*/ 110647 h 110647"/>
                <a:gd name="connsiteX22" fmla="*/ 31000 w 110460"/>
                <a:gd name="connsiteY22" fmla="*/ 103738 h 110647"/>
                <a:gd name="connsiteX23" fmla="*/ 20635 w 110460"/>
                <a:gd name="connsiteY23" fmla="*/ 79554 h 110647"/>
                <a:gd name="connsiteX24" fmla="*/ 0 w 110460"/>
                <a:gd name="connsiteY24" fmla="*/ 55370 h 110647"/>
                <a:gd name="connsiteX25" fmla="*/ 3455 w 110460"/>
                <a:gd name="connsiteY25" fmla="*/ 38096 h 110647"/>
                <a:gd name="connsiteX26" fmla="*/ 13726 w 110460"/>
                <a:gd name="connsiteY26" fmla="*/ 24184 h 110647"/>
                <a:gd name="connsiteX27" fmla="*/ 20635 w 110460"/>
                <a:gd name="connsiteY27" fmla="*/ 13819 h 110647"/>
                <a:gd name="connsiteX28" fmla="*/ 24090 w 110460"/>
                <a:gd name="connsiteY28" fmla="*/ 0 h 11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0460" h="110647">
                  <a:moveTo>
                    <a:pt x="24090" y="0"/>
                  </a:moveTo>
                  <a:lnTo>
                    <a:pt x="37909" y="0"/>
                  </a:lnTo>
                  <a:lnTo>
                    <a:pt x="55184" y="3455"/>
                  </a:lnTo>
                  <a:lnTo>
                    <a:pt x="62093" y="3455"/>
                  </a:lnTo>
                  <a:lnTo>
                    <a:pt x="72458" y="3455"/>
                  </a:lnTo>
                  <a:lnTo>
                    <a:pt x="82822" y="3455"/>
                  </a:lnTo>
                  <a:lnTo>
                    <a:pt x="93187" y="3455"/>
                  </a:lnTo>
                  <a:lnTo>
                    <a:pt x="103551" y="3455"/>
                  </a:lnTo>
                  <a:lnTo>
                    <a:pt x="93187" y="24184"/>
                  </a:lnTo>
                  <a:lnTo>
                    <a:pt x="93187" y="34641"/>
                  </a:lnTo>
                  <a:lnTo>
                    <a:pt x="100096" y="45006"/>
                  </a:lnTo>
                  <a:lnTo>
                    <a:pt x="110460" y="51915"/>
                  </a:lnTo>
                  <a:lnTo>
                    <a:pt x="96641" y="89918"/>
                  </a:lnTo>
                  <a:lnTo>
                    <a:pt x="96641" y="103738"/>
                  </a:lnTo>
                  <a:lnTo>
                    <a:pt x="86277" y="100283"/>
                  </a:lnTo>
                  <a:lnTo>
                    <a:pt x="72458" y="96828"/>
                  </a:lnTo>
                  <a:lnTo>
                    <a:pt x="62093" y="93373"/>
                  </a:lnTo>
                  <a:lnTo>
                    <a:pt x="55184" y="93373"/>
                  </a:lnTo>
                  <a:lnTo>
                    <a:pt x="55184" y="103738"/>
                  </a:lnTo>
                  <a:lnTo>
                    <a:pt x="51729" y="110647"/>
                  </a:lnTo>
                  <a:lnTo>
                    <a:pt x="48274" y="110647"/>
                  </a:lnTo>
                  <a:lnTo>
                    <a:pt x="37909" y="110647"/>
                  </a:lnTo>
                  <a:lnTo>
                    <a:pt x="31000" y="103738"/>
                  </a:lnTo>
                  <a:lnTo>
                    <a:pt x="20635" y="79554"/>
                  </a:lnTo>
                  <a:lnTo>
                    <a:pt x="0" y="55370"/>
                  </a:lnTo>
                  <a:lnTo>
                    <a:pt x="3455" y="38096"/>
                  </a:lnTo>
                  <a:lnTo>
                    <a:pt x="13726" y="24184"/>
                  </a:lnTo>
                  <a:lnTo>
                    <a:pt x="20635" y="13819"/>
                  </a:lnTo>
                  <a:lnTo>
                    <a:pt x="24090" y="0"/>
                  </a:lnTo>
                  <a:close/>
                </a:path>
              </a:pathLst>
            </a:custGeom>
            <a:solidFill>
              <a:srgbClr val="CEE3BF"/>
            </a:solidFill>
            <a:ln w="9334" cap="flat">
              <a:noFill/>
              <a:prstDash val="solid"/>
              <a:miter/>
            </a:ln>
          </p:spPr>
          <p:txBody>
            <a:bodyPr rtlCol="0" anchor="ctr"/>
            <a:lstStyle/>
            <a:p>
              <a:endParaRPr lang="en-GB" dirty="0"/>
            </a:p>
          </p:txBody>
        </p:sp>
        <p:sp>
          <p:nvSpPr>
            <p:cNvPr id="990" name="Freeform: Shape 989">
              <a:extLst>
                <a:ext uri="{FF2B5EF4-FFF2-40B4-BE49-F238E27FC236}">
                  <a16:creationId xmlns:a16="http://schemas.microsoft.com/office/drawing/2014/main" id="{93100CA3-F967-4091-89B7-A104BA384F83}"/>
                </a:ext>
              </a:extLst>
            </p:cNvPr>
            <p:cNvSpPr/>
            <p:nvPr/>
          </p:nvSpPr>
          <p:spPr>
            <a:xfrm>
              <a:off x="3609868" y="4526208"/>
              <a:ext cx="341839" cy="504775"/>
            </a:xfrm>
            <a:custGeom>
              <a:avLst/>
              <a:gdLst>
                <a:gd name="connsiteX0" fmla="*/ 3455 w 341839"/>
                <a:gd name="connsiteY0" fmla="*/ 117557 h 504775"/>
                <a:gd name="connsiteX1" fmla="*/ 10364 w 341839"/>
                <a:gd name="connsiteY1" fmla="*/ 103738 h 504775"/>
                <a:gd name="connsiteX2" fmla="*/ 17274 w 341839"/>
                <a:gd name="connsiteY2" fmla="*/ 93373 h 504775"/>
                <a:gd name="connsiteX3" fmla="*/ 27639 w 341839"/>
                <a:gd name="connsiteY3" fmla="*/ 93373 h 504775"/>
                <a:gd name="connsiteX4" fmla="*/ 27639 w 341839"/>
                <a:gd name="connsiteY4" fmla="*/ 114102 h 504775"/>
                <a:gd name="connsiteX5" fmla="*/ 41458 w 341839"/>
                <a:gd name="connsiteY5" fmla="*/ 117557 h 504775"/>
                <a:gd name="connsiteX6" fmla="*/ 58732 w 341839"/>
                <a:gd name="connsiteY6" fmla="*/ 134831 h 504775"/>
                <a:gd name="connsiteX7" fmla="*/ 76006 w 341839"/>
                <a:gd name="connsiteY7" fmla="*/ 121012 h 504775"/>
                <a:gd name="connsiteX8" fmla="*/ 82915 w 341839"/>
                <a:gd name="connsiteY8" fmla="*/ 103738 h 504775"/>
                <a:gd name="connsiteX9" fmla="*/ 93280 w 341839"/>
                <a:gd name="connsiteY9" fmla="*/ 89918 h 504775"/>
                <a:gd name="connsiteX10" fmla="*/ 103644 w 341839"/>
                <a:gd name="connsiteY10" fmla="*/ 79554 h 504775"/>
                <a:gd name="connsiteX11" fmla="*/ 124280 w 341839"/>
                <a:gd name="connsiteY11" fmla="*/ 69190 h 504775"/>
                <a:gd name="connsiteX12" fmla="*/ 138099 w 341839"/>
                <a:gd name="connsiteY12" fmla="*/ 62280 h 504775"/>
                <a:gd name="connsiteX13" fmla="*/ 145009 w 341839"/>
                <a:gd name="connsiteY13" fmla="*/ 58825 h 504775"/>
                <a:gd name="connsiteX14" fmla="*/ 155373 w 341839"/>
                <a:gd name="connsiteY14" fmla="*/ 45006 h 504775"/>
                <a:gd name="connsiteX15" fmla="*/ 162283 w 341839"/>
                <a:gd name="connsiteY15" fmla="*/ 31187 h 504775"/>
                <a:gd name="connsiteX16" fmla="*/ 165737 w 341839"/>
                <a:gd name="connsiteY16" fmla="*/ 0 h 504775"/>
                <a:gd name="connsiteX17" fmla="*/ 179557 w 341839"/>
                <a:gd name="connsiteY17" fmla="*/ 3455 h 504775"/>
                <a:gd name="connsiteX18" fmla="*/ 189921 w 341839"/>
                <a:gd name="connsiteY18" fmla="*/ 17368 h 504775"/>
                <a:gd name="connsiteX19" fmla="*/ 196831 w 341839"/>
                <a:gd name="connsiteY19" fmla="*/ 24277 h 504775"/>
                <a:gd name="connsiteX20" fmla="*/ 207195 w 341839"/>
                <a:gd name="connsiteY20" fmla="*/ 34642 h 504775"/>
                <a:gd name="connsiteX21" fmla="*/ 217559 w 341839"/>
                <a:gd name="connsiteY21" fmla="*/ 45006 h 504775"/>
                <a:gd name="connsiteX22" fmla="*/ 224469 w 341839"/>
                <a:gd name="connsiteY22" fmla="*/ 58825 h 504775"/>
                <a:gd name="connsiteX23" fmla="*/ 296927 w 341839"/>
                <a:gd name="connsiteY23" fmla="*/ 62280 h 504775"/>
                <a:gd name="connsiteX24" fmla="*/ 300382 w 341839"/>
                <a:gd name="connsiteY24" fmla="*/ 72644 h 504775"/>
                <a:gd name="connsiteX25" fmla="*/ 303836 w 341839"/>
                <a:gd name="connsiteY25" fmla="*/ 83009 h 504775"/>
                <a:gd name="connsiteX26" fmla="*/ 296927 w 341839"/>
                <a:gd name="connsiteY26" fmla="*/ 93373 h 504775"/>
                <a:gd name="connsiteX27" fmla="*/ 296927 w 341839"/>
                <a:gd name="connsiteY27" fmla="*/ 110647 h 504775"/>
                <a:gd name="connsiteX28" fmla="*/ 307291 w 341839"/>
                <a:gd name="connsiteY28" fmla="*/ 117557 h 504775"/>
                <a:gd name="connsiteX29" fmla="*/ 296927 w 341839"/>
                <a:gd name="connsiteY29" fmla="*/ 117557 h 504775"/>
                <a:gd name="connsiteX30" fmla="*/ 269288 w 341839"/>
                <a:gd name="connsiteY30" fmla="*/ 121012 h 504775"/>
                <a:gd name="connsiteX31" fmla="*/ 245198 w 341839"/>
                <a:gd name="connsiteY31" fmla="*/ 131376 h 504775"/>
                <a:gd name="connsiteX32" fmla="*/ 227924 w 341839"/>
                <a:gd name="connsiteY32" fmla="*/ 152105 h 504775"/>
                <a:gd name="connsiteX33" fmla="*/ 224469 w 341839"/>
                <a:gd name="connsiteY33" fmla="*/ 169379 h 504775"/>
                <a:gd name="connsiteX34" fmla="*/ 214105 w 341839"/>
                <a:gd name="connsiteY34" fmla="*/ 179743 h 504775"/>
                <a:gd name="connsiteX35" fmla="*/ 200286 w 341839"/>
                <a:gd name="connsiteY35" fmla="*/ 200566 h 504775"/>
                <a:gd name="connsiteX36" fmla="*/ 207195 w 341839"/>
                <a:gd name="connsiteY36" fmla="*/ 217840 h 504775"/>
                <a:gd name="connsiteX37" fmla="*/ 214105 w 341839"/>
                <a:gd name="connsiteY37" fmla="*/ 238569 h 504775"/>
                <a:gd name="connsiteX38" fmla="*/ 231379 w 341839"/>
                <a:gd name="connsiteY38" fmla="*/ 255843 h 504775"/>
                <a:gd name="connsiteX39" fmla="*/ 248653 w 341839"/>
                <a:gd name="connsiteY39" fmla="*/ 273117 h 504775"/>
                <a:gd name="connsiteX40" fmla="*/ 262379 w 341839"/>
                <a:gd name="connsiteY40" fmla="*/ 276571 h 504775"/>
                <a:gd name="connsiteX41" fmla="*/ 279653 w 341839"/>
                <a:gd name="connsiteY41" fmla="*/ 269662 h 504775"/>
                <a:gd name="connsiteX42" fmla="*/ 293472 w 341839"/>
                <a:gd name="connsiteY42" fmla="*/ 255843 h 504775"/>
                <a:gd name="connsiteX43" fmla="*/ 296927 w 341839"/>
                <a:gd name="connsiteY43" fmla="*/ 266207 h 504775"/>
                <a:gd name="connsiteX44" fmla="*/ 290017 w 341839"/>
                <a:gd name="connsiteY44" fmla="*/ 286936 h 504775"/>
                <a:gd name="connsiteX45" fmla="*/ 293472 w 341839"/>
                <a:gd name="connsiteY45" fmla="*/ 297300 h 504775"/>
                <a:gd name="connsiteX46" fmla="*/ 303836 w 341839"/>
                <a:gd name="connsiteY46" fmla="*/ 297300 h 504775"/>
                <a:gd name="connsiteX47" fmla="*/ 324565 w 341839"/>
                <a:gd name="connsiteY47" fmla="*/ 300755 h 504775"/>
                <a:gd name="connsiteX48" fmla="*/ 341839 w 341839"/>
                <a:gd name="connsiteY48" fmla="*/ 345761 h 504775"/>
                <a:gd name="connsiteX49" fmla="*/ 341839 w 341839"/>
                <a:gd name="connsiteY49" fmla="*/ 359580 h 504775"/>
                <a:gd name="connsiteX50" fmla="*/ 338384 w 341839"/>
                <a:gd name="connsiteY50" fmla="*/ 383764 h 504775"/>
                <a:gd name="connsiteX51" fmla="*/ 338384 w 341839"/>
                <a:gd name="connsiteY51" fmla="*/ 394128 h 504775"/>
                <a:gd name="connsiteX52" fmla="*/ 334930 w 341839"/>
                <a:gd name="connsiteY52" fmla="*/ 397583 h 504775"/>
                <a:gd name="connsiteX53" fmla="*/ 328020 w 341839"/>
                <a:gd name="connsiteY53" fmla="*/ 414857 h 504775"/>
                <a:gd name="connsiteX54" fmla="*/ 324565 w 341839"/>
                <a:gd name="connsiteY54" fmla="*/ 432131 h 504775"/>
                <a:gd name="connsiteX55" fmla="*/ 331475 w 341839"/>
                <a:gd name="connsiteY55" fmla="*/ 442496 h 504775"/>
                <a:gd name="connsiteX56" fmla="*/ 341839 w 341839"/>
                <a:gd name="connsiteY56" fmla="*/ 452860 h 504775"/>
                <a:gd name="connsiteX57" fmla="*/ 334930 w 341839"/>
                <a:gd name="connsiteY57" fmla="*/ 463225 h 504775"/>
                <a:gd name="connsiteX58" fmla="*/ 321111 w 341839"/>
                <a:gd name="connsiteY58" fmla="*/ 477044 h 504775"/>
                <a:gd name="connsiteX59" fmla="*/ 317656 w 341839"/>
                <a:gd name="connsiteY59" fmla="*/ 487408 h 504775"/>
                <a:gd name="connsiteX60" fmla="*/ 310746 w 341839"/>
                <a:gd name="connsiteY60" fmla="*/ 501321 h 504775"/>
                <a:gd name="connsiteX61" fmla="*/ 300382 w 341839"/>
                <a:gd name="connsiteY61" fmla="*/ 504775 h 504775"/>
                <a:gd name="connsiteX62" fmla="*/ 272743 w 341839"/>
                <a:gd name="connsiteY62" fmla="*/ 480499 h 504775"/>
                <a:gd name="connsiteX63" fmla="*/ 241650 w 341839"/>
                <a:gd name="connsiteY63" fmla="*/ 463225 h 504775"/>
                <a:gd name="connsiteX64" fmla="*/ 203740 w 341839"/>
                <a:gd name="connsiteY64" fmla="*/ 445950 h 504775"/>
                <a:gd name="connsiteX65" fmla="*/ 172647 w 341839"/>
                <a:gd name="connsiteY65" fmla="*/ 428676 h 504775"/>
                <a:gd name="connsiteX66" fmla="*/ 155373 w 341839"/>
                <a:gd name="connsiteY66" fmla="*/ 407948 h 504775"/>
                <a:gd name="connsiteX67" fmla="*/ 131189 w 341839"/>
                <a:gd name="connsiteY67" fmla="*/ 383764 h 504775"/>
                <a:gd name="connsiteX68" fmla="*/ 141554 w 341839"/>
                <a:gd name="connsiteY68" fmla="*/ 369945 h 504775"/>
                <a:gd name="connsiteX69" fmla="*/ 124280 w 341839"/>
                <a:gd name="connsiteY69" fmla="*/ 342213 h 504775"/>
                <a:gd name="connsiteX70" fmla="*/ 110554 w 341839"/>
                <a:gd name="connsiteY70" fmla="*/ 321484 h 504775"/>
                <a:gd name="connsiteX71" fmla="*/ 96735 w 341839"/>
                <a:gd name="connsiteY71" fmla="*/ 297300 h 504775"/>
                <a:gd name="connsiteX72" fmla="*/ 82915 w 341839"/>
                <a:gd name="connsiteY72" fmla="*/ 262752 h 504775"/>
                <a:gd name="connsiteX73" fmla="*/ 62187 w 341839"/>
                <a:gd name="connsiteY73" fmla="*/ 228204 h 504775"/>
                <a:gd name="connsiteX74" fmla="*/ 44912 w 341839"/>
                <a:gd name="connsiteY74" fmla="*/ 193656 h 504775"/>
                <a:gd name="connsiteX75" fmla="*/ 27639 w 341839"/>
                <a:gd name="connsiteY75" fmla="*/ 176289 h 504775"/>
                <a:gd name="connsiteX76" fmla="*/ 6910 w 341839"/>
                <a:gd name="connsiteY76" fmla="*/ 165924 h 504775"/>
                <a:gd name="connsiteX77" fmla="*/ 10364 w 341839"/>
                <a:gd name="connsiteY77" fmla="*/ 145196 h 504775"/>
                <a:gd name="connsiteX78" fmla="*/ 0 w 341839"/>
                <a:gd name="connsiteY78" fmla="*/ 134831 h 504775"/>
                <a:gd name="connsiteX79" fmla="*/ 3455 w 341839"/>
                <a:gd name="connsiteY79" fmla="*/ 117557 h 5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41839" h="504775">
                  <a:moveTo>
                    <a:pt x="3455" y="117557"/>
                  </a:moveTo>
                  <a:lnTo>
                    <a:pt x="10364" y="103738"/>
                  </a:lnTo>
                  <a:lnTo>
                    <a:pt x="17274" y="93373"/>
                  </a:lnTo>
                  <a:lnTo>
                    <a:pt x="27639" y="93373"/>
                  </a:lnTo>
                  <a:lnTo>
                    <a:pt x="27639" y="114102"/>
                  </a:lnTo>
                  <a:lnTo>
                    <a:pt x="41458" y="117557"/>
                  </a:lnTo>
                  <a:lnTo>
                    <a:pt x="58732" y="134831"/>
                  </a:lnTo>
                  <a:lnTo>
                    <a:pt x="76006" y="121012"/>
                  </a:lnTo>
                  <a:lnTo>
                    <a:pt x="82915" y="103738"/>
                  </a:lnTo>
                  <a:lnTo>
                    <a:pt x="93280" y="89918"/>
                  </a:lnTo>
                  <a:lnTo>
                    <a:pt x="103644" y="79554"/>
                  </a:lnTo>
                  <a:lnTo>
                    <a:pt x="124280" y="69190"/>
                  </a:lnTo>
                  <a:lnTo>
                    <a:pt x="138099" y="62280"/>
                  </a:lnTo>
                  <a:lnTo>
                    <a:pt x="145009" y="58825"/>
                  </a:lnTo>
                  <a:lnTo>
                    <a:pt x="155373" y="45006"/>
                  </a:lnTo>
                  <a:lnTo>
                    <a:pt x="162283" y="31187"/>
                  </a:lnTo>
                  <a:lnTo>
                    <a:pt x="165737" y="0"/>
                  </a:lnTo>
                  <a:lnTo>
                    <a:pt x="179557" y="3455"/>
                  </a:lnTo>
                  <a:lnTo>
                    <a:pt x="189921" y="17368"/>
                  </a:lnTo>
                  <a:lnTo>
                    <a:pt x="196831" y="24277"/>
                  </a:lnTo>
                  <a:lnTo>
                    <a:pt x="207195" y="34642"/>
                  </a:lnTo>
                  <a:lnTo>
                    <a:pt x="217559" y="45006"/>
                  </a:lnTo>
                  <a:lnTo>
                    <a:pt x="224469" y="58825"/>
                  </a:lnTo>
                  <a:lnTo>
                    <a:pt x="296927" y="62280"/>
                  </a:lnTo>
                  <a:lnTo>
                    <a:pt x="300382" y="72644"/>
                  </a:lnTo>
                  <a:lnTo>
                    <a:pt x="303836" y="83009"/>
                  </a:lnTo>
                  <a:lnTo>
                    <a:pt x="296927" y="93373"/>
                  </a:lnTo>
                  <a:lnTo>
                    <a:pt x="296927" y="110647"/>
                  </a:lnTo>
                  <a:lnTo>
                    <a:pt x="307291" y="117557"/>
                  </a:lnTo>
                  <a:lnTo>
                    <a:pt x="296927" y="117557"/>
                  </a:lnTo>
                  <a:lnTo>
                    <a:pt x="269288" y="121012"/>
                  </a:lnTo>
                  <a:lnTo>
                    <a:pt x="245198" y="131376"/>
                  </a:lnTo>
                  <a:lnTo>
                    <a:pt x="227924" y="152105"/>
                  </a:lnTo>
                  <a:lnTo>
                    <a:pt x="224469" y="169379"/>
                  </a:lnTo>
                  <a:lnTo>
                    <a:pt x="214105" y="179743"/>
                  </a:lnTo>
                  <a:lnTo>
                    <a:pt x="200286" y="200566"/>
                  </a:lnTo>
                  <a:lnTo>
                    <a:pt x="207195" y="217840"/>
                  </a:lnTo>
                  <a:lnTo>
                    <a:pt x="214105" y="238569"/>
                  </a:lnTo>
                  <a:lnTo>
                    <a:pt x="231379" y="255843"/>
                  </a:lnTo>
                  <a:lnTo>
                    <a:pt x="248653" y="273117"/>
                  </a:lnTo>
                  <a:lnTo>
                    <a:pt x="262379" y="276571"/>
                  </a:lnTo>
                  <a:lnTo>
                    <a:pt x="279653" y="269662"/>
                  </a:lnTo>
                  <a:lnTo>
                    <a:pt x="293472" y="255843"/>
                  </a:lnTo>
                  <a:lnTo>
                    <a:pt x="296927" y="266207"/>
                  </a:lnTo>
                  <a:lnTo>
                    <a:pt x="290017" y="286936"/>
                  </a:lnTo>
                  <a:lnTo>
                    <a:pt x="293472" y="297300"/>
                  </a:lnTo>
                  <a:lnTo>
                    <a:pt x="303836" y="297300"/>
                  </a:lnTo>
                  <a:lnTo>
                    <a:pt x="324565" y="300755"/>
                  </a:lnTo>
                  <a:lnTo>
                    <a:pt x="341839" y="345761"/>
                  </a:lnTo>
                  <a:lnTo>
                    <a:pt x="341839" y="359580"/>
                  </a:lnTo>
                  <a:lnTo>
                    <a:pt x="338384" y="383764"/>
                  </a:lnTo>
                  <a:lnTo>
                    <a:pt x="338384" y="394128"/>
                  </a:lnTo>
                  <a:lnTo>
                    <a:pt x="334930" y="397583"/>
                  </a:lnTo>
                  <a:lnTo>
                    <a:pt x="328020" y="414857"/>
                  </a:lnTo>
                  <a:lnTo>
                    <a:pt x="324565" y="432131"/>
                  </a:lnTo>
                  <a:lnTo>
                    <a:pt x="331475" y="442496"/>
                  </a:lnTo>
                  <a:lnTo>
                    <a:pt x="341839" y="452860"/>
                  </a:lnTo>
                  <a:lnTo>
                    <a:pt x="334930" y="463225"/>
                  </a:lnTo>
                  <a:lnTo>
                    <a:pt x="321111" y="477044"/>
                  </a:lnTo>
                  <a:lnTo>
                    <a:pt x="317656" y="487408"/>
                  </a:lnTo>
                  <a:lnTo>
                    <a:pt x="310746" y="501321"/>
                  </a:lnTo>
                  <a:lnTo>
                    <a:pt x="300382" y="504775"/>
                  </a:lnTo>
                  <a:lnTo>
                    <a:pt x="272743" y="480499"/>
                  </a:lnTo>
                  <a:lnTo>
                    <a:pt x="241650" y="463225"/>
                  </a:lnTo>
                  <a:lnTo>
                    <a:pt x="203740" y="445950"/>
                  </a:lnTo>
                  <a:lnTo>
                    <a:pt x="172647" y="428676"/>
                  </a:lnTo>
                  <a:lnTo>
                    <a:pt x="155373" y="407948"/>
                  </a:lnTo>
                  <a:lnTo>
                    <a:pt x="131189" y="383764"/>
                  </a:lnTo>
                  <a:lnTo>
                    <a:pt x="141554" y="369945"/>
                  </a:lnTo>
                  <a:lnTo>
                    <a:pt x="124280" y="342213"/>
                  </a:lnTo>
                  <a:lnTo>
                    <a:pt x="110554" y="321484"/>
                  </a:lnTo>
                  <a:lnTo>
                    <a:pt x="96735" y="297300"/>
                  </a:lnTo>
                  <a:lnTo>
                    <a:pt x="82915" y="262752"/>
                  </a:lnTo>
                  <a:lnTo>
                    <a:pt x="62187" y="228204"/>
                  </a:lnTo>
                  <a:lnTo>
                    <a:pt x="44912" y="193656"/>
                  </a:lnTo>
                  <a:lnTo>
                    <a:pt x="27639" y="176289"/>
                  </a:lnTo>
                  <a:lnTo>
                    <a:pt x="6910" y="165924"/>
                  </a:lnTo>
                  <a:lnTo>
                    <a:pt x="10364" y="145196"/>
                  </a:lnTo>
                  <a:lnTo>
                    <a:pt x="0" y="134831"/>
                  </a:lnTo>
                  <a:lnTo>
                    <a:pt x="3455" y="117557"/>
                  </a:lnTo>
                  <a:close/>
                </a:path>
              </a:pathLst>
            </a:custGeom>
            <a:solidFill>
              <a:srgbClr val="CEE3BF"/>
            </a:solidFill>
            <a:ln w="9334" cap="flat">
              <a:noFill/>
              <a:prstDash val="solid"/>
              <a:miter/>
            </a:ln>
          </p:spPr>
          <p:txBody>
            <a:bodyPr rtlCol="0" anchor="ctr"/>
            <a:lstStyle/>
            <a:p>
              <a:endParaRPr lang="en-GB" dirty="0"/>
            </a:p>
          </p:txBody>
        </p:sp>
        <p:sp>
          <p:nvSpPr>
            <p:cNvPr id="991" name="Freeform: Shape 990">
              <a:extLst>
                <a:ext uri="{FF2B5EF4-FFF2-40B4-BE49-F238E27FC236}">
                  <a16:creationId xmlns:a16="http://schemas.microsoft.com/office/drawing/2014/main" id="{92F02750-CBAB-43C1-966E-7CC7A3A70D17}"/>
                </a:ext>
              </a:extLst>
            </p:cNvPr>
            <p:cNvSpPr/>
            <p:nvPr/>
          </p:nvSpPr>
          <p:spPr>
            <a:xfrm>
              <a:off x="3934433" y="4795869"/>
              <a:ext cx="324471" cy="369851"/>
            </a:xfrm>
            <a:custGeom>
              <a:avLst/>
              <a:gdLst>
                <a:gd name="connsiteX0" fmla="*/ 72457 w 324471"/>
                <a:gd name="connsiteY0" fmla="*/ 6910 h 369851"/>
                <a:gd name="connsiteX1" fmla="*/ 93186 w 324471"/>
                <a:gd name="connsiteY1" fmla="*/ 0 h 369851"/>
                <a:gd name="connsiteX2" fmla="*/ 113915 w 324471"/>
                <a:gd name="connsiteY2" fmla="*/ 0 h 369851"/>
                <a:gd name="connsiteX3" fmla="*/ 117370 w 324471"/>
                <a:gd name="connsiteY3" fmla="*/ 48367 h 369851"/>
                <a:gd name="connsiteX4" fmla="*/ 138099 w 324471"/>
                <a:gd name="connsiteY4" fmla="*/ 69096 h 369851"/>
                <a:gd name="connsiteX5" fmla="*/ 172647 w 324471"/>
                <a:gd name="connsiteY5" fmla="*/ 76099 h 369851"/>
                <a:gd name="connsiteX6" fmla="*/ 179556 w 324471"/>
                <a:gd name="connsiteY6" fmla="*/ 86464 h 369851"/>
                <a:gd name="connsiteX7" fmla="*/ 210556 w 324471"/>
                <a:gd name="connsiteY7" fmla="*/ 96828 h 369851"/>
                <a:gd name="connsiteX8" fmla="*/ 245105 w 324471"/>
                <a:gd name="connsiteY8" fmla="*/ 107193 h 369851"/>
                <a:gd name="connsiteX9" fmla="*/ 252014 w 324471"/>
                <a:gd name="connsiteY9" fmla="*/ 127921 h 369851"/>
                <a:gd name="connsiteX10" fmla="*/ 255469 w 324471"/>
                <a:gd name="connsiteY10" fmla="*/ 141740 h 369851"/>
                <a:gd name="connsiteX11" fmla="*/ 252014 w 324471"/>
                <a:gd name="connsiteY11" fmla="*/ 155560 h 369851"/>
                <a:gd name="connsiteX12" fmla="*/ 255469 w 324471"/>
                <a:gd name="connsiteY12" fmla="*/ 176289 h 369851"/>
                <a:gd name="connsiteX13" fmla="*/ 276198 w 324471"/>
                <a:gd name="connsiteY13" fmla="*/ 176289 h 369851"/>
                <a:gd name="connsiteX14" fmla="*/ 303836 w 324471"/>
                <a:gd name="connsiteY14" fmla="*/ 176289 h 369851"/>
                <a:gd name="connsiteX15" fmla="*/ 300381 w 324471"/>
                <a:gd name="connsiteY15" fmla="*/ 190108 h 369851"/>
                <a:gd name="connsiteX16" fmla="*/ 303836 w 324471"/>
                <a:gd name="connsiteY16" fmla="*/ 210837 h 369851"/>
                <a:gd name="connsiteX17" fmla="*/ 321110 w 324471"/>
                <a:gd name="connsiteY17" fmla="*/ 217746 h 369851"/>
                <a:gd name="connsiteX18" fmla="*/ 324472 w 324471"/>
                <a:gd name="connsiteY18" fmla="*/ 235114 h 369851"/>
                <a:gd name="connsiteX19" fmla="*/ 324472 w 324471"/>
                <a:gd name="connsiteY19" fmla="*/ 245478 h 369851"/>
                <a:gd name="connsiteX20" fmla="*/ 310746 w 324471"/>
                <a:gd name="connsiteY20" fmla="*/ 269662 h 369851"/>
                <a:gd name="connsiteX21" fmla="*/ 317656 w 324471"/>
                <a:gd name="connsiteY21" fmla="*/ 280026 h 369851"/>
                <a:gd name="connsiteX22" fmla="*/ 310746 w 324471"/>
                <a:gd name="connsiteY22" fmla="*/ 286936 h 369851"/>
                <a:gd name="connsiteX23" fmla="*/ 300381 w 324471"/>
                <a:gd name="connsiteY23" fmla="*/ 276571 h 369851"/>
                <a:gd name="connsiteX24" fmla="*/ 283107 w 324471"/>
                <a:gd name="connsiteY24" fmla="*/ 266207 h 369851"/>
                <a:gd name="connsiteX25" fmla="*/ 262379 w 324471"/>
                <a:gd name="connsiteY25" fmla="*/ 262752 h 369851"/>
                <a:gd name="connsiteX26" fmla="*/ 234740 w 324471"/>
                <a:gd name="connsiteY26" fmla="*/ 266207 h 369851"/>
                <a:gd name="connsiteX27" fmla="*/ 217466 w 324471"/>
                <a:gd name="connsiteY27" fmla="*/ 273117 h 369851"/>
                <a:gd name="connsiteX28" fmla="*/ 207102 w 324471"/>
                <a:gd name="connsiteY28" fmla="*/ 276571 h 369851"/>
                <a:gd name="connsiteX29" fmla="*/ 196737 w 324471"/>
                <a:gd name="connsiteY29" fmla="*/ 300755 h 369851"/>
                <a:gd name="connsiteX30" fmla="*/ 196737 w 324471"/>
                <a:gd name="connsiteY30" fmla="*/ 318029 h 369851"/>
                <a:gd name="connsiteX31" fmla="*/ 193376 w 324471"/>
                <a:gd name="connsiteY31" fmla="*/ 335303 h 369851"/>
                <a:gd name="connsiteX32" fmla="*/ 186373 w 324471"/>
                <a:gd name="connsiteY32" fmla="*/ 342213 h 369851"/>
                <a:gd name="connsiteX33" fmla="*/ 155373 w 324471"/>
                <a:gd name="connsiteY33" fmla="*/ 342213 h 369851"/>
                <a:gd name="connsiteX34" fmla="*/ 145009 w 324471"/>
                <a:gd name="connsiteY34" fmla="*/ 366396 h 369851"/>
                <a:gd name="connsiteX35" fmla="*/ 127734 w 324471"/>
                <a:gd name="connsiteY35" fmla="*/ 345667 h 369851"/>
                <a:gd name="connsiteX36" fmla="*/ 103551 w 324471"/>
                <a:gd name="connsiteY36" fmla="*/ 349123 h 369851"/>
                <a:gd name="connsiteX37" fmla="*/ 89732 w 324471"/>
                <a:gd name="connsiteY37" fmla="*/ 338758 h 369851"/>
                <a:gd name="connsiteX38" fmla="*/ 75912 w 324471"/>
                <a:gd name="connsiteY38" fmla="*/ 349123 h 369851"/>
                <a:gd name="connsiteX39" fmla="*/ 69003 w 324471"/>
                <a:gd name="connsiteY39" fmla="*/ 362942 h 369851"/>
                <a:gd name="connsiteX40" fmla="*/ 65548 w 324471"/>
                <a:gd name="connsiteY40" fmla="*/ 369851 h 369851"/>
                <a:gd name="connsiteX41" fmla="*/ 55277 w 324471"/>
                <a:gd name="connsiteY41" fmla="*/ 369851 h 369851"/>
                <a:gd name="connsiteX42" fmla="*/ 51729 w 324471"/>
                <a:gd name="connsiteY42" fmla="*/ 369851 h 369851"/>
                <a:gd name="connsiteX43" fmla="*/ 48367 w 324471"/>
                <a:gd name="connsiteY43" fmla="*/ 369851 h 369851"/>
                <a:gd name="connsiteX44" fmla="*/ 44912 w 324471"/>
                <a:gd name="connsiteY44" fmla="*/ 345667 h 369851"/>
                <a:gd name="connsiteX45" fmla="*/ 38003 w 324471"/>
                <a:gd name="connsiteY45" fmla="*/ 321484 h 369851"/>
                <a:gd name="connsiteX46" fmla="*/ 24184 w 324471"/>
                <a:gd name="connsiteY46" fmla="*/ 300755 h 369851"/>
                <a:gd name="connsiteX47" fmla="*/ 24184 w 324471"/>
                <a:gd name="connsiteY47" fmla="*/ 269662 h 369851"/>
                <a:gd name="connsiteX48" fmla="*/ 13819 w 324471"/>
                <a:gd name="connsiteY48" fmla="*/ 248933 h 369851"/>
                <a:gd name="connsiteX49" fmla="*/ 3455 w 324471"/>
                <a:gd name="connsiteY49" fmla="*/ 217746 h 369851"/>
                <a:gd name="connsiteX50" fmla="*/ 0 w 324471"/>
                <a:gd name="connsiteY50" fmla="*/ 203927 h 369851"/>
                <a:gd name="connsiteX51" fmla="*/ 10364 w 324471"/>
                <a:gd name="connsiteY51" fmla="*/ 193563 h 369851"/>
                <a:gd name="connsiteX52" fmla="*/ 17274 w 324471"/>
                <a:gd name="connsiteY52" fmla="*/ 183198 h 369851"/>
                <a:gd name="connsiteX53" fmla="*/ 6910 w 324471"/>
                <a:gd name="connsiteY53" fmla="*/ 172834 h 369851"/>
                <a:gd name="connsiteX54" fmla="*/ 0 w 324471"/>
                <a:gd name="connsiteY54" fmla="*/ 162469 h 369851"/>
                <a:gd name="connsiteX55" fmla="*/ 3455 w 324471"/>
                <a:gd name="connsiteY55" fmla="*/ 145195 h 369851"/>
                <a:gd name="connsiteX56" fmla="*/ 10364 w 324471"/>
                <a:gd name="connsiteY56" fmla="*/ 127921 h 369851"/>
                <a:gd name="connsiteX57" fmla="*/ 13819 w 324471"/>
                <a:gd name="connsiteY57" fmla="*/ 124467 h 369851"/>
                <a:gd name="connsiteX58" fmla="*/ 13819 w 324471"/>
                <a:gd name="connsiteY58" fmla="*/ 114102 h 369851"/>
                <a:gd name="connsiteX59" fmla="*/ 17274 w 324471"/>
                <a:gd name="connsiteY59" fmla="*/ 76099 h 369851"/>
                <a:gd name="connsiteX60" fmla="*/ 0 w 324471"/>
                <a:gd name="connsiteY60" fmla="*/ 31093 h 369851"/>
                <a:gd name="connsiteX61" fmla="*/ 17274 w 324471"/>
                <a:gd name="connsiteY61" fmla="*/ 31093 h 369851"/>
                <a:gd name="connsiteX62" fmla="*/ 34548 w 324471"/>
                <a:gd name="connsiteY62" fmla="*/ 27638 h 369851"/>
                <a:gd name="connsiteX63" fmla="*/ 58732 w 324471"/>
                <a:gd name="connsiteY63" fmla="*/ 17274 h 369851"/>
                <a:gd name="connsiteX64" fmla="*/ 72457 w 324471"/>
                <a:gd name="connsiteY64" fmla="*/ 6910 h 36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24471" h="369851">
                  <a:moveTo>
                    <a:pt x="72457" y="6910"/>
                  </a:moveTo>
                  <a:lnTo>
                    <a:pt x="93186" y="0"/>
                  </a:lnTo>
                  <a:lnTo>
                    <a:pt x="113915" y="0"/>
                  </a:lnTo>
                  <a:lnTo>
                    <a:pt x="117370" y="48367"/>
                  </a:lnTo>
                  <a:lnTo>
                    <a:pt x="138099" y="69096"/>
                  </a:lnTo>
                  <a:lnTo>
                    <a:pt x="172647" y="76099"/>
                  </a:lnTo>
                  <a:lnTo>
                    <a:pt x="179556" y="86464"/>
                  </a:lnTo>
                  <a:lnTo>
                    <a:pt x="210556" y="96828"/>
                  </a:lnTo>
                  <a:lnTo>
                    <a:pt x="245105" y="107193"/>
                  </a:lnTo>
                  <a:lnTo>
                    <a:pt x="252014" y="127921"/>
                  </a:lnTo>
                  <a:lnTo>
                    <a:pt x="255469" y="141740"/>
                  </a:lnTo>
                  <a:lnTo>
                    <a:pt x="252014" y="155560"/>
                  </a:lnTo>
                  <a:lnTo>
                    <a:pt x="255469" y="176289"/>
                  </a:lnTo>
                  <a:lnTo>
                    <a:pt x="276198" y="176289"/>
                  </a:lnTo>
                  <a:lnTo>
                    <a:pt x="303836" y="176289"/>
                  </a:lnTo>
                  <a:lnTo>
                    <a:pt x="300381" y="190108"/>
                  </a:lnTo>
                  <a:lnTo>
                    <a:pt x="303836" y="210837"/>
                  </a:lnTo>
                  <a:lnTo>
                    <a:pt x="321110" y="217746"/>
                  </a:lnTo>
                  <a:lnTo>
                    <a:pt x="324472" y="235114"/>
                  </a:lnTo>
                  <a:lnTo>
                    <a:pt x="324472" y="245478"/>
                  </a:lnTo>
                  <a:lnTo>
                    <a:pt x="310746" y="269662"/>
                  </a:lnTo>
                  <a:lnTo>
                    <a:pt x="317656" y="280026"/>
                  </a:lnTo>
                  <a:lnTo>
                    <a:pt x="310746" y="286936"/>
                  </a:lnTo>
                  <a:lnTo>
                    <a:pt x="300381" y="276571"/>
                  </a:lnTo>
                  <a:lnTo>
                    <a:pt x="283107" y="266207"/>
                  </a:lnTo>
                  <a:lnTo>
                    <a:pt x="262379" y="262752"/>
                  </a:lnTo>
                  <a:lnTo>
                    <a:pt x="234740" y="266207"/>
                  </a:lnTo>
                  <a:lnTo>
                    <a:pt x="217466" y="273117"/>
                  </a:lnTo>
                  <a:lnTo>
                    <a:pt x="207102" y="276571"/>
                  </a:lnTo>
                  <a:lnTo>
                    <a:pt x="196737" y="300755"/>
                  </a:lnTo>
                  <a:lnTo>
                    <a:pt x="196737" y="318029"/>
                  </a:lnTo>
                  <a:lnTo>
                    <a:pt x="193376" y="335303"/>
                  </a:lnTo>
                  <a:lnTo>
                    <a:pt x="186373" y="342213"/>
                  </a:lnTo>
                  <a:lnTo>
                    <a:pt x="155373" y="342213"/>
                  </a:lnTo>
                  <a:lnTo>
                    <a:pt x="145009" y="366396"/>
                  </a:lnTo>
                  <a:lnTo>
                    <a:pt x="127734" y="345667"/>
                  </a:lnTo>
                  <a:lnTo>
                    <a:pt x="103551" y="349123"/>
                  </a:lnTo>
                  <a:lnTo>
                    <a:pt x="89732" y="338758"/>
                  </a:lnTo>
                  <a:lnTo>
                    <a:pt x="75912" y="349123"/>
                  </a:lnTo>
                  <a:lnTo>
                    <a:pt x="69003" y="362942"/>
                  </a:lnTo>
                  <a:lnTo>
                    <a:pt x="65548" y="369851"/>
                  </a:lnTo>
                  <a:lnTo>
                    <a:pt x="55277" y="369851"/>
                  </a:lnTo>
                  <a:lnTo>
                    <a:pt x="51729" y="369851"/>
                  </a:lnTo>
                  <a:lnTo>
                    <a:pt x="48367" y="369851"/>
                  </a:lnTo>
                  <a:lnTo>
                    <a:pt x="44912" y="345667"/>
                  </a:lnTo>
                  <a:lnTo>
                    <a:pt x="38003" y="321484"/>
                  </a:lnTo>
                  <a:lnTo>
                    <a:pt x="24184" y="300755"/>
                  </a:lnTo>
                  <a:lnTo>
                    <a:pt x="24184" y="269662"/>
                  </a:lnTo>
                  <a:lnTo>
                    <a:pt x="13819" y="248933"/>
                  </a:lnTo>
                  <a:lnTo>
                    <a:pt x="3455" y="217746"/>
                  </a:lnTo>
                  <a:lnTo>
                    <a:pt x="0" y="203927"/>
                  </a:lnTo>
                  <a:lnTo>
                    <a:pt x="10364" y="193563"/>
                  </a:lnTo>
                  <a:lnTo>
                    <a:pt x="17274" y="183198"/>
                  </a:lnTo>
                  <a:lnTo>
                    <a:pt x="6910" y="172834"/>
                  </a:lnTo>
                  <a:lnTo>
                    <a:pt x="0" y="162469"/>
                  </a:lnTo>
                  <a:lnTo>
                    <a:pt x="3455" y="145195"/>
                  </a:lnTo>
                  <a:lnTo>
                    <a:pt x="10364" y="127921"/>
                  </a:lnTo>
                  <a:lnTo>
                    <a:pt x="13819" y="124467"/>
                  </a:lnTo>
                  <a:lnTo>
                    <a:pt x="13819" y="114102"/>
                  </a:lnTo>
                  <a:lnTo>
                    <a:pt x="17274" y="76099"/>
                  </a:lnTo>
                  <a:lnTo>
                    <a:pt x="0" y="31093"/>
                  </a:lnTo>
                  <a:lnTo>
                    <a:pt x="17274" y="31093"/>
                  </a:lnTo>
                  <a:lnTo>
                    <a:pt x="34548" y="27638"/>
                  </a:lnTo>
                  <a:lnTo>
                    <a:pt x="58732" y="17274"/>
                  </a:lnTo>
                  <a:lnTo>
                    <a:pt x="72457" y="6910"/>
                  </a:lnTo>
                  <a:close/>
                </a:path>
              </a:pathLst>
            </a:custGeom>
            <a:solidFill>
              <a:srgbClr val="CEE3BF"/>
            </a:solidFill>
            <a:ln w="9334" cap="flat">
              <a:noFill/>
              <a:prstDash val="solid"/>
              <a:miter/>
            </a:ln>
          </p:spPr>
          <p:txBody>
            <a:bodyPr rtlCol="0" anchor="ctr"/>
            <a:lstStyle/>
            <a:p>
              <a:endParaRPr lang="en-GB" dirty="0"/>
            </a:p>
          </p:txBody>
        </p:sp>
        <p:sp>
          <p:nvSpPr>
            <p:cNvPr id="992" name="Freeform: Shape 991">
              <a:extLst>
                <a:ext uri="{FF2B5EF4-FFF2-40B4-BE49-F238E27FC236}">
                  <a16:creationId xmlns:a16="http://schemas.microsoft.com/office/drawing/2014/main" id="{9E0F796A-242C-4D00-9B1A-4CB0C731CF1C}"/>
                </a:ext>
              </a:extLst>
            </p:cNvPr>
            <p:cNvSpPr/>
            <p:nvPr/>
          </p:nvSpPr>
          <p:spPr>
            <a:xfrm>
              <a:off x="4120806" y="5058622"/>
              <a:ext cx="231378" cy="241929"/>
            </a:xfrm>
            <a:custGeom>
              <a:avLst/>
              <a:gdLst>
                <a:gd name="connsiteX0" fmla="*/ 186466 w 231378"/>
                <a:gd name="connsiteY0" fmla="*/ 235020 h 241929"/>
                <a:gd name="connsiteX1" fmla="*/ 162283 w 231378"/>
                <a:gd name="connsiteY1" fmla="*/ 241930 h 241929"/>
                <a:gd name="connsiteX2" fmla="*/ 124373 w 231378"/>
                <a:gd name="connsiteY2" fmla="*/ 241930 h 241929"/>
                <a:gd name="connsiteX3" fmla="*/ 114009 w 231378"/>
                <a:gd name="connsiteY3" fmla="*/ 228111 h 241929"/>
                <a:gd name="connsiteX4" fmla="*/ 124373 w 231378"/>
                <a:gd name="connsiteY4" fmla="*/ 203927 h 241929"/>
                <a:gd name="connsiteX5" fmla="*/ 138099 w 231378"/>
                <a:gd name="connsiteY5" fmla="*/ 183198 h 241929"/>
                <a:gd name="connsiteX6" fmla="*/ 127828 w 231378"/>
                <a:gd name="connsiteY6" fmla="*/ 169379 h 241929"/>
                <a:gd name="connsiteX7" fmla="*/ 93280 w 231378"/>
                <a:gd name="connsiteY7" fmla="*/ 155560 h 241929"/>
                <a:gd name="connsiteX8" fmla="*/ 65641 w 231378"/>
                <a:gd name="connsiteY8" fmla="*/ 134737 h 241929"/>
                <a:gd name="connsiteX9" fmla="*/ 51822 w 231378"/>
                <a:gd name="connsiteY9" fmla="*/ 134737 h 241929"/>
                <a:gd name="connsiteX10" fmla="*/ 34548 w 231378"/>
                <a:gd name="connsiteY10" fmla="*/ 124373 h 241929"/>
                <a:gd name="connsiteX11" fmla="*/ 13819 w 231378"/>
                <a:gd name="connsiteY11" fmla="*/ 103644 h 241929"/>
                <a:gd name="connsiteX12" fmla="*/ 3455 w 231378"/>
                <a:gd name="connsiteY12" fmla="*/ 89825 h 241929"/>
                <a:gd name="connsiteX13" fmla="*/ 0 w 231378"/>
                <a:gd name="connsiteY13" fmla="*/ 79460 h 241929"/>
                <a:gd name="connsiteX14" fmla="*/ 7003 w 231378"/>
                <a:gd name="connsiteY14" fmla="*/ 72551 h 241929"/>
                <a:gd name="connsiteX15" fmla="*/ 10364 w 231378"/>
                <a:gd name="connsiteY15" fmla="*/ 55277 h 241929"/>
                <a:gd name="connsiteX16" fmla="*/ 10364 w 231378"/>
                <a:gd name="connsiteY16" fmla="*/ 38003 h 241929"/>
                <a:gd name="connsiteX17" fmla="*/ 20729 w 231378"/>
                <a:gd name="connsiteY17" fmla="*/ 13819 h 241929"/>
                <a:gd name="connsiteX18" fmla="*/ 48367 w 231378"/>
                <a:gd name="connsiteY18" fmla="*/ 3455 h 241929"/>
                <a:gd name="connsiteX19" fmla="*/ 76006 w 231378"/>
                <a:gd name="connsiteY19" fmla="*/ 0 h 241929"/>
                <a:gd name="connsiteX20" fmla="*/ 96735 w 231378"/>
                <a:gd name="connsiteY20" fmla="*/ 3455 h 241929"/>
                <a:gd name="connsiteX21" fmla="*/ 114009 w 231378"/>
                <a:gd name="connsiteY21" fmla="*/ 13819 h 241929"/>
                <a:gd name="connsiteX22" fmla="*/ 124373 w 231378"/>
                <a:gd name="connsiteY22" fmla="*/ 24184 h 241929"/>
                <a:gd name="connsiteX23" fmla="*/ 131283 w 231378"/>
                <a:gd name="connsiteY23" fmla="*/ 38003 h 241929"/>
                <a:gd name="connsiteX24" fmla="*/ 131283 w 231378"/>
                <a:gd name="connsiteY24" fmla="*/ 58732 h 241929"/>
                <a:gd name="connsiteX25" fmla="*/ 131283 w 231378"/>
                <a:gd name="connsiteY25" fmla="*/ 86370 h 241929"/>
                <a:gd name="connsiteX26" fmla="*/ 148463 w 231378"/>
                <a:gd name="connsiteY26" fmla="*/ 86370 h 241929"/>
                <a:gd name="connsiteX27" fmla="*/ 162283 w 231378"/>
                <a:gd name="connsiteY27" fmla="*/ 82915 h 241929"/>
                <a:gd name="connsiteX28" fmla="*/ 179557 w 231378"/>
                <a:gd name="connsiteY28" fmla="*/ 86370 h 241929"/>
                <a:gd name="connsiteX29" fmla="*/ 189921 w 231378"/>
                <a:gd name="connsiteY29" fmla="*/ 93280 h 241929"/>
                <a:gd name="connsiteX30" fmla="*/ 186466 w 231378"/>
                <a:gd name="connsiteY30" fmla="*/ 110554 h 241929"/>
                <a:gd name="connsiteX31" fmla="*/ 193376 w 231378"/>
                <a:gd name="connsiteY31" fmla="*/ 127828 h 241929"/>
                <a:gd name="connsiteX32" fmla="*/ 207195 w 231378"/>
                <a:gd name="connsiteY32" fmla="*/ 141647 h 241929"/>
                <a:gd name="connsiteX33" fmla="*/ 221015 w 231378"/>
                <a:gd name="connsiteY33" fmla="*/ 138192 h 241929"/>
                <a:gd name="connsiteX34" fmla="*/ 231379 w 231378"/>
                <a:gd name="connsiteY34" fmla="*/ 141647 h 241929"/>
                <a:gd name="connsiteX35" fmla="*/ 227924 w 231378"/>
                <a:gd name="connsiteY35" fmla="*/ 155560 h 241929"/>
                <a:gd name="connsiteX36" fmla="*/ 221015 w 231378"/>
                <a:gd name="connsiteY36" fmla="*/ 172834 h 241929"/>
                <a:gd name="connsiteX37" fmla="*/ 221015 w 231378"/>
                <a:gd name="connsiteY37" fmla="*/ 197017 h 241929"/>
                <a:gd name="connsiteX38" fmla="*/ 217559 w 231378"/>
                <a:gd name="connsiteY38" fmla="*/ 207382 h 241929"/>
                <a:gd name="connsiteX39" fmla="*/ 210650 w 231378"/>
                <a:gd name="connsiteY39" fmla="*/ 221201 h 241929"/>
                <a:gd name="connsiteX40" fmla="*/ 193376 w 231378"/>
                <a:gd name="connsiteY40" fmla="*/ 231565 h 241929"/>
                <a:gd name="connsiteX41" fmla="*/ 186466 w 231378"/>
                <a:gd name="connsiteY41" fmla="*/ 235020 h 24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1378" h="241929">
                  <a:moveTo>
                    <a:pt x="186466" y="235020"/>
                  </a:moveTo>
                  <a:lnTo>
                    <a:pt x="162283" y="241930"/>
                  </a:lnTo>
                  <a:lnTo>
                    <a:pt x="124373" y="241930"/>
                  </a:lnTo>
                  <a:lnTo>
                    <a:pt x="114009" y="228111"/>
                  </a:lnTo>
                  <a:lnTo>
                    <a:pt x="124373" y="203927"/>
                  </a:lnTo>
                  <a:lnTo>
                    <a:pt x="138099" y="183198"/>
                  </a:lnTo>
                  <a:lnTo>
                    <a:pt x="127828" y="169379"/>
                  </a:lnTo>
                  <a:lnTo>
                    <a:pt x="93280" y="155560"/>
                  </a:lnTo>
                  <a:lnTo>
                    <a:pt x="65641" y="134737"/>
                  </a:lnTo>
                  <a:lnTo>
                    <a:pt x="51822" y="134737"/>
                  </a:lnTo>
                  <a:lnTo>
                    <a:pt x="34548" y="124373"/>
                  </a:lnTo>
                  <a:lnTo>
                    <a:pt x="13819" y="103644"/>
                  </a:lnTo>
                  <a:lnTo>
                    <a:pt x="3455" y="89825"/>
                  </a:lnTo>
                  <a:lnTo>
                    <a:pt x="0" y="79460"/>
                  </a:lnTo>
                  <a:lnTo>
                    <a:pt x="7003" y="72551"/>
                  </a:lnTo>
                  <a:lnTo>
                    <a:pt x="10364" y="55277"/>
                  </a:lnTo>
                  <a:lnTo>
                    <a:pt x="10364" y="38003"/>
                  </a:lnTo>
                  <a:lnTo>
                    <a:pt x="20729" y="13819"/>
                  </a:lnTo>
                  <a:lnTo>
                    <a:pt x="48367" y="3455"/>
                  </a:lnTo>
                  <a:lnTo>
                    <a:pt x="76006" y="0"/>
                  </a:lnTo>
                  <a:lnTo>
                    <a:pt x="96735" y="3455"/>
                  </a:lnTo>
                  <a:lnTo>
                    <a:pt x="114009" y="13819"/>
                  </a:lnTo>
                  <a:lnTo>
                    <a:pt x="124373" y="24184"/>
                  </a:lnTo>
                  <a:lnTo>
                    <a:pt x="131283" y="38003"/>
                  </a:lnTo>
                  <a:lnTo>
                    <a:pt x="131283" y="58732"/>
                  </a:lnTo>
                  <a:lnTo>
                    <a:pt x="131283" y="86370"/>
                  </a:lnTo>
                  <a:lnTo>
                    <a:pt x="148463" y="86370"/>
                  </a:lnTo>
                  <a:lnTo>
                    <a:pt x="162283" y="82915"/>
                  </a:lnTo>
                  <a:lnTo>
                    <a:pt x="179557" y="86370"/>
                  </a:lnTo>
                  <a:lnTo>
                    <a:pt x="189921" y="93280"/>
                  </a:lnTo>
                  <a:lnTo>
                    <a:pt x="186466" y="110554"/>
                  </a:lnTo>
                  <a:lnTo>
                    <a:pt x="193376" y="127828"/>
                  </a:lnTo>
                  <a:lnTo>
                    <a:pt x="207195" y="141647"/>
                  </a:lnTo>
                  <a:lnTo>
                    <a:pt x="221015" y="138192"/>
                  </a:lnTo>
                  <a:lnTo>
                    <a:pt x="231379" y="141647"/>
                  </a:lnTo>
                  <a:lnTo>
                    <a:pt x="227924" y="155560"/>
                  </a:lnTo>
                  <a:lnTo>
                    <a:pt x="221015" y="172834"/>
                  </a:lnTo>
                  <a:lnTo>
                    <a:pt x="221015" y="197017"/>
                  </a:lnTo>
                  <a:lnTo>
                    <a:pt x="217559" y="207382"/>
                  </a:lnTo>
                  <a:lnTo>
                    <a:pt x="210650" y="221201"/>
                  </a:lnTo>
                  <a:lnTo>
                    <a:pt x="193376" y="231565"/>
                  </a:lnTo>
                  <a:lnTo>
                    <a:pt x="186466" y="235020"/>
                  </a:lnTo>
                  <a:close/>
                </a:path>
              </a:pathLst>
            </a:custGeom>
            <a:solidFill>
              <a:srgbClr val="CEE3BF"/>
            </a:solidFill>
            <a:ln w="9334" cap="flat">
              <a:noFill/>
              <a:prstDash val="solid"/>
              <a:miter/>
            </a:ln>
          </p:spPr>
          <p:txBody>
            <a:bodyPr rtlCol="0" anchor="ctr"/>
            <a:lstStyle/>
            <a:p>
              <a:endParaRPr lang="en-GB" dirty="0"/>
            </a:p>
          </p:txBody>
        </p:sp>
        <p:sp>
          <p:nvSpPr>
            <p:cNvPr id="993" name="Freeform: Shape 992">
              <a:extLst>
                <a:ext uri="{FF2B5EF4-FFF2-40B4-BE49-F238E27FC236}">
                  <a16:creationId xmlns:a16="http://schemas.microsoft.com/office/drawing/2014/main" id="{5F9DF44E-2A96-4EF7-8B62-AAA718D2CF7F}"/>
                </a:ext>
              </a:extLst>
            </p:cNvPr>
            <p:cNvSpPr/>
            <p:nvPr/>
          </p:nvSpPr>
          <p:spPr>
            <a:xfrm>
              <a:off x="4238270" y="5369741"/>
              <a:ext cx="145008" cy="155559"/>
            </a:xfrm>
            <a:custGeom>
              <a:avLst/>
              <a:gdLst>
                <a:gd name="connsiteX0" fmla="*/ 34455 w 145008"/>
                <a:gd name="connsiteY0" fmla="*/ 0 h 155559"/>
                <a:gd name="connsiteX1" fmla="*/ 51729 w 145008"/>
                <a:gd name="connsiteY1" fmla="*/ 13819 h 155559"/>
                <a:gd name="connsiteX2" fmla="*/ 65548 w 145008"/>
                <a:gd name="connsiteY2" fmla="*/ 31093 h 155559"/>
                <a:gd name="connsiteX3" fmla="*/ 79367 w 145008"/>
                <a:gd name="connsiteY3" fmla="*/ 34548 h 155559"/>
                <a:gd name="connsiteX4" fmla="*/ 103551 w 145008"/>
                <a:gd name="connsiteY4" fmla="*/ 48368 h 155559"/>
                <a:gd name="connsiteX5" fmla="*/ 124280 w 145008"/>
                <a:gd name="connsiteY5" fmla="*/ 65641 h 155559"/>
                <a:gd name="connsiteX6" fmla="*/ 134644 w 145008"/>
                <a:gd name="connsiteY6" fmla="*/ 76006 h 155559"/>
                <a:gd name="connsiteX7" fmla="*/ 141554 w 145008"/>
                <a:gd name="connsiteY7" fmla="*/ 86370 h 155559"/>
                <a:gd name="connsiteX8" fmla="*/ 138099 w 145008"/>
                <a:gd name="connsiteY8" fmla="*/ 96735 h 155559"/>
                <a:gd name="connsiteX9" fmla="*/ 138099 w 145008"/>
                <a:gd name="connsiteY9" fmla="*/ 107099 h 155559"/>
                <a:gd name="connsiteX10" fmla="*/ 145009 w 145008"/>
                <a:gd name="connsiteY10" fmla="*/ 114009 h 155559"/>
                <a:gd name="connsiteX11" fmla="*/ 138099 w 145008"/>
                <a:gd name="connsiteY11" fmla="*/ 120918 h 155559"/>
                <a:gd name="connsiteX12" fmla="*/ 124280 w 145008"/>
                <a:gd name="connsiteY12" fmla="*/ 138193 h 155559"/>
                <a:gd name="connsiteX13" fmla="*/ 113915 w 145008"/>
                <a:gd name="connsiteY13" fmla="*/ 148650 h 155559"/>
                <a:gd name="connsiteX14" fmla="*/ 107006 w 145008"/>
                <a:gd name="connsiteY14" fmla="*/ 152105 h 155559"/>
                <a:gd name="connsiteX15" fmla="*/ 103551 w 145008"/>
                <a:gd name="connsiteY15" fmla="*/ 155560 h 155559"/>
                <a:gd name="connsiteX16" fmla="*/ 72458 w 145008"/>
                <a:gd name="connsiteY16" fmla="*/ 152105 h 155559"/>
                <a:gd name="connsiteX17" fmla="*/ 48274 w 145008"/>
                <a:gd name="connsiteY17" fmla="*/ 148650 h 155559"/>
                <a:gd name="connsiteX18" fmla="*/ 31000 w 145008"/>
                <a:gd name="connsiteY18" fmla="*/ 141741 h 155559"/>
                <a:gd name="connsiteX19" fmla="*/ 10365 w 145008"/>
                <a:gd name="connsiteY19" fmla="*/ 138193 h 155559"/>
                <a:gd name="connsiteX20" fmla="*/ 0 w 145008"/>
                <a:gd name="connsiteY20" fmla="*/ 131283 h 155559"/>
                <a:gd name="connsiteX21" fmla="*/ 0 w 145008"/>
                <a:gd name="connsiteY21" fmla="*/ 103644 h 155559"/>
                <a:gd name="connsiteX22" fmla="*/ 6910 w 145008"/>
                <a:gd name="connsiteY22" fmla="*/ 69096 h 155559"/>
                <a:gd name="connsiteX23" fmla="*/ 10365 w 145008"/>
                <a:gd name="connsiteY23" fmla="*/ 41458 h 155559"/>
                <a:gd name="connsiteX24" fmla="*/ 17181 w 145008"/>
                <a:gd name="connsiteY24" fmla="*/ 13819 h 155559"/>
                <a:gd name="connsiteX25" fmla="*/ 20636 w 145008"/>
                <a:gd name="connsiteY25" fmla="*/ 3455 h 155559"/>
                <a:gd name="connsiteX26" fmla="*/ 34455 w 145008"/>
                <a:gd name="connsiteY26" fmla="*/ 0 h 15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008" h="155559">
                  <a:moveTo>
                    <a:pt x="34455" y="0"/>
                  </a:moveTo>
                  <a:lnTo>
                    <a:pt x="51729" y="13819"/>
                  </a:lnTo>
                  <a:lnTo>
                    <a:pt x="65548" y="31093"/>
                  </a:lnTo>
                  <a:lnTo>
                    <a:pt x="79367" y="34548"/>
                  </a:lnTo>
                  <a:lnTo>
                    <a:pt x="103551" y="48368"/>
                  </a:lnTo>
                  <a:lnTo>
                    <a:pt x="124280" y="65641"/>
                  </a:lnTo>
                  <a:lnTo>
                    <a:pt x="134644" y="76006"/>
                  </a:lnTo>
                  <a:lnTo>
                    <a:pt x="141554" y="86370"/>
                  </a:lnTo>
                  <a:lnTo>
                    <a:pt x="138099" y="96735"/>
                  </a:lnTo>
                  <a:lnTo>
                    <a:pt x="138099" y="107099"/>
                  </a:lnTo>
                  <a:lnTo>
                    <a:pt x="145009" y="114009"/>
                  </a:lnTo>
                  <a:lnTo>
                    <a:pt x="138099" y="120918"/>
                  </a:lnTo>
                  <a:lnTo>
                    <a:pt x="124280" y="138193"/>
                  </a:lnTo>
                  <a:lnTo>
                    <a:pt x="113915" y="148650"/>
                  </a:lnTo>
                  <a:lnTo>
                    <a:pt x="107006" y="152105"/>
                  </a:lnTo>
                  <a:lnTo>
                    <a:pt x="103551" y="155560"/>
                  </a:lnTo>
                  <a:lnTo>
                    <a:pt x="72458" y="152105"/>
                  </a:lnTo>
                  <a:lnTo>
                    <a:pt x="48274" y="148650"/>
                  </a:lnTo>
                  <a:lnTo>
                    <a:pt x="31000" y="141741"/>
                  </a:lnTo>
                  <a:lnTo>
                    <a:pt x="10365" y="138193"/>
                  </a:lnTo>
                  <a:lnTo>
                    <a:pt x="0" y="131283"/>
                  </a:lnTo>
                  <a:lnTo>
                    <a:pt x="0" y="103644"/>
                  </a:lnTo>
                  <a:lnTo>
                    <a:pt x="6910" y="69096"/>
                  </a:lnTo>
                  <a:lnTo>
                    <a:pt x="10365" y="41458"/>
                  </a:lnTo>
                  <a:lnTo>
                    <a:pt x="17181" y="13819"/>
                  </a:lnTo>
                  <a:lnTo>
                    <a:pt x="20636" y="3455"/>
                  </a:lnTo>
                  <a:lnTo>
                    <a:pt x="34455" y="0"/>
                  </a:lnTo>
                  <a:close/>
                </a:path>
              </a:pathLst>
            </a:custGeom>
            <a:solidFill>
              <a:srgbClr val="CEE3BF"/>
            </a:solidFill>
            <a:ln w="9334" cap="flat">
              <a:noFill/>
              <a:prstDash val="solid"/>
              <a:miter/>
            </a:ln>
          </p:spPr>
          <p:txBody>
            <a:bodyPr rtlCol="0" anchor="ctr"/>
            <a:lstStyle/>
            <a:p>
              <a:endParaRPr lang="en-GB" dirty="0"/>
            </a:p>
          </p:txBody>
        </p:sp>
        <p:sp>
          <p:nvSpPr>
            <p:cNvPr id="994" name="Freeform: Shape 993">
              <a:extLst>
                <a:ext uri="{FF2B5EF4-FFF2-40B4-BE49-F238E27FC236}">
                  <a16:creationId xmlns:a16="http://schemas.microsoft.com/office/drawing/2014/main" id="{97DE86EA-20D0-450A-AAE5-3A35CB99305D}"/>
                </a:ext>
              </a:extLst>
            </p:cNvPr>
            <p:cNvSpPr/>
            <p:nvPr/>
          </p:nvSpPr>
          <p:spPr>
            <a:xfrm>
              <a:off x="4238270" y="5369741"/>
              <a:ext cx="145008" cy="155559"/>
            </a:xfrm>
            <a:custGeom>
              <a:avLst/>
              <a:gdLst>
                <a:gd name="connsiteX0" fmla="*/ 34455 w 145008"/>
                <a:gd name="connsiteY0" fmla="*/ 0 h 155559"/>
                <a:gd name="connsiteX1" fmla="*/ 51729 w 145008"/>
                <a:gd name="connsiteY1" fmla="*/ 13819 h 155559"/>
                <a:gd name="connsiteX2" fmla="*/ 65548 w 145008"/>
                <a:gd name="connsiteY2" fmla="*/ 31093 h 155559"/>
                <a:gd name="connsiteX3" fmla="*/ 79367 w 145008"/>
                <a:gd name="connsiteY3" fmla="*/ 34548 h 155559"/>
                <a:gd name="connsiteX4" fmla="*/ 103551 w 145008"/>
                <a:gd name="connsiteY4" fmla="*/ 48368 h 155559"/>
                <a:gd name="connsiteX5" fmla="*/ 124280 w 145008"/>
                <a:gd name="connsiteY5" fmla="*/ 65641 h 155559"/>
                <a:gd name="connsiteX6" fmla="*/ 134644 w 145008"/>
                <a:gd name="connsiteY6" fmla="*/ 76006 h 155559"/>
                <a:gd name="connsiteX7" fmla="*/ 141554 w 145008"/>
                <a:gd name="connsiteY7" fmla="*/ 86370 h 155559"/>
                <a:gd name="connsiteX8" fmla="*/ 138099 w 145008"/>
                <a:gd name="connsiteY8" fmla="*/ 96735 h 155559"/>
                <a:gd name="connsiteX9" fmla="*/ 138099 w 145008"/>
                <a:gd name="connsiteY9" fmla="*/ 107099 h 155559"/>
                <a:gd name="connsiteX10" fmla="*/ 145009 w 145008"/>
                <a:gd name="connsiteY10" fmla="*/ 114009 h 155559"/>
                <a:gd name="connsiteX11" fmla="*/ 138099 w 145008"/>
                <a:gd name="connsiteY11" fmla="*/ 120918 h 155559"/>
                <a:gd name="connsiteX12" fmla="*/ 124280 w 145008"/>
                <a:gd name="connsiteY12" fmla="*/ 138193 h 155559"/>
                <a:gd name="connsiteX13" fmla="*/ 113915 w 145008"/>
                <a:gd name="connsiteY13" fmla="*/ 148650 h 155559"/>
                <a:gd name="connsiteX14" fmla="*/ 107006 w 145008"/>
                <a:gd name="connsiteY14" fmla="*/ 152105 h 155559"/>
                <a:gd name="connsiteX15" fmla="*/ 103551 w 145008"/>
                <a:gd name="connsiteY15" fmla="*/ 155560 h 155559"/>
                <a:gd name="connsiteX16" fmla="*/ 72458 w 145008"/>
                <a:gd name="connsiteY16" fmla="*/ 152105 h 155559"/>
                <a:gd name="connsiteX17" fmla="*/ 48274 w 145008"/>
                <a:gd name="connsiteY17" fmla="*/ 148650 h 155559"/>
                <a:gd name="connsiteX18" fmla="*/ 31000 w 145008"/>
                <a:gd name="connsiteY18" fmla="*/ 141741 h 155559"/>
                <a:gd name="connsiteX19" fmla="*/ 10365 w 145008"/>
                <a:gd name="connsiteY19" fmla="*/ 138193 h 155559"/>
                <a:gd name="connsiteX20" fmla="*/ 0 w 145008"/>
                <a:gd name="connsiteY20" fmla="*/ 131283 h 155559"/>
                <a:gd name="connsiteX21" fmla="*/ 0 w 145008"/>
                <a:gd name="connsiteY21" fmla="*/ 103644 h 155559"/>
                <a:gd name="connsiteX22" fmla="*/ 6910 w 145008"/>
                <a:gd name="connsiteY22" fmla="*/ 69096 h 155559"/>
                <a:gd name="connsiteX23" fmla="*/ 10365 w 145008"/>
                <a:gd name="connsiteY23" fmla="*/ 41458 h 155559"/>
                <a:gd name="connsiteX24" fmla="*/ 17181 w 145008"/>
                <a:gd name="connsiteY24" fmla="*/ 13819 h 155559"/>
                <a:gd name="connsiteX25" fmla="*/ 20636 w 145008"/>
                <a:gd name="connsiteY25" fmla="*/ 3455 h 155559"/>
                <a:gd name="connsiteX26" fmla="*/ 34455 w 145008"/>
                <a:gd name="connsiteY26" fmla="*/ 0 h 15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008" h="155559">
                  <a:moveTo>
                    <a:pt x="34455" y="0"/>
                  </a:moveTo>
                  <a:lnTo>
                    <a:pt x="51729" y="13819"/>
                  </a:lnTo>
                  <a:lnTo>
                    <a:pt x="65548" y="31093"/>
                  </a:lnTo>
                  <a:lnTo>
                    <a:pt x="79367" y="34548"/>
                  </a:lnTo>
                  <a:lnTo>
                    <a:pt x="103551" y="48368"/>
                  </a:lnTo>
                  <a:lnTo>
                    <a:pt x="124280" y="65641"/>
                  </a:lnTo>
                  <a:lnTo>
                    <a:pt x="134644" y="76006"/>
                  </a:lnTo>
                  <a:lnTo>
                    <a:pt x="141554" y="86370"/>
                  </a:lnTo>
                  <a:lnTo>
                    <a:pt x="138099" y="96735"/>
                  </a:lnTo>
                  <a:lnTo>
                    <a:pt x="138099" y="107099"/>
                  </a:lnTo>
                  <a:lnTo>
                    <a:pt x="145009" y="114009"/>
                  </a:lnTo>
                  <a:lnTo>
                    <a:pt x="138099" y="120918"/>
                  </a:lnTo>
                  <a:lnTo>
                    <a:pt x="124280" y="138193"/>
                  </a:lnTo>
                  <a:lnTo>
                    <a:pt x="113915" y="148650"/>
                  </a:lnTo>
                  <a:lnTo>
                    <a:pt x="107006" y="152105"/>
                  </a:lnTo>
                  <a:lnTo>
                    <a:pt x="103551" y="155560"/>
                  </a:lnTo>
                  <a:lnTo>
                    <a:pt x="72458" y="152105"/>
                  </a:lnTo>
                  <a:lnTo>
                    <a:pt x="48274" y="148650"/>
                  </a:lnTo>
                  <a:lnTo>
                    <a:pt x="31000" y="141741"/>
                  </a:lnTo>
                  <a:lnTo>
                    <a:pt x="10365" y="138193"/>
                  </a:lnTo>
                  <a:lnTo>
                    <a:pt x="0" y="131283"/>
                  </a:lnTo>
                  <a:lnTo>
                    <a:pt x="0" y="103644"/>
                  </a:lnTo>
                  <a:lnTo>
                    <a:pt x="6910" y="69096"/>
                  </a:lnTo>
                  <a:lnTo>
                    <a:pt x="10365" y="41458"/>
                  </a:lnTo>
                  <a:lnTo>
                    <a:pt x="17181" y="13819"/>
                  </a:lnTo>
                  <a:lnTo>
                    <a:pt x="20636" y="3455"/>
                  </a:lnTo>
                  <a:lnTo>
                    <a:pt x="34455" y="0"/>
                  </a:lnTo>
                  <a:close/>
                </a:path>
              </a:pathLst>
            </a:custGeom>
            <a:solidFill>
              <a:srgbClr val="CEE3BF"/>
            </a:solidFill>
            <a:ln w="9334" cap="flat">
              <a:noFill/>
              <a:prstDash val="solid"/>
              <a:miter/>
            </a:ln>
          </p:spPr>
          <p:txBody>
            <a:bodyPr rtlCol="0" anchor="ctr"/>
            <a:lstStyle/>
            <a:p>
              <a:endParaRPr lang="en-GB" dirty="0"/>
            </a:p>
          </p:txBody>
        </p:sp>
        <p:sp>
          <p:nvSpPr>
            <p:cNvPr id="995" name="Freeform: Shape 994">
              <a:extLst>
                <a:ext uri="{FF2B5EF4-FFF2-40B4-BE49-F238E27FC236}">
                  <a16:creationId xmlns:a16="http://schemas.microsoft.com/office/drawing/2014/main" id="{2354F6B2-69AC-4038-8C45-69930F948E99}"/>
                </a:ext>
              </a:extLst>
            </p:cNvPr>
            <p:cNvSpPr/>
            <p:nvPr/>
          </p:nvSpPr>
          <p:spPr>
            <a:xfrm>
              <a:off x="3823973" y="5134627"/>
              <a:ext cx="545486" cy="971361"/>
            </a:xfrm>
            <a:custGeom>
              <a:avLst/>
              <a:gdLst>
                <a:gd name="connsiteX0" fmla="*/ 176009 w 545486"/>
                <a:gd name="connsiteY0" fmla="*/ 31093 h 971361"/>
                <a:gd name="connsiteX1" fmla="*/ 179463 w 545486"/>
                <a:gd name="connsiteY1" fmla="*/ 17274 h 971361"/>
                <a:gd name="connsiteX2" fmla="*/ 186373 w 545486"/>
                <a:gd name="connsiteY2" fmla="*/ 10365 h 971361"/>
                <a:gd name="connsiteX3" fmla="*/ 200192 w 545486"/>
                <a:gd name="connsiteY3" fmla="*/ 0 h 971361"/>
                <a:gd name="connsiteX4" fmla="*/ 214012 w 545486"/>
                <a:gd name="connsiteY4" fmla="*/ 10365 h 971361"/>
                <a:gd name="connsiteX5" fmla="*/ 238195 w 545486"/>
                <a:gd name="connsiteY5" fmla="*/ 6910 h 971361"/>
                <a:gd name="connsiteX6" fmla="*/ 255469 w 545486"/>
                <a:gd name="connsiteY6" fmla="*/ 27638 h 971361"/>
                <a:gd name="connsiteX7" fmla="*/ 265834 w 545486"/>
                <a:gd name="connsiteY7" fmla="*/ 3455 h 971361"/>
                <a:gd name="connsiteX8" fmla="*/ 296834 w 545486"/>
                <a:gd name="connsiteY8" fmla="*/ 3455 h 971361"/>
                <a:gd name="connsiteX9" fmla="*/ 300288 w 545486"/>
                <a:gd name="connsiteY9" fmla="*/ 13819 h 971361"/>
                <a:gd name="connsiteX10" fmla="*/ 310653 w 545486"/>
                <a:gd name="connsiteY10" fmla="*/ 27638 h 971361"/>
                <a:gd name="connsiteX11" fmla="*/ 327927 w 545486"/>
                <a:gd name="connsiteY11" fmla="*/ 44912 h 971361"/>
                <a:gd name="connsiteX12" fmla="*/ 331382 w 545486"/>
                <a:gd name="connsiteY12" fmla="*/ 48367 h 971361"/>
                <a:gd name="connsiteX13" fmla="*/ 348656 w 545486"/>
                <a:gd name="connsiteY13" fmla="*/ 58732 h 971361"/>
                <a:gd name="connsiteX14" fmla="*/ 362475 w 545486"/>
                <a:gd name="connsiteY14" fmla="*/ 58732 h 971361"/>
                <a:gd name="connsiteX15" fmla="*/ 379749 w 545486"/>
                <a:gd name="connsiteY15" fmla="*/ 69190 h 971361"/>
                <a:gd name="connsiteX16" fmla="*/ 390113 w 545486"/>
                <a:gd name="connsiteY16" fmla="*/ 79554 h 971361"/>
                <a:gd name="connsiteX17" fmla="*/ 407387 w 545486"/>
                <a:gd name="connsiteY17" fmla="*/ 86464 h 971361"/>
                <a:gd name="connsiteX18" fmla="*/ 424661 w 545486"/>
                <a:gd name="connsiteY18" fmla="*/ 93373 h 971361"/>
                <a:gd name="connsiteX19" fmla="*/ 434933 w 545486"/>
                <a:gd name="connsiteY19" fmla="*/ 107193 h 971361"/>
                <a:gd name="connsiteX20" fmla="*/ 424661 w 545486"/>
                <a:gd name="connsiteY20" fmla="*/ 124467 h 971361"/>
                <a:gd name="connsiteX21" fmla="*/ 410842 w 545486"/>
                <a:gd name="connsiteY21" fmla="*/ 152105 h 971361"/>
                <a:gd name="connsiteX22" fmla="*/ 421207 w 545486"/>
                <a:gd name="connsiteY22" fmla="*/ 165924 h 971361"/>
                <a:gd name="connsiteX23" fmla="*/ 459116 w 545486"/>
                <a:gd name="connsiteY23" fmla="*/ 165924 h 971361"/>
                <a:gd name="connsiteX24" fmla="*/ 483300 w 545486"/>
                <a:gd name="connsiteY24" fmla="*/ 159015 h 971361"/>
                <a:gd name="connsiteX25" fmla="*/ 497119 w 545486"/>
                <a:gd name="connsiteY25" fmla="*/ 148650 h 971361"/>
                <a:gd name="connsiteX26" fmla="*/ 507483 w 545486"/>
                <a:gd name="connsiteY26" fmla="*/ 145196 h 971361"/>
                <a:gd name="connsiteX27" fmla="*/ 517848 w 545486"/>
                <a:gd name="connsiteY27" fmla="*/ 121012 h 971361"/>
                <a:gd name="connsiteX28" fmla="*/ 517848 w 545486"/>
                <a:gd name="connsiteY28" fmla="*/ 103738 h 971361"/>
                <a:gd name="connsiteX29" fmla="*/ 535122 w 545486"/>
                <a:gd name="connsiteY29" fmla="*/ 107193 h 971361"/>
                <a:gd name="connsiteX30" fmla="*/ 542032 w 545486"/>
                <a:gd name="connsiteY30" fmla="*/ 114102 h 971361"/>
                <a:gd name="connsiteX31" fmla="*/ 545486 w 545486"/>
                <a:gd name="connsiteY31" fmla="*/ 131376 h 971361"/>
                <a:gd name="connsiteX32" fmla="*/ 538577 w 545486"/>
                <a:gd name="connsiteY32" fmla="*/ 152105 h 971361"/>
                <a:gd name="connsiteX33" fmla="*/ 531667 w 545486"/>
                <a:gd name="connsiteY33" fmla="*/ 162469 h 971361"/>
                <a:gd name="connsiteX34" fmla="*/ 517848 w 545486"/>
                <a:gd name="connsiteY34" fmla="*/ 169379 h 971361"/>
                <a:gd name="connsiteX35" fmla="*/ 504029 w 545486"/>
                <a:gd name="connsiteY35" fmla="*/ 179743 h 971361"/>
                <a:gd name="connsiteX36" fmla="*/ 486755 w 545486"/>
                <a:gd name="connsiteY36" fmla="*/ 193563 h 971361"/>
                <a:gd name="connsiteX37" fmla="*/ 472935 w 545486"/>
                <a:gd name="connsiteY37" fmla="*/ 203927 h 971361"/>
                <a:gd name="connsiteX38" fmla="*/ 462571 w 545486"/>
                <a:gd name="connsiteY38" fmla="*/ 221295 h 971361"/>
                <a:gd name="connsiteX39" fmla="*/ 452207 w 545486"/>
                <a:gd name="connsiteY39" fmla="*/ 228204 h 971361"/>
                <a:gd name="connsiteX40" fmla="*/ 448752 w 545486"/>
                <a:gd name="connsiteY40" fmla="*/ 235114 h 971361"/>
                <a:gd name="connsiteX41" fmla="*/ 434933 w 545486"/>
                <a:gd name="connsiteY41" fmla="*/ 238569 h 971361"/>
                <a:gd name="connsiteX42" fmla="*/ 424661 w 545486"/>
                <a:gd name="connsiteY42" fmla="*/ 276571 h 971361"/>
                <a:gd name="connsiteX43" fmla="*/ 421207 w 545486"/>
                <a:gd name="connsiteY43" fmla="*/ 300755 h 971361"/>
                <a:gd name="connsiteX44" fmla="*/ 414297 w 545486"/>
                <a:gd name="connsiteY44" fmla="*/ 331848 h 971361"/>
                <a:gd name="connsiteX45" fmla="*/ 414297 w 545486"/>
                <a:gd name="connsiteY45" fmla="*/ 366396 h 971361"/>
                <a:gd name="connsiteX46" fmla="*/ 407387 w 545486"/>
                <a:gd name="connsiteY46" fmla="*/ 373306 h 971361"/>
                <a:gd name="connsiteX47" fmla="*/ 403933 w 545486"/>
                <a:gd name="connsiteY47" fmla="*/ 383764 h 971361"/>
                <a:gd name="connsiteX48" fmla="*/ 421207 w 545486"/>
                <a:gd name="connsiteY48" fmla="*/ 387219 h 971361"/>
                <a:gd name="connsiteX49" fmla="*/ 438387 w 545486"/>
                <a:gd name="connsiteY49" fmla="*/ 394128 h 971361"/>
                <a:gd name="connsiteX50" fmla="*/ 445297 w 545486"/>
                <a:gd name="connsiteY50" fmla="*/ 407948 h 971361"/>
                <a:gd name="connsiteX51" fmla="*/ 441842 w 545486"/>
                <a:gd name="connsiteY51" fmla="*/ 421767 h 971361"/>
                <a:gd name="connsiteX52" fmla="*/ 445297 w 545486"/>
                <a:gd name="connsiteY52" fmla="*/ 428676 h 971361"/>
                <a:gd name="connsiteX53" fmla="*/ 459116 w 545486"/>
                <a:gd name="connsiteY53" fmla="*/ 439041 h 971361"/>
                <a:gd name="connsiteX54" fmla="*/ 459116 w 545486"/>
                <a:gd name="connsiteY54" fmla="*/ 463225 h 971361"/>
                <a:gd name="connsiteX55" fmla="*/ 438387 w 545486"/>
                <a:gd name="connsiteY55" fmla="*/ 490863 h 971361"/>
                <a:gd name="connsiteX56" fmla="*/ 414297 w 545486"/>
                <a:gd name="connsiteY56" fmla="*/ 508137 h 971361"/>
                <a:gd name="connsiteX57" fmla="*/ 379749 w 545486"/>
                <a:gd name="connsiteY57" fmla="*/ 511592 h 971361"/>
                <a:gd name="connsiteX58" fmla="*/ 355565 w 545486"/>
                <a:gd name="connsiteY58" fmla="*/ 515047 h 971361"/>
                <a:gd name="connsiteX59" fmla="*/ 327927 w 545486"/>
                <a:gd name="connsiteY59" fmla="*/ 518501 h 971361"/>
                <a:gd name="connsiteX60" fmla="*/ 310653 w 545486"/>
                <a:gd name="connsiteY60" fmla="*/ 515047 h 971361"/>
                <a:gd name="connsiteX61" fmla="*/ 307198 w 545486"/>
                <a:gd name="connsiteY61" fmla="*/ 525411 h 971361"/>
                <a:gd name="connsiteX62" fmla="*/ 310653 w 545486"/>
                <a:gd name="connsiteY62" fmla="*/ 542685 h 971361"/>
                <a:gd name="connsiteX63" fmla="*/ 307198 w 545486"/>
                <a:gd name="connsiteY63" fmla="*/ 570417 h 971361"/>
                <a:gd name="connsiteX64" fmla="*/ 293472 w 545486"/>
                <a:gd name="connsiteY64" fmla="*/ 584236 h 971361"/>
                <a:gd name="connsiteX65" fmla="*/ 279653 w 545486"/>
                <a:gd name="connsiteY65" fmla="*/ 591146 h 971361"/>
                <a:gd name="connsiteX66" fmla="*/ 255469 w 545486"/>
                <a:gd name="connsiteY66" fmla="*/ 580781 h 971361"/>
                <a:gd name="connsiteX67" fmla="*/ 245105 w 545486"/>
                <a:gd name="connsiteY67" fmla="*/ 577327 h 971361"/>
                <a:gd name="connsiteX68" fmla="*/ 234740 w 545486"/>
                <a:gd name="connsiteY68" fmla="*/ 573872 h 971361"/>
                <a:gd name="connsiteX69" fmla="*/ 231286 w 545486"/>
                <a:gd name="connsiteY69" fmla="*/ 584236 h 971361"/>
                <a:gd name="connsiteX70" fmla="*/ 234740 w 545486"/>
                <a:gd name="connsiteY70" fmla="*/ 611875 h 971361"/>
                <a:gd name="connsiteX71" fmla="*/ 234740 w 545486"/>
                <a:gd name="connsiteY71" fmla="*/ 625694 h 971361"/>
                <a:gd name="connsiteX72" fmla="*/ 245105 w 545486"/>
                <a:gd name="connsiteY72" fmla="*/ 629149 h 971361"/>
                <a:gd name="connsiteX73" fmla="*/ 258924 w 545486"/>
                <a:gd name="connsiteY73" fmla="*/ 629149 h 971361"/>
                <a:gd name="connsiteX74" fmla="*/ 258924 w 545486"/>
                <a:gd name="connsiteY74" fmla="*/ 625694 h 971361"/>
                <a:gd name="connsiteX75" fmla="*/ 265834 w 545486"/>
                <a:gd name="connsiteY75" fmla="*/ 622239 h 971361"/>
                <a:gd name="connsiteX76" fmla="*/ 272743 w 545486"/>
                <a:gd name="connsiteY76" fmla="*/ 629149 h 971361"/>
                <a:gd name="connsiteX77" fmla="*/ 272743 w 545486"/>
                <a:gd name="connsiteY77" fmla="*/ 639513 h 971361"/>
                <a:gd name="connsiteX78" fmla="*/ 262379 w 545486"/>
                <a:gd name="connsiteY78" fmla="*/ 646423 h 971361"/>
                <a:gd name="connsiteX79" fmla="*/ 255469 w 545486"/>
                <a:gd name="connsiteY79" fmla="*/ 642968 h 971361"/>
                <a:gd name="connsiteX80" fmla="*/ 252014 w 545486"/>
                <a:gd name="connsiteY80" fmla="*/ 636058 h 971361"/>
                <a:gd name="connsiteX81" fmla="*/ 245105 w 545486"/>
                <a:gd name="connsiteY81" fmla="*/ 636058 h 971361"/>
                <a:gd name="connsiteX82" fmla="*/ 238195 w 545486"/>
                <a:gd name="connsiteY82" fmla="*/ 639513 h 971361"/>
                <a:gd name="connsiteX83" fmla="*/ 241650 w 545486"/>
                <a:gd name="connsiteY83" fmla="*/ 649878 h 971361"/>
                <a:gd name="connsiteX84" fmla="*/ 234740 w 545486"/>
                <a:gd name="connsiteY84" fmla="*/ 660242 h 971361"/>
                <a:gd name="connsiteX85" fmla="*/ 224376 w 545486"/>
                <a:gd name="connsiteY85" fmla="*/ 663697 h 971361"/>
                <a:gd name="connsiteX86" fmla="*/ 227831 w 545486"/>
                <a:gd name="connsiteY86" fmla="*/ 684426 h 971361"/>
                <a:gd name="connsiteX87" fmla="*/ 217466 w 545486"/>
                <a:gd name="connsiteY87" fmla="*/ 705248 h 971361"/>
                <a:gd name="connsiteX88" fmla="*/ 214012 w 545486"/>
                <a:gd name="connsiteY88" fmla="*/ 708703 h 971361"/>
                <a:gd name="connsiteX89" fmla="*/ 203647 w 545486"/>
                <a:gd name="connsiteY89" fmla="*/ 715612 h 971361"/>
                <a:gd name="connsiteX90" fmla="*/ 182918 w 545486"/>
                <a:gd name="connsiteY90" fmla="*/ 725977 h 971361"/>
                <a:gd name="connsiteX91" fmla="*/ 162189 w 545486"/>
                <a:gd name="connsiteY91" fmla="*/ 746706 h 971361"/>
                <a:gd name="connsiteX92" fmla="*/ 165737 w 545486"/>
                <a:gd name="connsiteY92" fmla="*/ 767434 h 971361"/>
                <a:gd name="connsiteX93" fmla="*/ 182918 w 545486"/>
                <a:gd name="connsiteY93" fmla="*/ 784708 h 971361"/>
                <a:gd name="connsiteX94" fmla="*/ 182918 w 545486"/>
                <a:gd name="connsiteY94" fmla="*/ 788163 h 971361"/>
                <a:gd name="connsiteX95" fmla="*/ 193283 w 545486"/>
                <a:gd name="connsiteY95" fmla="*/ 788163 h 971361"/>
                <a:gd name="connsiteX96" fmla="*/ 210557 w 545486"/>
                <a:gd name="connsiteY96" fmla="*/ 791618 h 971361"/>
                <a:gd name="connsiteX97" fmla="*/ 210557 w 545486"/>
                <a:gd name="connsiteY97" fmla="*/ 805437 h 971361"/>
                <a:gd name="connsiteX98" fmla="*/ 203647 w 545486"/>
                <a:gd name="connsiteY98" fmla="*/ 819256 h 971361"/>
                <a:gd name="connsiteX99" fmla="*/ 179463 w 545486"/>
                <a:gd name="connsiteY99" fmla="*/ 839985 h 971361"/>
                <a:gd name="connsiteX100" fmla="*/ 162189 w 545486"/>
                <a:gd name="connsiteY100" fmla="*/ 857259 h 971361"/>
                <a:gd name="connsiteX101" fmla="*/ 155373 w 545486"/>
                <a:gd name="connsiteY101" fmla="*/ 881536 h 971361"/>
                <a:gd name="connsiteX102" fmla="*/ 151918 w 545486"/>
                <a:gd name="connsiteY102" fmla="*/ 891901 h 971361"/>
                <a:gd name="connsiteX103" fmla="*/ 131190 w 545486"/>
                <a:gd name="connsiteY103" fmla="*/ 895356 h 971361"/>
                <a:gd name="connsiteX104" fmla="*/ 120825 w 545486"/>
                <a:gd name="connsiteY104" fmla="*/ 905720 h 971361"/>
                <a:gd name="connsiteX105" fmla="*/ 113915 w 545486"/>
                <a:gd name="connsiteY105" fmla="*/ 929904 h 971361"/>
                <a:gd name="connsiteX106" fmla="*/ 117370 w 545486"/>
                <a:gd name="connsiteY106" fmla="*/ 943723 h 971361"/>
                <a:gd name="connsiteX107" fmla="*/ 124280 w 545486"/>
                <a:gd name="connsiteY107" fmla="*/ 954087 h 971361"/>
                <a:gd name="connsiteX108" fmla="*/ 134644 w 545486"/>
                <a:gd name="connsiteY108" fmla="*/ 967907 h 971361"/>
                <a:gd name="connsiteX109" fmla="*/ 131190 w 545486"/>
                <a:gd name="connsiteY109" fmla="*/ 971361 h 971361"/>
                <a:gd name="connsiteX110" fmla="*/ 103551 w 545486"/>
                <a:gd name="connsiteY110" fmla="*/ 964452 h 971361"/>
                <a:gd name="connsiteX111" fmla="*/ 58638 w 545486"/>
                <a:gd name="connsiteY111" fmla="*/ 964452 h 971361"/>
                <a:gd name="connsiteX112" fmla="*/ 41365 w 545486"/>
                <a:gd name="connsiteY112" fmla="*/ 960997 h 971361"/>
                <a:gd name="connsiteX113" fmla="*/ 31093 w 545486"/>
                <a:gd name="connsiteY113" fmla="*/ 940268 h 971361"/>
                <a:gd name="connsiteX114" fmla="*/ 31093 w 545486"/>
                <a:gd name="connsiteY114" fmla="*/ 912630 h 971361"/>
                <a:gd name="connsiteX115" fmla="*/ 10365 w 545486"/>
                <a:gd name="connsiteY115" fmla="*/ 909175 h 971361"/>
                <a:gd name="connsiteX116" fmla="*/ 3455 w 545486"/>
                <a:gd name="connsiteY116" fmla="*/ 898811 h 971361"/>
                <a:gd name="connsiteX117" fmla="*/ 0 w 545486"/>
                <a:gd name="connsiteY117" fmla="*/ 881536 h 971361"/>
                <a:gd name="connsiteX118" fmla="*/ 3455 w 545486"/>
                <a:gd name="connsiteY118" fmla="*/ 864169 h 971361"/>
                <a:gd name="connsiteX119" fmla="*/ 17274 w 545486"/>
                <a:gd name="connsiteY119" fmla="*/ 850350 h 971361"/>
                <a:gd name="connsiteX120" fmla="*/ 31093 w 545486"/>
                <a:gd name="connsiteY120" fmla="*/ 829621 h 971361"/>
                <a:gd name="connsiteX121" fmla="*/ 34548 w 545486"/>
                <a:gd name="connsiteY121" fmla="*/ 798528 h 971361"/>
                <a:gd name="connsiteX122" fmla="*/ 48274 w 545486"/>
                <a:gd name="connsiteY122" fmla="*/ 777799 h 971361"/>
                <a:gd name="connsiteX123" fmla="*/ 48274 w 545486"/>
                <a:gd name="connsiteY123" fmla="*/ 732886 h 971361"/>
                <a:gd name="connsiteX124" fmla="*/ 51729 w 545486"/>
                <a:gd name="connsiteY124" fmla="*/ 712157 h 971361"/>
                <a:gd name="connsiteX125" fmla="*/ 44819 w 545486"/>
                <a:gd name="connsiteY125" fmla="*/ 691335 h 971361"/>
                <a:gd name="connsiteX126" fmla="*/ 44819 w 545486"/>
                <a:gd name="connsiteY126" fmla="*/ 656787 h 971361"/>
                <a:gd name="connsiteX127" fmla="*/ 37909 w 545486"/>
                <a:gd name="connsiteY127" fmla="*/ 649878 h 971361"/>
                <a:gd name="connsiteX128" fmla="*/ 41365 w 545486"/>
                <a:gd name="connsiteY128" fmla="*/ 622239 h 971361"/>
                <a:gd name="connsiteX129" fmla="*/ 44819 w 545486"/>
                <a:gd name="connsiteY129" fmla="*/ 601510 h 971361"/>
                <a:gd name="connsiteX130" fmla="*/ 48274 w 545486"/>
                <a:gd name="connsiteY130" fmla="*/ 549688 h 971361"/>
                <a:gd name="connsiteX131" fmla="*/ 62093 w 545486"/>
                <a:gd name="connsiteY131" fmla="*/ 521956 h 971361"/>
                <a:gd name="connsiteX132" fmla="*/ 65548 w 545486"/>
                <a:gd name="connsiteY132" fmla="*/ 511592 h 971361"/>
                <a:gd name="connsiteX133" fmla="*/ 69003 w 545486"/>
                <a:gd name="connsiteY133" fmla="*/ 504682 h 971361"/>
                <a:gd name="connsiteX134" fmla="*/ 69003 w 545486"/>
                <a:gd name="connsiteY134" fmla="*/ 480498 h 971361"/>
                <a:gd name="connsiteX135" fmla="*/ 65548 w 545486"/>
                <a:gd name="connsiteY135" fmla="*/ 439041 h 971361"/>
                <a:gd name="connsiteX136" fmla="*/ 75912 w 545486"/>
                <a:gd name="connsiteY136" fmla="*/ 428676 h 971361"/>
                <a:gd name="connsiteX137" fmla="*/ 82822 w 545486"/>
                <a:gd name="connsiteY137" fmla="*/ 421767 h 971361"/>
                <a:gd name="connsiteX138" fmla="*/ 86277 w 545486"/>
                <a:gd name="connsiteY138" fmla="*/ 387219 h 971361"/>
                <a:gd name="connsiteX139" fmla="*/ 93187 w 545486"/>
                <a:gd name="connsiteY139" fmla="*/ 373306 h 971361"/>
                <a:gd name="connsiteX140" fmla="*/ 96641 w 545486"/>
                <a:gd name="connsiteY140" fmla="*/ 338758 h 971361"/>
                <a:gd name="connsiteX141" fmla="*/ 89732 w 545486"/>
                <a:gd name="connsiteY141" fmla="*/ 311120 h 971361"/>
                <a:gd name="connsiteX142" fmla="*/ 82822 w 545486"/>
                <a:gd name="connsiteY142" fmla="*/ 297300 h 971361"/>
                <a:gd name="connsiteX143" fmla="*/ 82822 w 545486"/>
                <a:gd name="connsiteY143" fmla="*/ 269662 h 971361"/>
                <a:gd name="connsiteX144" fmla="*/ 89732 w 545486"/>
                <a:gd name="connsiteY144" fmla="*/ 255843 h 971361"/>
                <a:gd name="connsiteX145" fmla="*/ 96641 w 545486"/>
                <a:gd name="connsiteY145" fmla="*/ 207382 h 971361"/>
                <a:gd name="connsiteX146" fmla="*/ 110461 w 545486"/>
                <a:gd name="connsiteY146" fmla="*/ 183198 h 971361"/>
                <a:gd name="connsiteX147" fmla="*/ 127735 w 545486"/>
                <a:gd name="connsiteY147" fmla="*/ 159015 h 971361"/>
                <a:gd name="connsiteX148" fmla="*/ 138099 w 545486"/>
                <a:gd name="connsiteY148" fmla="*/ 141740 h 971361"/>
                <a:gd name="connsiteX149" fmla="*/ 131190 w 545486"/>
                <a:gd name="connsiteY149" fmla="*/ 89918 h 971361"/>
                <a:gd name="connsiteX150" fmla="*/ 141554 w 545486"/>
                <a:gd name="connsiteY150" fmla="*/ 79554 h 971361"/>
                <a:gd name="connsiteX151" fmla="*/ 155373 w 545486"/>
                <a:gd name="connsiteY151" fmla="*/ 72644 h 971361"/>
                <a:gd name="connsiteX152" fmla="*/ 172554 w 545486"/>
                <a:gd name="connsiteY152" fmla="*/ 51822 h 971361"/>
                <a:gd name="connsiteX153" fmla="*/ 176009 w 545486"/>
                <a:gd name="connsiteY153" fmla="*/ 31093 h 971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545486" h="971361">
                  <a:moveTo>
                    <a:pt x="176009" y="31093"/>
                  </a:moveTo>
                  <a:lnTo>
                    <a:pt x="179463" y="17274"/>
                  </a:lnTo>
                  <a:lnTo>
                    <a:pt x="186373" y="10365"/>
                  </a:lnTo>
                  <a:lnTo>
                    <a:pt x="200192" y="0"/>
                  </a:lnTo>
                  <a:lnTo>
                    <a:pt x="214012" y="10365"/>
                  </a:lnTo>
                  <a:lnTo>
                    <a:pt x="238195" y="6910"/>
                  </a:lnTo>
                  <a:lnTo>
                    <a:pt x="255469" y="27638"/>
                  </a:lnTo>
                  <a:lnTo>
                    <a:pt x="265834" y="3455"/>
                  </a:lnTo>
                  <a:lnTo>
                    <a:pt x="296834" y="3455"/>
                  </a:lnTo>
                  <a:lnTo>
                    <a:pt x="300288" y="13819"/>
                  </a:lnTo>
                  <a:lnTo>
                    <a:pt x="310653" y="27638"/>
                  </a:lnTo>
                  <a:lnTo>
                    <a:pt x="327927" y="44912"/>
                  </a:lnTo>
                  <a:lnTo>
                    <a:pt x="331382" y="48367"/>
                  </a:lnTo>
                  <a:lnTo>
                    <a:pt x="348656" y="58732"/>
                  </a:lnTo>
                  <a:lnTo>
                    <a:pt x="362475" y="58732"/>
                  </a:lnTo>
                  <a:lnTo>
                    <a:pt x="379749" y="69190"/>
                  </a:lnTo>
                  <a:lnTo>
                    <a:pt x="390113" y="79554"/>
                  </a:lnTo>
                  <a:lnTo>
                    <a:pt x="407387" y="86464"/>
                  </a:lnTo>
                  <a:lnTo>
                    <a:pt x="424661" y="93373"/>
                  </a:lnTo>
                  <a:lnTo>
                    <a:pt x="434933" y="107193"/>
                  </a:lnTo>
                  <a:lnTo>
                    <a:pt x="424661" y="124467"/>
                  </a:lnTo>
                  <a:lnTo>
                    <a:pt x="410842" y="152105"/>
                  </a:lnTo>
                  <a:lnTo>
                    <a:pt x="421207" y="165924"/>
                  </a:lnTo>
                  <a:lnTo>
                    <a:pt x="459116" y="165924"/>
                  </a:lnTo>
                  <a:lnTo>
                    <a:pt x="483300" y="159015"/>
                  </a:lnTo>
                  <a:lnTo>
                    <a:pt x="497119" y="148650"/>
                  </a:lnTo>
                  <a:lnTo>
                    <a:pt x="507483" y="145196"/>
                  </a:lnTo>
                  <a:lnTo>
                    <a:pt x="517848" y="121012"/>
                  </a:lnTo>
                  <a:lnTo>
                    <a:pt x="517848" y="103738"/>
                  </a:lnTo>
                  <a:lnTo>
                    <a:pt x="535122" y="107193"/>
                  </a:lnTo>
                  <a:lnTo>
                    <a:pt x="542032" y="114102"/>
                  </a:lnTo>
                  <a:lnTo>
                    <a:pt x="545486" y="131376"/>
                  </a:lnTo>
                  <a:lnTo>
                    <a:pt x="538577" y="152105"/>
                  </a:lnTo>
                  <a:lnTo>
                    <a:pt x="531667" y="162469"/>
                  </a:lnTo>
                  <a:lnTo>
                    <a:pt x="517848" y="169379"/>
                  </a:lnTo>
                  <a:lnTo>
                    <a:pt x="504029" y="179743"/>
                  </a:lnTo>
                  <a:lnTo>
                    <a:pt x="486755" y="193563"/>
                  </a:lnTo>
                  <a:lnTo>
                    <a:pt x="472935" y="203927"/>
                  </a:lnTo>
                  <a:lnTo>
                    <a:pt x="462571" y="221295"/>
                  </a:lnTo>
                  <a:lnTo>
                    <a:pt x="452207" y="228204"/>
                  </a:lnTo>
                  <a:lnTo>
                    <a:pt x="448752" y="235114"/>
                  </a:lnTo>
                  <a:lnTo>
                    <a:pt x="434933" y="238569"/>
                  </a:lnTo>
                  <a:lnTo>
                    <a:pt x="424661" y="276571"/>
                  </a:lnTo>
                  <a:lnTo>
                    <a:pt x="421207" y="300755"/>
                  </a:lnTo>
                  <a:lnTo>
                    <a:pt x="414297" y="331848"/>
                  </a:lnTo>
                  <a:lnTo>
                    <a:pt x="414297" y="366396"/>
                  </a:lnTo>
                  <a:lnTo>
                    <a:pt x="407387" y="373306"/>
                  </a:lnTo>
                  <a:lnTo>
                    <a:pt x="403933" y="383764"/>
                  </a:lnTo>
                  <a:lnTo>
                    <a:pt x="421207" y="387219"/>
                  </a:lnTo>
                  <a:lnTo>
                    <a:pt x="438387" y="394128"/>
                  </a:lnTo>
                  <a:lnTo>
                    <a:pt x="445297" y="407948"/>
                  </a:lnTo>
                  <a:lnTo>
                    <a:pt x="441842" y="421767"/>
                  </a:lnTo>
                  <a:lnTo>
                    <a:pt x="445297" y="428676"/>
                  </a:lnTo>
                  <a:lnTo>
                    <a:pt x="459116" y="439041"/>
                  </a:lnTo>
                  <a:lnTo>
                    <a:pt x="459116" y="463225"/>
                  </a:lnTo>
                  <a:lnTo>
                    <a:pt x="438387" y="490863"/>
                  </a:lnTo>
                  <a:lnTo>
                    <a:pt x="414297" y="508137"/>
                  </a:lnTo>
                  <a:lnTo>
                    <a:pt x="379749" y="511592"/>
                  </a:lnTo>
                  <a:lnTo>
                    <a:pt x="355565" y="515047"/>
                  </a:lnTo>
                  <a:lnTo>
                    <a:pt x="327927" y="518501"/>
                  </a:lnTo>
                  <a:lnTo>
                    <a:pt x="310653" y="515047"/>
                  </a:lnTo>
                  <a:lnTo>
                    <a:pt x="307198" y="525411"/>
                  </a:lnTo>
                  <a:lnTo>
                    <a:pt x="310653" y="542685"/>
                  </a:lnTo>
                  <a:lnTo>
                    <a:pt x="307198" y="570417"/>
                  </a:lnTo>
                  <a:lnTo>
                    <a:pt x="293472" y="584236"/>
                  </a:lnTo>
                  <a:lnTo>
                    <a:pt x="279653" y="591146"/>
                  </a:lnTo>
                  <a:lnTo>
                    <a:pt x="255469" y="580781"/>
                  </a:lnTo>
                  <a:lnTo>
                    <a:pt x="245105" y="577327"/>
                  </a:lnTo>
                  <a:lnTo>
                    <a:pt x="234740" y="573872"/>
                  </a:lnTo>
                  <a:lnTo>
                    <a:pt x="231286" y="584236"/>
                  </a:lnTo>
                  <a:lnTo>
                    <a:pt x="234740" y="611875"/>
                  </a:lnTo>
                  <a:lnTo>
                    <a:pt x="234740" y="625694"/>
                  </a:lnTo>
                  <a:lnTo>
                    <a:pt x="245105" y="629149"/>
                  </a:lnTo>
                  <a:lnTo>
                    <a:pt x="258924" y="629149"/>
                  </a:lnTo>
                  <a:lnTo>
                    <a:pt x="258924" y="625694"/>
                  </a:lnTo>
                  <a:lnTo>
                    <a:pt x="265834" y="622239"/>
                  </a:lnTo>
                  <a:lnTo>
                    <a:pt x="272743" y="629149"/>
                  </a:lnTo>
                  <a:lnTo>
                    <a:pt x="272743" y="639513"/>
                  </a:lnTo>
                  <a:lnTo>
                    <a:pt x="262379" y="646423"/>
                  </a:lnTo>
                  <a:lnTo>
                    <a:pt x="255469" y="642968"/>
                  </a:lnTo>
                  <a:lnTo>
                    <a:pt x="252014" y="636058"/>
                  </a:lnTo>
                  <a:lnTo>
                    <a:pt x="245105" y="636058"/>
                  </a:lnTo>
                  <a:lnTo>
                    <a:pt x="238195" y="639513"/>
                  </a:lnTo>
                  <a:lnTo>
                    <a:pt x="241650" y="649878"/>
                  </a:lnTo>
                  <a:lnTo>
                    <a:pt x="234740" y="660242"/>
                  </a:lnTo>
                  <a:lnTo>
                    <a:pt x="224376" y="663697"/>
                  </a:lnTo>
                  <a:lnTo>
                    <a:pt x="227831" y="684426"/>
                  </a:lnTo>
                  <a:lnTo>
                    <a:pt x="217466" y="705248"/>
                  </a:lnTo>
                  <a:lnTo>
                    <a:pt x="214012" y="708703"/>
                  </a:lnTo>
                  <a:lnTo>
                    <a:pt x="203647" y="715612"/>
                  </a:lnTo>
                  <a:lnTo>
                    <a:pt x="182918" y="725977"/>
                  </a:lnTo>
                  <a:lnTo>
                    <a:pt x="162189" y="746706"/>
                  </a:lnTo>
                  <a:lnTo>
                    <a:pt x="165737" y="767434"/>
                  </a:lnTo>
                  <a:lnTo>
                    <a:pt x="182918" y="784708"/>
                  </a:lnTo>
                  <a:lnTo>
                    <a:pt x="182918" y="788163"/>
                  </a:lnTo>
                  <a:lnTo>
                    <a:pt x="193283" y="788163"/>
                  </a:lnTo>
                  <a:lnTo>
                    <a:pt x="210557" y="791618"/>
                  </a:lnTo>
                  <a:lnTo>
                    <a:pt x="210557" y="805437"/>
                  </a:lnTo>
                  <a:lnTo>
                    <a:pt x="203647" y="819256"/>
                  </a:lnTo>
                  <a:lnTo>
                    <a:pt x="179463" y="839985"/>
                  </a:lnTo>
                  <a:lnTo>
                    <a:pt x="162189" y="857259"/>
                  </a:lnTo>
                  <a:lnTo>
                    <a:pt x="155373" y="881536"/>
                  </a:lnTo>
                  <a:lnTo>
                    <a:pt x="151918" y="891901"/>
                  </a:lnTo>
                  <a:lnTo>
                    <a:pt x="131190" y="895356"/>
                  </a:lnTo>
                  <a:lnTo>
                    <a:pt x="120825" y="905720"/>
                  </a:lnTo>
                  <a:lnTo>
                    <a:pt x="113915" y="929904"/>
                  </a:lnTo>
                  <a:lnTo>
                    <a:pt x="117370" y="943723"/>
                  </a:lnTo>
                  <a:lnTo>
                    <a:pt x="124280" y="954087"/>
                  </a:lnTo>
                  <a:lnTo>
                    <a:pt x="134644" y="967907"/>
                  </a:lnTo>
                  <a:lnTo>
                    <a:pt x="131190" y="971361"/>
                  </a:lnTo>
                  <a:lnTo>
                    <a:pt x="103551" y="964452"/>
                  </a:lnTo>
                  <a:lnTo>
                    <a:pt x="58638" y="964452"/>
                  </a:lnTo>
                  <a:lnTo>
                    <a:pt x="41365" y="960997"/>
                  </a:lnTo>
                  <a:lnTo>
                    <a:pt x="31093" y="940268"/>
                  </a:lnTo>
                  <a:lnTo>
                    <a:pt x="31093" y="912630"/>
                  </a:lnTo>
                  <a:lnTo>
                    <a:pt x="10365" y="909175"/>
                  </a:lnTo>
                  <a:lnTo>
                    <a:pt x="3455" y="898811"/>
                  </a:lnTo>
                  <a:lnTo>
                    <a:pt x="0" y="881536"/>
                  </a:lnTo>
                  <a:lnTo>
                    <a:pt x="3455" y="864169"/>
                  </a:lnTo>
                  <a:lnTo>
                    <a:pt x="17274" y="850350"/>
                  </a:lnTo>
                  <a:lnTo>
                    <a:pt x="31093" y="829621"/>
                  </a:lnTo>
                  <a:lnTo>
                    <a:pt x="34548" y="798528"/>
                  </a:lnTo>
                  <a:lnTo>
                    <a:pt x="48274" y="777799"/>
                  </a:lnTo>
                  <a:lnTo>
                    <a:pt x="48274" y="732886"/>
                  </a:lnTo>
                  <a:lnTo>
                    <a:pt x="51729" y="712157"/>
                  </a:lnTo>
                  <a:lnTo>
                    <a:pt x="44819" y="691335"/>
                  </a:lnTo>
                  <a:lnTo>
                    <a:pt x="44819" y="656787"/>
                  </a:lnTo>
                  <a:lnTo>
                    <a:pt x="37909" y="649878"/>
                  </a:lnTo>
                  <a:lnTo>
                    <a:pt x="41365" y="622239"/>
                  </a:lnTo>
                  <a:lnTo>
                    <a:pt x="44819" y="601510"/>
                  </a:lnTo>
                  <a:lnTo>
                    <a:pt x="48274" y="549688"/>
                  </a:lnTo>
                  <a:lnTo>
                    <a:pt x="62093" y="521956"/>
                  </a:lnTo>
                  <a:lnTo>
                    <a:pt x="65548" y="511592"/>
                  </a:lnTo>
                  <a:lnTo>
                    <a:pt x="69003" y="504682"/>
                  </a:lnTo>
                  <a:lnTo>
                    <a:pt x="69003" y="480498"/>
                  </a:lnTo>
                  <a:lnTo>
                    <a:pt x="65548" y="439041"/>
                  </a:lnTo>
                  <a:lnTo>
                    <a:pt x="75912" y="428676"/>
                  </a:lnTo>
                  <a:lnTo>
                    <a:pt x="82822" y="421767"/>
                  </a:lnTo>
                  <a:lnTo>
                    <a:pt x="86277" y="387219"/>
                  </a:lnTo>
                  <a:lnTo>
                    <a:pt x="93187" y="373306"/>
                  </a:lnTo>
                  <a:lnTo>
                    <a:pt x="96641" y="338758"/>
                  </a:lnTo>
                  <a:lnTo>
                    <a:pt x="89732" y="311120"/>
                  </a:lnTo>
                  <a:lnTo>
                    <a:pt x="82822" y="297300"/>
                  </a:lnTo>
                  <a:lnTo>
                    <a:pt x="82822" y="269662"/>
                  </a:lnTo>
                  <a:lnTo>
                    <a:pt x="89732" y="255843"/>
                  </a:lnTo>
                  <a:lnTo>
                    <a:pt x="96641" y="207382"/>
                  </a:lnTo>
                  <a:lnTo>
                    <a:pt x="110461" y="183198"/>
                  </a:lnTo>
                  <a:lnTo>
                    <a:pt x="127735" y="159015"/>
                  </a:lnTo>
                  <a:lnTo>
                    <a:pt x="138099" y="141740"/>
                  </a:lnTo>
                  <a:lnTo>
                    <a:pt x="131190" y="89918"/>
                  </a:lnTo>
                  <a:lnTo>
                    <a:pt x="141554" y="79554"/>
                  </a:lnTo>
                  <a:lnTo>
                    <a:pt x="155373" y="72644"/>
                  </a:lnTo>
                  <a:lnTo>
                    <a:pt x="172554" y="51822"/>
                  </a:lnTo>
                  <a:lnTo>
                    <a:pt x="176009" y="31093"/>
                  </a:lnTo>
                  <a:close/>
                </a:path>
              </a:pathLst>
            </a:custGeom>
            <a:solidFill>
              <a:srgbClr val="CEE3BF"/>
            </a:solidFill>
            <a:ln w="9334" cap="flat">
              <a:noFill/>
              <a:prstDash val="solid"/>
              <a:miter/>
            </a:ln>
          </p:spPr>
          <p:txBody>
            <a:bodyPr rtlCol="0" anchor="ctr"/>
            <a:lstStyle/>
            <a:p>
              <a:endParaRPr lang="en-GB" dirty="0"/>
            </a:p>
          </p:txBody>
        </p:sp>
        <p:sp>
          <p:nvSpPr>
            <p:cNvPr id="996" name="Freeform: Shape 995">
              <a:extLst>
                <a:ext uri="{FF2B5EF4-FFF2-40B4-BE49-F238E27FC236}">
                  <a16:creationId xmlns:a16="http://schemas.microsoft.com/office/drawing/2014/main" id="{4E54FF51-8BDC-4A2D-83BD-7348CC49A563}"/>
                </a:ext>
              </a:extLst>
            </p:cNvPr>
            <p:cNvSpPr/>
            <p:nvPr/>
          </p:nvSpPr>
          <p:spPr>
            <a:xfrm>
              <a:off x="3765241" y="4999796"/>
              <a:ext cx="234740" cy="1161562"/>
            </a:xfrm>
            <a:custGeom>
              <a:avLst/>
              <a:gdLst>
                <a:gd name="connsiteX0" fmla="*/ 145009 w 234740"/>
                <a:gd name="connsiteY0" fmla="*/ 31187 h 1161562"/>
                <a:gd name="connsiteX1" fmla="*/ 155373 w 234740"/>
                <a:gd name="connsiteY1" fmla="*/ 27732 h 1161562"/>
                <a:gd name="connsiteX2" fmla="*/ 165737 w 234740"/>
                <a:gd name="connsiteY2" fmla="*/ 3455 h 1161562"/>
                <a:gd name="connsiteX3" fmla="*/ 169192 w 234740"/>
                <a:gd name="connsiteY3" fmla="*/ 0 h 1161562"/>
                <a:gd name="connsiteX4" fmla="*/ 176102 w 234740"/>
                <a:gd name="connsiteY4" fmla="*/ 20822 h 1161562"/>
                <a:gd name="connsiteX5" fmla="*/ 193376 w 234740"/>
                <a:gd name="connsiteY5" fmla="*/ 65735 h 1161562"/>
                <a:gd name="connsiteX6" fmla="*/ 193376 w 234740"/>
                <a:gd name="connsiteY6" fmla="*/ 96828 h 1161562"/>
                <a:gd name="connsiteX7" fmla="*/ 207195 w 234740"/>
                <a:gd name="connsiteY7" fmla="*/ 117557 h 1161562"/>
                <a:gd name="connsiteX8" fmla="*/ 214105 w 234740"/>
                <a:gd name="connsiteY8" fmla="*/ 141740 h 1161562"/>
                <a:gd name="connsiteX9" fmla="*/ 217559 w 234740"/>
                <a:gd name="connsiteY9" fmla="*/ 165924 h 1161562"/>
                <a:gd name="connsiteX10" fmla="*/ 234740 w 234740"/>
                <a:gd name="connsiteY10" fmla="*/ 165924 h 1161562"/>
                <a:gd name="connsiteX11" fmla="*/ 231285 w 234740"/>
                <a:gd name="connsiteY11" fmla="*/ 186653 h 1161562"/>
                <a:gd name="connsiteX12" fmla="*/ 214105 w 234740"/>
                <a:gd name="connsiteY12" fmla="*/ 207475 h 1161562"/>
                <a:gd name="connsiteX13" fmla="*/ 200285 w 234740"/>
                <a:gd name="connsiteY13" fmla="*/ 214385 h 1161562"/>
                <a:gd name="connsiteX14" fmla="*/ 189921 w 234740"/>
                <a:gd name="connsiteY14" fmla="*/ 224749 h 1161562"/>
                <a:gd name="connsiteX15" fmla="*/ 196831 w 234740"/>
                <a:gd name="connsiteY15" fmla="*/ 276571 h 1161562"/>
                <a:gd name="connsiteX16" fmla="*/ 165737 w 234740"/>
                <a:gd name="connsiteY16" fmla="*/ 321484 h 1161562"/>
                <a:gd name="connsiteX17" fmla="*/ 155373 w 234740"/>
                <a:gd name="connsiteY17" fmla="*/ 342213 h 1161562"/>
                <a:gd name="connsiteX18" fmla="*/ 148463 w 234740"/>
                <a:gd name="connsiteY18" fmla="*/ 383764 h 1161562"/>
                <a:gd name="connsiteX19" fmla="*/ 141554 w 234740"/>
                <a:gd name="connsiteY19" fmla="*/ 404493 h 1161562"/>
                <a:gd name="connsiteX20" fmla="*/ 141554 w 234740"/>
                <a:gd name="connsiteY20" fmla="*/ 432131 h 1161562"/>
                <a:gd name="connsiteX21" fmla="*/ 155373 w 234740"/>
                <a:gd name="connsiteY21" fmla="*/ 473589 h 1161562"/>
                <a:gd name="connsiteX22" fmla="*/ 151918 w 234740"/>
                <a:gd name="connsiteY22" fmla="*/ 504682 h 1161562"/>
                <a:gd name="connsiteX23" fmla="*/ 145009 w 234740"/>
                <a:gd name="connsiteY23" fmla="*/ 522050 h 1161562"/>
                <a:gd name="connsiteX24" fmla="*/ 141554 w 234740"/>
                <a:gd name="connsiteY24" fmla="*/ 556598 h 1161562"/>
                <a:gd name="connsiteX25" fmla="*/ 124280 w 234740"/>
                <a:gd name="connsiteY25" fmla="*/ 573872 h 1161562"/>
                <a:gd name="connsiteX26" fmla="*/ 127734 w 234740"/>
                <a:gd name="connsiteY26" fmla="*/ 611875 h 1161562"/>
                <a:gd name="connsiteX27" fmla="*/ 127734 w 234740"/>
                <a:gd name="connsiteY27" fmla="*/ 639513 h 1161562"/>
                <a:gd name="connsiteX28" fmla="*/ 107006 w 234740"/>
                <a:gd name="connsiteY28" fmla="*/ 684519 h 1161562"/>
                <a:gd name="connsiteX29" fmla="*/ 103551 w 234740"/>
                <a:gd name="connsiteY29" fmla="*/ 736341 h 1161562"/>
                <a:gd name="connsiteX30" fmla="*/ 100096 w 234740"/>
                <a:gd name="connsiteY30" fmla="*/ 757070 h 1161562"/>
                <a:gd name="connsiteX31" fmla="*/ 96641 w 234740"/>
                <a:gd name="connsiteY31" fmla="*/ 784708 h 1161562"/>
                <a:gd name="connsiteX32" fmla="*/ 103551 w 234740"/>
                <a:gd name="connsiteY32" fmla="*/ 791618 h 1161562"/>
                <a:gd name="connsiteX33" fmla="*/ 103551 w 234740"/>
                <a:gd name="connsiteY33" fmla="*/ 826166 h 1161562"/>
                <a:gd name="connsiteX34" fmla="*/ 110460 w 234740"/>
                <a:gd name="connsiteY34" fmla="*/ 846988 h 1161562"/>
                <a:gd name="connsiteX35" fmla="*/ 107006 w 234740"/>
                <a:gd name="connsiteY35" fmla="*/ 867717 h 1161562"/>
                <a:gd name="connsiteX36" fmla="*/ 107006 w 234740"/>
                <a:gd name="connsiteY36" fmla="*/ 912630 h 1161562"/>
                <a:gd name="connsiteX37" fmla="*/ 93280 w 234740"/>
                <a:gd name="connsiteY37" fmla="*/ 933358 h 1161562"/>
                <a:gd name="connsiteX38" fmla="*/ 89825 w 234740"/>
                <a:gd name="connsiteY38" fmla="*/ 964452 h 1161562"/>
                <a:gd name="connsiteX39" fmla="*/ 76006 w 234740"/>
                <a:gd name="connsiteY39" fmla="*/ 985181 h 1161562"/>
                <a:gd name="connsiteX40" fmla="*/ 62186 w 234740"/>
                <a:gd name="connsiteY40" fmla="*/ 999000 h 1161562"/>
                <a:gd name="connsiteX41" fmla="*/ 58732 w 234740"/>
                <a:gd name="connsiteY41" fmla="*/ 1016367 h 1161562"/>
                <a:gd name="connsiteX42" fmla="*/ 62186 w 234740"/>
                <a:gd name="connsiteY42" fmla="*/ 1030187 h 1161562"/>
                <a:gd name="connsiteX43" fmla="*/ 69096 w 234740"/>
                <a:gd name="connsiteY43" fmla="*/ 1044006 h 1161562"/>
                <a:gd name="connsiteX44" fmla="*/ 89825 w 234740"/>
                <a:gd name="connsiteY44" fmla="*/ 1047460 h 1161562"/>
                <a:gd name="connsiteX45" fmla="*/ 89825 w 234740"/>
                <a:gd name="connsiteY45" fmla="*/ 1075099 h 1161562"/>
                <a:gd name="connsiteX46" fmla="*/ 100096 w 234740"/>
                <a:gd name="connsiteY46" fmla="*/ 1095828 h 1161562"/>
                <a:gd name="connsiteX47" fmla="*/ 117370 w 234740"/>
                <a:gd name="connsiteY47" fmla="*/ 1099283 h 1161562"/>
                <a:gd name="connsiteX48" fmla="*/ 162282 w 234740"/>
                <a:gd name="connsiteY48" fmla="*/ 1099283 h 1161562"/>
                <a:gd name="connsiteX49" fmla="*/ 165737 w 234740"/>
                <a:gd name="connsiteY49" fmla="*/ 1113102 h 1161562"/>
                <a:gd name="connsiteX50" fmla="*/ 151918 w 234740"/>
                <a:gd name="connsiteY50" fmla="*/ 1120012 h 1161562"/>
                <a:gd name="connsiteX51" fmla="*/ 138099 w 234740"/>
                <a:gd name="connsiteY51" fmla="*/ 1123466 h 1161562"/>
                <a:gd name="connsiteX52" fmla="*/ 127734 w 234740"/>
                <a:gd name="connsiteY52" fmla="*/ 1133831 h 1161562"/>
                <a:gd name="connsiteX53" fmla="*/ 127734 w 234740"/>
                <a:gd name="connsiteY53" fmla="*/ 1151105 h 1161562"/>
                <a:gd name="connsiteX54" fmla="*/ 124280 w 234740"/>
                <a:gd name="connsiteY54" fmla="*/ 1161563 h 1161562"/>
                <a:gd name="connsiteX55" fmla="*/ 110460 w 234740"/>
                <a:gd name="connsiteY55" fmla="*/ 1161563 h 1161562"/>
                <a:gd name="connsiteX56" fmla="*/ 100096 w 234740"/>
                <a:gd name="connsiteY56" fmla="*/ 1154560 h 1161562"/>
                <a:gd name="connsiteX57" fmla="*/ 103551 w 234740"/>
                <a:gd name="connsiteY57" fmla="*/ 1147650 h 1161562"/>
                <a:gd name="connsiteX58" fmla="*/ 113915 w 234740"/>
                <a:gd name="connsiteY58" fmla="*/ 1140741 h 1161562"/>
                <a:gd name="connsiteX59" fmla="*/ 120825 w 234740"/>
                <a:gd name="connsiteY59" fmla="*/ 1126921 h 1161562"/>
                <a:gd name="connsiteX60" fmla="*/ 110460 w 234740"/>
                <a:gd name="connsiteY60" fmla="*/ 1120012 h 1161562"/>
                <a:gd name="connsiteX61" fmla="*/ 96641 w 234740"/>
                <a:gd name="connsiteY61" fmla="*/ 1130376 h 1161562"/>
                <a:gd name="connsiteX62" fmla="*/ 89825 w 234740"/>
                <a:gd name="connsiteY62" fmla="*/ 1144195 h 1161562"/>
                <a:gd name="connsiteX63" fmla="*/ 76006 w 234740"/>
                <a:gd name="connsiteY63" fmla="*/ 1140741 h 1161562"/>
                <a:gd name="connsiteX64" fmla="*/ 65641 w 234740"/>
                <a:gd name="connsiteY64" fmla="*/ 1130376 h 1161562"/>
                <a:gd name="connsiteX65" fmla="*/ 79460 w 234740"/>
                <a:gd name="connsiteY65" fmla="*/ 1120012 h 1161562"/>
                <a:gd name="connsiteX66" fmla="*/ 82915 w 234740"/>
                <a:gd name="connsiteY66" fmla="*/ 1113102 h 1161562"/>
                <a:gd name="connsiteX67" fmla="*/ 79460 w 234740"/>
                <a:gd name="connsiteY67" fmla="*/ 1106192 h 1161562"/>
                <a:gd name="connsiteX68" fmla="*/ 65641 w 234740"/>
                <a:gd name="connsiteY68" fmla="*/ 1116557 h 1161562"/>
                <a:gd name="connsiteX69" fmla="*/ 48367 w 234740"/>
                <a:gd name="connsiteY69" fmla="*/ 1116557 h 1161562"/>
                <a:gd name="connsiteX70" fmla="*/ 51822 w 234740"/>
                <a:gd name="connsiteY70" fmla="*/ 1102738 h 1161562"/>
                <a:gd name="connsiteX71" fmla="*/ 72551 w 234740"/>
                <a:gd name="connsiteY71" fmla="*/ 1092373 h 1161562"/>
                <a:gd name="connsiteX72" fmla="*/ 72551 w 234740"/>
                <a:gd name="connsiteY72" fmla="*/ 1085463 h 1161562"/>
                <a:gd name="connsiteX73" fmla="*/ 58732 w 234740"/>
                <a:gd name="connsiteY73" fmla="*/ 1088918 h 1161562"/>
                <a:gd name="connsiteX74" fmla="*/ 44912 w 234740"/>
                <a:gd name="connsiteY74" fmla="*/ 1088918 h 1161562"/>
                <a:gd name="connsiteX75" fmla="*/ 48367 w 234740"/>
                <a:gd name="connsiteY75" fmla="*/ 1075099 h 1161562"/>
                <a:gd name="connsiteX76" fmla="*/ 38003 w 234740"/>
                <a:gd name="connsiteY76" fmla="*/ 1068189 h 1161562"/>
                <a:gd name="connsiteX77" fmla="*/ 34548 w 234740"/>
                <a:gd name="connsiteY77" fmla="*/ 1047460 h 1161562"/>
                <a:gd name="connsiteX78" fmla="*/ 34548 w 234740"/>
                <a:gd name="connsiteY78" fmla="*/ 1040551 h 1161562"/>
                <a:gd name="connsiteX79" fmla="*/ 34548 w 234740"/>
                <a:gd name="connsiteY79" fmla="*/ 1026732 h 1161562"/>
                <a:gd name="connsiteX80" fmla="*/ 27638 w 234740"/>
                <a:gd name="connsiteY80" fmla="*/ 1019822 h 1161562"/>
                <a:gd name="connsiteX81" fmla="*/ 17274 w 234740"/>
                <a:gd name="connsiteY81" fmla="*/ 1005910 h 1161562"/>
                <a:gd name="connsiteX82" fmla="*/ 10364 w 234740"/>
                <a:gd name="connsiteY82" fmla="*/ 992090 h 1161562"/>
                <a:gd name="connsiteX83" fmla="*/ 13819 w 234740"/>
                <a:gd name="connsiteY83" fmla="*/ 964452 h 1161562"/>
                <a:gd name="connsiteX84" fmla="*/ 24184 w 234740"/>
                <a:gd name="connsiteY84" fmla="*/ 964452 h 1161562"/>
                <a:gd name="connsiteX85" fmla="*/ 27638 w 234740"/>
                <a:gd name="connsiteY85" fmla="*/ 967907 h 1161562"/>
                <a:gd name="connsiteX86" fmla="*/ 31093 w 234740"/>
                <a:gd name="connsiteY86" fmla="*/ 981726 h 1161562"/>
                <a:gd name="connsiteX87" fmla="*/ 41457 w 234740"/>
                <a:gd name="connsiteY87" fmla="*/ 978271 h 1161562"/>
                <a:gd name="connsiteX88" fmla="*/ 41457 w 234740"/>
                <a:gd name="connsiteY88" fmla="*/ 960997 h 1161562"/>
                <a:gd name="connsiteX89" fmla="*/ 48367 w 234740"/>
                <a:gd name="connsiteY89" fmla="*/ 960997 h 1161562"/>
                <a:gd name="connsiteX90" fmla="*/ 55277 w 234740"/>
                <a:gd name="connsiteY90" fmla="*/ 957542 h 1161562"/>
                <a:gd name="connsiteX91" fmla="*/ 55277 w 234740"/>
                <a:gd name="connsiteY91" fmla="*/ 943723 h 1161562"/>
                <a:gd name="connsiteX92" fmla="*/ 48367 w 234740"/>
                <a:gd name="connsiteY92" fmla="*/ 947178 h 1161562"/>
                <a:gd name="connsiteX93" fmla="*/ 34548 w 234740"/>
                <a:gd name="connsiteY93" fmla="*/ 950633 h 1161562"/>
                <a:gd name="connsiteX94" fmla="*/ 31093 w 234740"/>
                <a:gd name="connsiteY94" fmla="*/ 940268 h 1161562"/>
                <a:gd name="connsiteX95" fmla="*/ 31093 w 234740"/>
                <a:gd name="connsiteY95" fmla="*/ 926449 h 1161562"/>
                <a:gd name="connsiteX96" fmla="*/ 41457 w 234740"/>
                <a:gd name="connsiteY96" fmla="*/ 922994 h 1161562"/>
                <a:gd name="connsiteX97" fmla="*/ 41457 w 234740"/>
                <a:gd name="connsiteY97" fmla="*/ 916085 h 1161562"/>
                <a:gd name="connsiteX98" fmla="*/ 27638 w 234740"/>
                <a:gd name="connsiteY98" fmla="*/ 916085 h 1161562"/>
                <a:gd name="connsiteX99" fmla="*/ 0 w 234740"/>
                <a:gd name="connsiteY99" fmla="*/ 916085 h 1161562"/>
                <a:gd name="connsiteX100" fmla="*/ 10364 w 234740"/>
                <a:gd name="connsiteY100" fmla="*/ 902265 h 1161562"/>
                <a:gd name="connsiteX101" fmla="*/ 17274 w 234740"/>
                <a:gd name="connsiteY101" fmla="*/ 888446 h 1161562"/>
                <a:gd name="connsiteX102" fmla="*/ 27638 w 234740"/>
                <a:gd name="connsiteY102" fmla="*/ 874627 h 1161562"/>
                <a:gd name="connsiteX103" fmla="*/ 38003 w 234740"/>
                <a:gd name="connsiteY103" fmla="*/ 867717 h 1161562"/>
                <a:gd name="connsiteX104" fmla="*/ 41457 w 234740"/>
                <a:gd name="connsiteY104" fmla="*/ 874627 h 1161562"/>
                <a:gd name="connsiteX105" fmla="*/ 48367 w 234740"/>
                <a:gd name="connsiteY105" fmla="*/ 895356 h 1161562"/>
                <a:gd name="connsiteX106" fmla="*/ 62186 w 234740"/>
                <a:gd name="connsiteY106" fmla="*/ 878082 h 1161562"/>
                <a:gd name="connsiteX107" fmla="*/ 72551 w 234740"/>
                <a:gd name="connsiteY107" fmla="*/ 853898 h 1161562"/>
                <a:gd name="connsiteX108" fmla="*/ 69096 w 234740"/>
                <a:gd name="connsiteY108" fmla="*/ 836624 h 1161562"/>
                <a:gd name="connsiteX109" fmla="*/ 65641 w 234740"/>
                <a:gd name="connsiteY109" fmla="*/ 815802 h 1161562"/>
                <a:gd name="connsiteX110" fmla="*/ 76006 w 234740"/>
                <a:gd name="connsiteY110" fmla="*/ 798528 h 1161562"/>
                <a:gd name="connsiteX111" fmla="*/ 72551 w 234740"/>
                <a:gd name="connsiteY111" fmla="*/ 781254 h 1161562"/>
                <a:gd name="connsiteX112" fmla="*/ 76006 w 234740"/>
                <a:gd name="connsiteY112" fmla="*/ 770889 h 1161562"/>
                <a:gd name="connsiteX113" fmla="*/ 79460 w 234740"/>
                <a:gd name="connsiteY113" fmla="*/ 760525 h 1161562"/>
                <a:gd name="connsiteX114" fmla="*/ 79460 w 234740"/>
                <a:gd name="connsiteY114" fmla="*/ 739796 h 1161562"/>
                <a:gd name="connsiteX115" fmla="*/ 69096 w 234740"/>
                <a:gd name="connsiteY115" fmla="*/ 736341 h 1161562"/>
                <a:gd name="connsiteX116" fmla="*/ 62186 w 234740"/>
                <a:gd name="connsiteY116" fmla="*/ 739796 h 1161562"/>
                <a:gd name="connsiteX117" fmla="*/ 58732 w 234740"/>
                <a:gd name="connsiteY117" fmla="*/ 757070 h 1161562"/>
                <a:gd name="connsiteX118" fmla="*/ 55277 w 234740"/>
                <a:gd name="connsiteY118" fmla="*/ 767434 h 1161562"/>
                <a:gd name="connsiteX119" fmla="*/ 55277 w 234740"/>
                <a:gd name="connsiteY119" fmla="*/ 788163 h 1161562"/>
                <a:gd name="connsiteX120" fmla="*/ 48367 w 234740"/>
                <a:gd name="connsiteY120" fmla="*/ 798528 h 1161562"/>
                <a:gd name="connsiteX121" fmla="*/ 38003 w 234740"/>
                <a:gd name="connsiteY121" fmla="*/ 791618 h 1161562"/>
                <a:gd name="connsiteX122" fmla="*/ 38003 w 234740"/>
                <a:gd name="connsiteY122" fmla="*/ 777799 h 1161562"/>
                <a:gd name="connsiteX123" fmla="*/ 38003 w 234740"/>
                <a:gd name="connsiteY123" fmla="*/ 757070 h 1161562"/>
                <a:gd name="connsiteX124" fmla="*/ 44912 w 234740"/>
                <a:gd name="connsiteY124" fmla="*/ 743251 h 1161562"/>
                <a:gd name="connsiteX125" fmla="*/ 48367 w 234740"/>
                <a:gd name="connsiteY125" fmla="*/ 736341 h 1161562"/>
                <a:gd name="connsiteX126" fmla="*/ 48367 w 234740"/>
                <a:gd name="connsiteY126" fmla="*/ 719067 h 1161562"/>
                <a:gd name="connsiteX127" fmla="*/ 51822 w 234740"/>
                <a:gd name="connsiteY127" fmla="*/ 694883 h 1161562"/>
                <a:gd name="connsiteX128" fmla="*/ 55277 w 234740"/>
                <a:gd name="connsiteY128" fmla="*/ 680971 h 1161562"/>
                <a:gd name="connsiteX129" fmla="*/ 69096 w 234740"/>
                <a:gd name="connsiteY129" fmla="*/ 667152 h 1161562"/>
                <a:gd name="connsiteX130" fmla="*/ 62186 w 234740"/>
                <a:gd name="connsiteY130" fmla="*/ 649878 h 1161562"/>
                <a:gd name="connsiteX131" fmla="*/ 58732 w 234740"/>
                <a:gd name="connsiteY131" fmla="*/ 632603 h 1161562"/>
                <a:gd name="connsiteX132" fmla="*/ 58732 w 234740"/>
                <a:gd name="connsiteY132" fmla="*/ 618784 h 1161562"/>
                <a:gd name="connsiteX133" fmla="*/ 55277 w 234740"/>
                <a:gd name="connsiteY133" fmla="*/ 598056 h 1161562"/>
                <a:gd name="connsiteX134" fmla="*/ 65641 w 234740"/>
                <a:gd name="connsiteY134" fmla="*/ 598056 h 1161562"/>
                <a:gd name="connsiteX135" fmla="*/ 72551 w 234740"/>
                <a:gd name="connsiteY135" fmla="*/ 573872 h 1161562"/>
                <a:gd name="connsiteX136" fmla="*/ 82915 w 234740"/>
                <a:gd name="connsiteY136" fmla="*/ 553143 h 1161562"/>
                <a:gd name="connsiteX137" fmla="*/ 89825 w 234740"/>
                <a:gd name="connsiteY137" fmla="*/ 532414 h 1161562"/>
                <a:gd name="connsiteX138" fmla="*/ 100096 w 234740"/>
                <a:gd name="connsiteY138" fmla="*/ 504682 h 1161562"/>
                <a:gd name="connsiteX139" fmla="*/ 103551 w 234740"/>
                <a:gd name="connsiteY139" fmla="*/ 480498 h 1161562"/>
                <a:gd name="connsiteX140" fmla="*/ 110460 w 234740"/>
                <a:gd name="connsiteY140" fmla="*/ 466679 h 1161562"/>
                <a:gd name="connsiteX141" fmla="*/ 107006 w 234740"/>
                <a:gd name="connsiteY141" fmla="*/ 401038 h 1161562"/>
                <a:gd name="connsiteX142" fmla="*/ 107006 w 234740"/>
                <a:gd name="connsiteY142" fmla="*/ 380309 h 1161562"/>
                <a:gd name="connsiteX143" fmla="*/ 120825 w 234740"/>
                <a:gd name="connsiteY143" fmla="*/ 369945 h 1161562"/>
                <a:gd name="connsiteX144" fmla="*/ 120825 w 234740"/>
                <a:gd name="connsiteY144" fmla="*/ 356126 h 1161562"/>
                <a:gd name="connsiteX145" fmla="*/ 113915 w 234740"/>
                <a:gd name="connsiteY145" fmla="*/ 345668 h 1161562"/>
                <a:gd name="connsiteX146" fmla="*/ 120825 w 234740"/>
                <a:gd name="connsiteY146" fmla="*/ 335303 h 1161562"/>
                <a:gd name="connsiteX147" fmla="*/ 127734 w 234740"/>
                <a:gd name="connsiteY147" fmla="*/ 300755 h 1161562"/>
                <a:gd name="connsiteX148" fmla="*/ 138099 w 234740"/>
                <a:gd name="connsiteY148" fmla="*/ 248933 h 1161562"/>
                <a:gd name="connsiteX149" fmla="*/ 141554 w 234740"/>
                <a:gd name="connsiteY149" fmla="*/ 169379 h 1161562"/>
                <a:gd name="connsiteX150" fmla="*/ 151918 w 234740"/>
                <a:gd name="connsiteY150" fmla="*/ 89918 h 1161562"/>
                <a:gd name="connsiteX151" fmla="*/ 148463 w 234740"/>
                <a:gd name="connsiteY151" fmla="*/ 48461 h 1161562"/>
                <a:gd name="connsiteX152" fmla="*/ 145009 w 234740"/>
                <a:gd name="connsiteY152" fmla="*/ 31187 h 116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34740" h="1161562">
                  <a:moveTo>
                    <a:pt x="145009" y="31187"/>
                  </a:moveTo>
                  <a:lnTo>
                    <a:pt x="155373" y="27732"/>
                  </a:lnTo>
                  <a:lnTo>
                    <a:pt x="165737" y="3455"/>
                  </a:lnTo>
                  <a:lnTo>
                    <a:pt x="169192" y="0"/>
                  </a:lnTo>
                  <a:lnTo>
                    <a:pt x="176102" y="20822"/>
                  </a:lnTo>
                  <a:lnTo>
                    <a:pt x="193376" y="65735"/>
                  </a:lnTo>
                  <a:lnTo>
                    <a:pt x="193376" y="96828"/>
                  </a:lnTo>
                  <a:lnTo>
                    <a:pt x="207195" y="117557"/>
                  </a:lnTo>
                  <a:lnTo>
                    <a:pt x="214105" y="141740"/>
                  </a:lnTo>
                  <a:lnTo>
                    <a:pt x="217559" y="165924"/>
                  </a:lnTo>
                  <a:lnTo>
                    <a:pt x="234740" y="165924"/>
                  </a:lnTo>
                  <a:lnTo>
                    <a:pt x="231285" y="186653"/>
                  </a:lnTo>
                  <a:lnTo>
                    <a:pt x="214105" y="207475"/>
                  </a:lnTo>
                  <a:lnTo>
                    <a:pt x="200285" y="214385"/>
                  </a:lnTo>
                  <a:lnTo>
                    <a:pt x="189921" y="224749"/>
                  </a:lnTo>
                  <a:lnTo>
                    <a:pt x="196831" y="276571"/>
                  </a:lnTo>
                  <a:lnTo>
                    <a:pt x="165737" y="321484"/>
                  </a:lnTo>
                  <a:lnTo>
                    <a:pt x="155373" y="342213"/>
                  </a:lnTo>
                  <a:lnTo>
                    <a:pt x="148463" y="383764"/>
                  </a:lnTo>
                  <a:lnTo>
                    <a:pt x="141554" y="404493"/>
                  </a:lnTo>
                  <a:lnTo>
                    <a:pt x="141554" y="432131"/>
                  </a:lnTo>
                  <a:lnTo>
                    <a:pt x="155373" y="473589"/>
                  </a:lnTo>
                  <a:lnTo>
                    <a:pt x="151918" y="504682"/>
                  </a:lnTo>
                  <a:lnTo>
                    <a:pt x="145009" y="522050"/>
                  </a:lnTo>
                  <a:lnTo>
                    <a:pt x="141554" y="556598"/>
                  </a:lnTo>
                  <a:lnTo>
                    <a:pt x="124280" y="573872"/>
                  </a:lnTo>
                  <a:lnTo>
                    <a:pt x="127734" y="611875"/>
                  </a:lnTo>
                  <a:lnTo>
                    <a:pt x="127734" y="639513"/>
                  </a:lnTo>
                  <a:lnTo>
                    <a:pt x="107006" y="684519"/>
                  </a:lnTo>
                  <a:lnTo>
                    <a:pt x="103551" y="736341"/>
                  </a:lnTo>
                  <a:lnTo>
                    <a:pt x="100096" y="757070"/>
                  </a:lnTo>
                  <a:lnTo>
                    <a:pt x="96641" y="784708"/>
                  </a:lnTo>
                  <a:lnTo>
                    <a:pt x="103551" y="791618"/>
                  </a:lnTo>
                  <a:lnTo>
                    <a:pt x="103551" y="826166"/>
                  </a:lnTo>
                  <a:lnTo>
                    <a:pt x="110460" y="846988"/>
                  </a:lnTo>
                  <a:lnTo>
                    <a:pt x="107006" y="867717"/>
                  </a:lnTo>
                  <a:lnTo>
                    <a:pt x="107006" y="912630"/>
                  </a:lnTo>
                  <a:lnTo>
                    <a:pt x="93280" y="933358"/>
                  </a:lnTo>
                  <a:lnTo>
                    <a:pt x="89825" y="964452"/>
                  </a:lnTo>
                  <a:lnTo>
                    <a:pt x="76006" y="985181"/>
                  </a:lnTo>
                  <a:lnTo>
                    <a:pt x="62186" y="999000"/>
                  </a:lnTo>
                  <a:lnTo>
                    <a:pt x="58732" y="1016367"/>
                  </a:lnTo>
                  <a:lnTo>
                    <a:pt x="62186" y="1030187"/>
                  </a:lnTo>
                  <a:lnTo>
                    <a:pt x="69096" y="1044006"/>
                  </a:lnTo>
                  <a:lnTo>
                    <a:pt x="89825" y="1047460"/>
                  </a:lnTo>
                  <a:lnTo>
                    <a:pt x="89825" y="1075099"/>
                  </a:lnTo>
                  <a:lnTo>
                    <a:pt x="100096" y="1095828"/>
                  </a:lnTo>
                  <a:lnTo>
                    <a:pt x="117370" y="1099283"/>
                  </a:lnTo>
                  <a:lnTo>
                    <a:pt x="162282" y="1099283"/>
                  </a:lnTo>
                  <a:lnTo>
                    <a:pt x="165737" y="1113102"/>
                  </a:lnTo>
                  <a:lnTo>
                    <a:pt x="151918" y="1120012"/>
                  </a:lnTo>
                  <a:lnTo>
                    <a:pt x="138099" y="1123466"/>
                  </a:lnTo>
                  <a:lnTo>
                    <a:pt x="127734" y="1133831"/>
                  </a:lnTo>
                  <a:lnTo>
                    <a:pt x="127734" y="1151105"/>
                  </a:lnTo>
                  <a:lnTo>
                    <a:pt x="124280" y="1161563"/>
                  </a:lnTo>
                  <a:lnTo>
                    <a:pt x="110460" y="1161563"/>
                  </a:lnTo>
                  <a:lnTo>
                    <a:pt x="100096" y="1154560"/>
                  </a:lnTo>
                  <a:lnTo>
                    <a:pt x="103551" y="1147650"/>
                  </a:lnTo>
                  <a:lnTo>
                    <a:pt x="113915" y="1140741"/>
                  </a:lnTo>
                  <a:lnTo>
                    <a:pt x="120825" y="1126921"/>
                  </a:lnTo>
                  <a:lnTo>
                    <a:pt x="110460" y="1120012"/>
                  </a:lnTo>
                  <a:lnTo>
                    <a:pt x="96641" y="1130376"/>
                  </a:lnTo>
                  <a:lnTo>
                    <a:pt x="89825" y="1144195"/>
                  </a:lnTo>
                  <a:lnTo>
                    <a:pt x="76006" y="1140741"/>
                  </a:lnTo>
                  <a:lnTo>
                    <a:pt x="65641" y="1130376"/>
                  </a:lnTo>
                  <a:lnTo>
                    <a:pt x="79460" y="1120012"/>
                  </a:lnTo>
                  <a:lnTo>
                    <a:pt x="82915" y="1113102"/>
                  </a:lnTo>
                  <a:lnTo>
                    <a:pt x="79460" y="1106192"/>
                  </a:lnTo>
                  <a:lnTo>
                    <a:pt x="65641" y="1116557"/>
                  </a:lnTo>
                  <a:lnTo>
                    <a:pt x="48367" y="1116557"/>
                  </a:lnTo>
                  <a:lnTo>
                    <a:pt x="51822" y="1102738"/>
                  </a:lnTo>
                  <a:lnTo>
                    <a:pt x="72551" y="1092373"/>
                  </a:lnTo>
                  <a:lnTo>
                    <a:pt x="72551" y="1085463"/>
                  </a:lnTo>
                  <a:lnTo>
                    <a:pt x="58732" y="1088918"/>
                  </a:lnTo>
                  <a:lnTo>
                    <a:pt x="44912" y="1088918"/>
                  </a:lnTo>
                  <a:lnTo>
                    <a:pt x="48367" y="1075099"/>
                  </a:lnTo>
                  <a:lnTo>
                    <a:pt x="38003" y="1068189"/>
                  </a:lnTo>
                  <a:lnTo>
                    <a:pt x="34548" y="1047460"/>
                  </a:lnTo>
                  <a:lnTo>
                    <a:pt x="34548" y="1040551"/>
                  </a:lnTo>
                  <a:lnTo>
                    <a:pt x="34548" y="1026732"/>
                  </a:lnTo>
                  <a:lnTo>
                    <a:pt x="27638" y="1019822"/>
                  </a:lnTo>
                  <a:lnTo>
                    <a:pt x="17274" y="1005910"/>
                  </a:lnTo>
                  <a:lnTo>
                    <a:pt x="10364" y="992090"/>
                  </a:lnTo>
                  <a:lnTo>
                    <a:pt x="13819" y="964452"/>
                  </a:lnTo>
                  <a:lnTo>
                    <a:pt x="24184" y="964452"/>
                  </a:lnTo>
                  <a:lnTo>
                    <a:pt x="27638" y="967907"/>
                  </a:lnTo>
                  <a:lnTo>
                    <a:pt x="31093" y="981726"/>
                  </a:lnTo>
                  <a:lnTo>
                    <a:pt x="41457" y="978271"/>
                  </a:lnTo>
                  <a:lnTo>
                    <a:pt x="41457" y="960997"/>
                  </a:lnTo>
                  <a:lnTo>
                    <a:pt x="48367" y="960997"/>
                  </a:lnTo>
                  <a:lnTo>
                    <a:pt x="55277" y="957542"/>
                  </a:lnTo>
                  <a:lnTo>
                    <a:pt x="55277" y="943723"/>
                  </a:lnTo>
                  <a:lnTo>
                    <a:pt x="48367" y="947178"/>
                  </a:lnTo>
                  <a:lnTo>
                    <a:pt x="34548" y="950633"/>
                  </a:lnTo>
                  <a:lnTo>
                    <a:pt x="31093" y="940268"/>
                  </a:lnTo>
                  <a:lnTo>
                    <a:pt x="31093" y="926449"/>
                  </a:lnTo>
                  <a:lnTo>
                    <a:pt x="41457" y="922994"/>
                  </a:lnTo>
                  <a:lnTo>
                    <a:pt x="41457" y="916085"/>
                  </a:lnTo>
                  <a:lnTo>
                    <a:pt x="27638" y="916085"/>
                  </a:lnTo>
                  <a:lnTo>
                    <a:pt x="0" y="916085"/>
                  </a:lnTo>
                  <a:lnTo>
                    <a:pt x="10364" y="902265"/>
                  </a:lnTo>
                  <a:lnTo>
                    <a:pt x="17274" y="888446"/>
                  </a:lnTo>
                  <a:lnTo>
                    <a:pt x="27638" y="874627"/>
                  </a:lnTo>
                  <a:lnTo>
                    <a:pt x="38003" y="867717"/>
                  </a:lnTo>
                  <a:lnTo>
                    <a:pt x="41457" y="874627"/>
                  </a:lnTo>
                  <a:lnTo>
                    <a:pt x="48367" y="895356"/>
                  </a:lnTo>
                  <a:lnTo>
                    <a:pt x="62186" y="878082"/>
                  </a:lnTo>
                  <a:lnTo>
                    <a:pt x="72551" y="853898"/>
                  </a:lnTo>
                  <a:lnTo>
                    <a:pt x="69096" y="836624"/>
                  </a:lnTo>
                  <a:lnTo>
                    <a:pt x="65641" y="815802"/>
                  </a:lnTo>
                  <a:lnTo>
                    <a:pt x="76006" y="798528"/>
                  </a:lnTo>
                  <a:lnTo>
                    <a:pt x="72551" y="781254"/>
                  </a:lnTo>
                  <a:lnTo>
                    <a:pt x="76006" y="770889"/>
                  </a:lnTo>
                  <a:lnTo>
                    <a:pt x="79460" y="760525"/>
                  </a:lnTo>
                  <a:lnTo>
                    <a:pt x="79460" y="739796"/>
                  </a:lnTo>
                  <a:lnTo>
                    <a:pt x="69096" y="736341"/>
                  </a:lnTo>
                  <a:lnTo>
                    <a:pt x="62186" y="739796"/>
                  </a:lnTo>
                  <a:lnTo>
                    <a:pt x="58732" y="757070"/>
                  </a:lnTo>
                  <a:lnTo>
                    <a:pt x="55277" y="767434"/>
                  </a:lnTo>
                  <a:lnTo>
                    <a:pt x="55277" y="788163"/>
                  </a:lnTo>
                  <a:lnTo>
                    <a:pt x="48367" y="798528"/>
                  </a:lnTo>
                  <a:lnTo>
                    <a:pt x="38003" y="791618"/>
                  </a:lnTo>
                  <a:lnTo>
                    <a:pt x="38003" y="777799"/>
                  </a:lnTo>
                  <a:lnTo>
                    <a:pt x="38003" y="757070"/>
                  </a:lnTo>
                  <a:lnTo>
                    <a:pt x="44912" y="743251"/>
                  </a:lnTo>
                  <a:lnTo>
                    <a:pt x="48367" y="736341"/>
                  </a:lnTo>
                  <a:lnTo>
                    <a:pt x="48367" y="719067"/>
                  </a:lnTo>
                  <a:lnTo>
                    <a:pt x="51822" y="694883"/>
                  </a:lnTo>
                  <a:lnTo>
                    <a:pt x="55277" y="680971"/>
                  </a:lnTo>
                  <a:lnTo>
                    <a:pt x="69096" y="667152"/>
                  </a:lnTo>
                  <a:lnTo>
                    <a:pt x="62186" y="649878"/>
                  </a:lnTo>
                  <a:lnTo>
                    <a:pt x="58732" y="632603"/>
                  </a:lnTo>
                  <a:lnTo>
                    <a:pt x="58732" y="618784"/>
                  </a:lnTo>
                  <a:lnTo>
                    <a:pt x="55277" y="598056"/>
                  </a:lnTo>
                  <a:lnTo>
                    <a:pt x="65641" y="598056"/>
                  </a:lnTo>
                  <a:lnTo>
                    <a:pt x="72551" y="573872"/>
                  </a:lnTo>
                  <a:lnTo>
                    <a:pt x="82915" y="553143"/>
                  </a:lnTo>
                  <a:lnTo>
                    <a:pt x="89825" y="532414"/>
                  </a:lnTo>
                  <a:lnTo>
                    <a:pt x="100096" y="504682"/>
                  </a:lnTo>
                  <a:lnTo>
                    <a:pt x="103551" y="480498"/>
                  </a:lnTo>
                  <a:lnTo>
                    <a:pt x="110460" y="466679"/>
                  </a:lnTo>
                  <a:lnTo>
                    <a:pt x="107006" y="401038"/>
                  </a:lnTo>
                  <a:lnTo>
                    <a:pt x="107006" y="380309"/>
                  </a:lnTo>
                  <a:lnTo>
                    <a:pt x="120825" y="369945"/>
                  </a:lnTo>
                  <a:lnTo>
                    <a:pt x="120825" y="356126"/>
                  </a:lnTo>
                  <a:lnTo>
                    <a:pt x="113915" y="345668"/>
                  </a:lnTo>
                  <a:lnTo>
                    <a:pt x="120825" y="335303"/>
                  </a:lnTo>
                  <a:lnTo>
                    <a:pt x="127734" y="300755"/>
                  </a:lnTo>
                  <a:lnTo>
                    <a:pt x="138099" y="248933"/>
                  </a:lnTo>
                  <a:lnTo>
                    <a:pt x="141554" y="169379"/>
                  </a:lnTo>
                  <a:lnTo>
                    <a:pt x="151918" y="89918"/>
                  </a:lnTo>
                  <a:lnTo>
                    <a:pt x="148463" y="48461"/>
                  </a:lnTo>
                  <a:lnTo>
                    <a:pt x="145009" y="31187"/>
                  </a:lnTo>
                  <a:close/>
                </a:path>
              </a:pathLst>
            </a:custGeom>
            <a:solidFill>
              <a:srgbClr val="CEE3BF"/>
            </a:solidFill>
            <a:ln w="9334" cap="flat">
              <a:noFill/>
              <a:prstDash val="solid"/>
              <a:miter/>
            </a:ln>
          </p:spPr>
          <p:txBody>
            <a:bodyPr rtlCol="0" anchor="ctr"/>
            <a:lstStyle/>
            <a:p>
              <a:endParaRPr lang="en-GB" dirty="0"/>
            </a:p>
          </p:txBody>
        </p:sp>
        <p:sp>
          <p:nvSpPr>
            <p:cNvPr id="997" name="Freeform: Shape 996">
              <a:extLst>
                <a:ext uri="{FF2B5EF4-FFF2-40B4-BE49-F238E27FC236}">
                  <a16:creationId xmlns:a16="http://schemas.microsoft.com/office/drawing/2014/main" id="{D62088A7-659B-488E-A5EE-C10615DD665C}"/>
                </a:ext>
              </a:extLst>
            </p:cNvPr>
            <p:cNvSpPr/>
            <p:nvPr/>
          </p:nvSpPr>
          <p:spPr>
            <a:xfrm>
              <a:off x="3765241" y="4999796"/>
              <a:ext cx="234740" cy="1161562"/>
            </a:xfrm>
            <a:custGeom>
              <a:avLst/>
              <a:gdLst>
                <a:gd name="connsiteX0" fmla="*/ 145009 w 234740"/>
                <a:gd name="connsiteY0" fmla="*/ 31187 h 1161562"/>
                <a:gd name="connsiteX1" fmla="*/ 155373 w 234740"/>
                <a:gd name="connsiteY1" fmla="*/ 27732 h 1161562"/>
                <a:gd name="connsiteX2" fmla="*/ 165737 w 234740"/>
                <a:gd name="connsiteY2" fmla="*/ 3455 h 1161562"/>
                <a:gd name="connsiteX3" fmla="*/ 169192 w 234740"/>
                <a:gd name="connsiteY3" fmla="*/ 0 h 1161562"/>
                <a:gd name="connsiteX4" fmla="*/ 176102 w 234740"/>
                <a:gd name="connsiteY4" fmla="*/ 20822 h 1161562"/>
                <a:gd name="connsiteX5" fmla="*/ 193376 w 234740"/>
                <a:gd name="connsiteY5" fmla="*/ 65735 h 1161562"/>
                <a:gd name="connsiteX6" fmla="*/ 193376 w 234740"/>
                <a:gd name="connsiteY6" fmla="*/ 96828 h 1161562"/>
                <a:gd name="connsiteX7" fmla="*/ 207195 w 234740"/>
                <a:gd name="connsiteY7" fmla="*/ 117557 h 1161562"/>
                <a:gd name="connsiteX8" fmla="*/ 214105 w 234740"/>
                <a:gd name="connsiteY8" fmla="*/ 141740 h 1161562"/>
                <a:gd name="connsiteX9" fmla="*/ 217559 w 234740"/>
                <a:gd name="connsiteY9" fmla="*/ 165924 h 1161562"/>
                <a:gd name="connsiteX10" fmla="*/ 234740 w 234740"/>
                <a:gd name="connsiteY10" fmla="*/ 165924 h 1161562"/>
                <a:gd name="connsiteX11" fmla="*/ 231285 w 234740"/>
                <a:gd name="connsiteY11" fmla="*/ 186653 h 1161562"/>
                <a:gd name="connsiteX12" fmla="*/ 214105 w 234740"/>
                <a:gd name="connsiteY12" fmla="*/ 207475 h 1161562"/>
                <a:gd name="connsiteX13" fmla="*/ 200285 w 234740"/>
                <a:gd name="connsiteY13" fmla="*/ 214385 h 1161562"/>
                <a:gd name="connsiteX14" fmla="*/ 189921 w 234740"/>
                <a:gd name="connsiteY14" fmla="*/ 224749 h 1161562"/>
                <a:gd name="connsiteX15" fmla="*/ 196831 w 234740"/>
                <a:gd name="connsiteY15" fmla="*/ 276571 h 1161562"/>
                <a:gd name="connsiteX16" fmla="*/ 165737 w 234740"/>
                <a:gd name="connsiteY16" fmla="*/ 321484 h 1161562"/>
                <a:gd name="connsiteX17" fmla="*/ 155373 w 234740"/>
                <a:gd name="connsiteY17" fmla="*/ 342213 h 1161562"/>
                <a:gd name="connsiteX18" fmla="*/ 148463 w 234740"/>
                <a:gd name="connsiteY18" fmla="*/ 383764 h 1161562"/>
                <a:gd name="connsiteX19" fmla="*/ 141554 w 234740"/>
                <a:gd name="connsiteY19" fmla="*/ 404493 h 1161562"/>
                <a:gd name="connsiteX20" fmla="*/ 141554 w 234740"/>
                <a:gd name="connsiteY20" fmla="*/ 432131 h 1161562"/>
                <a:gd name="connsiteX21" fmla="*/ 155373 w 234740"/>
                <a:gd name="connsiteY21" fmla="*/ 473589 h 1161562"/>
                <a:gd name="connsiteX22" fmla="*/ 151918 w 234740"/>
                <a:gd name="connsiteY22" fmla="*/ 504682 h 1161562"/>
                <a:gd name="connsiteX23" fmla="*/ 145009 w 234740"/>
                <a:gd name="connsiteY23" fmla="*/ 522050 h 1161562"/>
                <a:gd name="connsiteX24" fmla="*/ 141554 w 234740"/>
                <a:gd name="connsiteY24" fmla="*/ 556598 h 1161562"/>
                <a:gd name="connsiteX25" fmla="*/ 124280 w 234740"/>
                <a:gd name="connsiteY25" fmla="*/ 573872 h 1161562"/>
                <a:gd name="connsiteX26" fmla="*/ 127734 w 234740"/>
                <a:gd name="connsiteY26" fmla="*/ 611875 h 1161562"/>
                <a:gd name="connsiteX27" fmla="*/ 127734 w 234740"/>
                <a:gd name="connsiteY27" fmla="*/ 639513 h 1161562"/>
                <a:gd name="connsiteX28" fmla="*/ 107006 w 234740"/>
                <a:gd name="connsiteY28" fmla="*/ 684519 h 1161562"/>
                <a:gd name="connsiteX29" fmla="*/ 103551 w 234740"/>
                <a:gd name="connsiteY29" fmla="*/ 736341 h 1161562"/>
                <a:gd name="connsiteX30" fmla="*/ 100096 w 234740"/>
                <a:gd name="connsiteY30" fmla="*/ 757070 h 1161562"/>
                <a:gd name="connsiteX31" fmla="*/ 96641 w 234740"/>
                <a:gd name="connsiteY31" fmla="*/ 784708 h 1161562"/>
                <a:gd name="connsiteX32" fmla="*/ 103551 w 234740"/>
                <a:gd name="connsiteY32" fmla="*/ 791618 h 1161562"/>
                <a:gd name="connsiteX33" fmla="*/ 103551 w 234740"/>
                <a:gd name="connsiteY33" fmla="*/ 826166 h 1161562"/>
                <a:gd name="connsiteX34" fmla="*/ 110460 w 234740"/>
                <a:gd name="connsiteY34" fmla="*/ 846988 h 1161562"/>
                <a:gd name="connsiteX35" fmla="*/ 107006 w 234740"/>
                <a:gd name="connsiteY35" fmla="*/ 867717 h 1161562"/>
                <a:gd name="connsiteX36" fmla="*/ 107006 w 234740"/>
                <a:gd name="connsiteY36" fmla="*/ 912630 h 1161562"/>
                <a:gd name="connsiteX37" fmla="*/ 93280 w 234740"/>
                <a:gd name="connsiteY37" fmla="*/ 933358 h 1161562"/>
                <a:gd name="connsiteX38" fmla="*/ 89825 w 234740"/>
                <a:gd name="connsiteY38" fmla="*/ 964452 h 1161562"/>
                <a:gd name="connsiteX39" fmla="*/ 76006 w 234740"/>
                <a:gd name="connsiteY39" fmla="*/ 985181 h 1161562"/>
                <a:gd name="connsiteX40" fmla="*/ 62186 w 234740"/>
                <a:gd name="connsiteY40" fmla="*/ 999000 h 1161562"/>
                <a:gd name="connsiteX41" fmla="*/ 58732 w 234740"/>
                <a:gd name="connsiteY41" fmla="*/ 1016367 h 1161562"/>
                <a:gd name="connsiteX42" fmla="*/ 62186 w 234740"/>
                <a:gd name="connsiteY42" fmla="*/ 1030187 h 1161562"/>
                <a:gd name="connsiteX43" fmla="*/ 69096 w 234740"/>
                <a:gd name="connsiteY43" fmla="*/ 1044006 h 1161562"/>
                <a:gd name="connsiteX44" fmla="*/ 89825 w 234740"/>
                <a:gd name="connsiteY44" fmla="*/ 1047460 h 1161562"/>
                <a:gd name="connsiteX45" fmla="*/ 89825 w 234740"/>
                <a:gd name="connsiteY45" fmla="*/ 1075099 h 1161562"/>
                <a:gd name="connsiteX46" fmla="*/ 100096 w 234740"/>
                <a:gd name="connsiteY46" fmla="*/ 1095828 h 1161562"/>
                <a:gd name="connsiteX47" fmla="*/ 117370 w 234740"/>
                <a:gd name="connsiteY47" fmla="*/ 1099283 h 1161562"/>
                <a:gd name="connsiteX48" fmla="*/ 162282 w 234740"/>
                <a:gd name="connsiteY48" fmla="*/ 1099283 h 1161562"/>
                <a:gd name="connsiteX49" fmla="*/ 165737 w 234740"/>
                <a:gd name="connsiteY49" fmla="*/ 1113102 h 1161562"/>
                <a:gd name="connsiteX50" fmla="*/ 151918 w 234740"/>
                <a:gd name="connsiteY50" fmla="*/ 1120012 h 1161562"/>
                <a:gd name="connsiteX51" fmla="*/ 138099 w 234740"/>
                <a:gd name="connsiteY51" fmla="*/ 1123466 h 1161562"/>
                <a:gd name="connsiteX52" fmla="*/ 127734 w 234740"/>
                <a:gd name="connsiteY52" fmla="*/ 1133831 h 1161562"/>
                <a:gd name="connsiteX53" fmla="*/ 127734 w 234740"/>
                <a:gd name="connsiteY53" fmla="*/ 1151105 h 1161562"/>
                <a:gd name="connsiteX54" fmla="*/ 124280 w 234740"/>
                <a:gd name="connsiteY54" fmla="*/ 1161563 h 1161562"/>
                <a:gd name="connsiteX55" fmla="*/ 110460 w 234740"/>
                <a:gd name="connsiteY55" fmla="*/ 1161563 h 1161562"/>
                <a:gd name="connsiteX56" fmla="*/ 100096 w 234740"/>
                <a:gd name="connsiteY56" fmla="*/ 1154560 h 1161562"/>
                <a:gd name="connsiteX57" fmla="*/ 103551 w 234740"/>
                <a:gd name="connsiteY57" fmla="*/ 1147650 h 1161562"/>
                <a:gd name="connsiteX58" fmla="*/ 113915 w 234740"/>
                <a:gd name="connsiteY58" fmla="*/ 1140741 h 1161562"/>
                <a:gd name="connsiteX59" fmla="*/ 120825 w 234740"/>
                <a:gd name="connsiteY59" fmla="*/ 1126921 h 1161562"/>
                <a:gd name="connsiteX60" fmla="*/ 110460 w 234740"/>
                <a:gd name="connsiteY60" fmla="*/ 1120012 h 1161562"/>
                <a:gd name="connsiteX61" fmla="*/ 96641 w 234740"/>
                <a:gd name="connsiteY61" fmla="*/ 1130376 h 1161562"/>
                <a:gd name="connsiteX62" fmla="*/ 89825 w 234740"/>
                <a:gd name="connsiteY62" fmla="*/ 1144195 h 1161562"/>
                <a:gd name="connsiteX63" fmla="*/ 76006 w 234740"/>
                <a:gd name="connsiteY63" fmla="*/ 1140741 h 1161562"/>
                <a:gd name="connsiteX64" fmla="*/ 65641 w 234740"/>
                <a:gd name="connsiteY64" fmla="*/ 1130376 h 1161562"/>
                <a:gd name="connsiteX65" fmla="*/ 79460 w 234740"/>
                <a:gd name="connsiteY65" fmla="*/ 1120012 h 1161562"/>
                <a:gd name="connsiteX66" fmla="*/ 82915 w 234740"/>
                <a:gd name="connsiteY66" fmla="*/ 1113102 h 1161562"/>
                <a:gd name="connsiteX67" fmla="*/ 79460 w 234740"/>
                <a:gd name="connsiteY67" fmla="*/ 1106192 h 1161562"/>
                <a:gd name="connsiteX68" fmla="*/ 65641 w 234740"/>
                <a:gd name="connsiteY68" fmla="*/ 1116557 h 1161562"/>
                <a:gd name="connsiteX69" fmla="*/ 48367 w 234740"/>
                <a:gd name="connsiteY69" fmla="*/ 1116557 h 1161562"/>
                <a:gd name="connsiteX70" fmla="*/ 51822 w 234740"/>
                <a:gd name="connsiteY70" fmla="*/ 1102738 h 1161562"/>
                <a:gd name="connsiteX71" fmla="*/ 72551 w 234740"/>
                <a:gd name="connsiteY71" fmla="*/ 1092373 h 1161562"/>
                <a:gd name="connsiteX72" fmla="*/ 72551 w 234740"/>
                <a:gd name="connsiteY72" fmla="*/ 1085463 h 1161562"/>
                <a:gd name="connsiteX73" fmla="*/ 58732 w 234740"/>
                <a:gd name="connsiteY73" fmla="*/ 1088918 h 1161562"/>
                <a:gd name="connsiteX74" fmla="*/ 44912 w 234740"/>
                <a:gd name="connsiteY74" fmla="*/ 1088918 h 1161562"/>
                <a:gd name="connsiteX75" fmla="*/ 48367 w 234740"/>
                <a:gd name="connsiteY75" fmla="*/ 1075099 h 1161562"/>
                <a:gd name="connsiteX76" fmla="*/ 38003 w 234740"/>
                <a:gd name="connsiteY76" fmla="*/ 1068189 h 1161562"/>
                <a:gd name="connsiteX77" fmla="*/ 34548 w 234740"/>
                <a:gd name="connsiteY77" fmla="*/ 1047460 h 1161562"/>
                <a:gd name="connsiteX78" fmla="*/ 34548 w 234740"/>
                <a:gd name="connsiteY78" fmla="*/ 1040551 h 1161562"/>
                <a:gd name="connsiteX79" fmla="*/ 34548 w 234740"/>
                <a:gd name="connsiteY79" fmla="*/ 1026732 h 1161562"/>
                <a:gd name="connsiteX80" fmla="*/ 27638 w 234740"/>
                <a:gd name="connsiteY80" fmla="*/ 1019822 h 1161562"/>
                <a:gd name="connsiteX81" fmla="*/ 17274 w 234740"/>
                <a:gd name="connsiteY81" fmla="*/ 1005910 h 1161562"/>
                <a:gd name="connsiteX82" fmla="*/ 10364 w 234740"/>
                <a:gd name="connsiteY82" fmla="*/ 992090 h 1161562"/>
                <a:gd name="connsiteX83" fmla="*/ 13819 w 234740"/>
                <a:gd name="connsiteY83" fmla="*/ 964452 h 1161562"/>
                <a:gd name="connsiteX84" fmla="*/ 24184 w 234740"/>
                <a:gd name="connsiteY84" fmla="*/ 964452 h 1161562"/>
                <a:gd name="connsiteX85" fmla="*/ 27638 w 234740"/>
                <a:gd name="connsiteY85" fmla="*/ 967907 h 1161562"/>
                <a:gd name="connsiteX86" fmla="*/ 31093 w 234740"/>
                <a:gd name="connsiteY86" fmla="*/ 981726 h 1161562"/>
                <a:gd name="connsiteX87" fmla="*/ 41457 w 234740"/>
                <a:gd name="connsiteY87" fmla="*/ 978271 h 1161562"/>
                <a:gd name="connsiteX88" fmla="*/ 41457 w 234740"/>
                <a:gd name="connsiteY88" fmla="*/ 960997 h 1161562"/>
                <a:gd name="connsiteX89" fmla="*/ 48367 w 234740"/>
                <a:gd name="connsiteY89" fmla="*/ 960997 h 1161562"/>
                <a:gd name="connsiteX90" fmla="*/ 55277 w 234740"/>
                <a:gd name="connsiteY90" fmla="*/ 957542 h 1161562"/>
                <a:gd name="connsiteX91" fmla="*/ 55277 w 234740"/>
                <a:gd name="connsiteY91" fmla="*/ 943723 h 1161562"/>
                <a:gd name="connsiteX92" fmla="*/ 48367 w 234740"/>
                <a:gd name="connsiteY92" fmla="*/ 947178 h 1161562"/>
                <a:gd name="connsiteX93" fmla="*/ 34548 w 234740"/>
                <a:gd name="connsiteY93" fmla="*/ 950633 h 1161562"/>
                <a:gd name="connsiteX94" fmla="*/ 31093 w 234740"/>
                <a:gd name="connsiteY94" fmla="*/ 940268 h 1161562"/>
                <a:gd name="connsiteX95" fmla="*/ 31093 w 234740"/>
                <a:gd name="connsiteY95" fmla="*/ 926449 h 1161562"/>
                <a:gd name="connsiteX96" fmla="*/ 41457 w 234740"/>
                <a:gd name="connsiteY96" fmla="*/ 922994 h 1161562"/>
                <a:gd name="connsiteX97" fmla="*/ 41457 w 234740"/>
                <a:gd name="connsiteY97" fmla="*/ 916085 h 1161562"/>
                <a:gd name="connsiteX98" fmla="*/ 27638 w 234740"/>
                <a:gd name="connsiteY98" fmla="*/ 916085 h 1161562"/>
                <a:gd name="connsiteX99" fmla="*/ 0 w 234740"/>
                <a:gd name="connsiteY99" fmla="*/ 916085 h 1161562"/>
                <a:gd name="connsiteX100" fmla="*/ 10364 w 234740"/>
                <a:gd name="connsiteY100" fmla="*/ 902265 h 1161562"/>
                <a:gd name="connsiteX101" fmla="*/ 17274 w 234740"/>
                <a:gd name="connsiteY101" fmla="*/ 888446 h 1161562"/>
                <a:gd name="connsiteX102" fmla="*/ 27638 w 234740"/>
                <a:gd name="connsiteY102" fmla="*/ 874627 h 1161562"/>
                <a:gd name="connsiteX103" fmla="*/ 38003 w 234740"/>
                <a:gd name="connsiteY103" fmla="*/ 867717 h 1161562"/>
                <a:gd name="connsiteX104" fmla="*/ 41457 w 234740"/>
                <a:gd name="connsiteY104" fmla="*/ 874627 h 1161562"/>
                <a:gd name="connsiteX105" fmla="*/ 48367 w 234740"/>
                <a:gd name="connsiteY105" fmla="*/ 895356 h 1161562"/>
                <a:gd name="connsiteX106" fmla="*/ 62186 w 234740"/>
                <a:gd name="connsiteY106" fmla="*/ 878082 h 1161562"/>
                <a:gd name="connsiteX107" fmla="*/ 72551 w 234740"/>
                <a:gd name="connsiteY107" fmla="*/ 853898 h 1161562"/>
                <a:gd name="connsiteX108" fmla="*/ 69096 w 234740"/>
                <a:gd name="connsiteY108" fmla="*/ 836624 h 1161562"/>
                <a:gd name="connsiteX109" fmla="*/ 65641 w 234740"/>
                <a:gd name="connsiteY109" fmla="*/ 815802 h 1161562"/>
                <a:gd name="connsiteX110" fmla="*/ 76006 w 234740"/>
                <a:gd name="connsiteY110" fmla="*/ 798528 h 1161562"/>
                <a:gd name="connsiteX111" fmla="*/ 72551 w 234740"/>
                <a:gd name="connsiteY111" fmla="*/ 781254 h 1161562"/>
                <a:gd name="connsiteX112" fmla="*/ 76006 w 234740"/>
                <a:gd name="connsiteY112" fmla="*/ 770889 h 1161562"/>
                <a:gd name="connsiteX113" fmla="*/ 79460 w 234740"/>
                <a:gd name="connsiteY113" fmla="*/ 760525 h 1161562"/>
                <a:gd name="connsiteX114" fmla="*/ 79460 w 234740"/>
                <a:gd name="connsiteY114" fmla="*/ 739796 h 1161562"/>
                <a:gd name="connsiteX115" fmla="*/ 69096 w 234740"/>
                <a:gd name="connsiteY115" fmla="*/ 736341 h 1161562"/>
                <a:gd name="connsiteX116" fmla="*/ 62186 w 234740"/>
                <a:gd name="connsiteY116" fmla="*/ 739796 h 1161562"/>
                <a:gd name="connsiteX117" fmla="*/ 58732 w 234740"/>
                <a:gd name="connsiteY117" fmla="*/ 757070 h 1161562"/>
                <a:gd name="connsiteX118" fmla="*/ 55277 w 234740"/>
                <a:gd name="connsiteY118" fmla="*/ 767434 h 1161562"/>
                <a:gd name="connsiteX119" fmla="*/ 55277 w 234740"/>
                <a:gd name="connsiteY119" fmla="*/ 788163 h 1161562"/>
                <a:gd name="connsiteX120" fmla="*/ 48367 w 234740"/>
                <a:gd name="connsiteY120" fmla="*/ 798528 h 1161562"/>
                <a:gd name="connsiteX121" fmla="*/ 38003 w 234740"/>
                <a:gd name="connsiteY121" fmla="*/ 791618 h 1161562"/>
                <a:gd name="connsiteX122" fmla="*/ 38003 w 234740"/>
                <a:gd name="connsiteY122" fmla="*/ 777799 h 1161562"/>
                <a:gd name="connsiteX123" fmla="*/ 38003 w 234740"/>
                <a:gd name="connsiteY123" fmla="*/ 757070 h 1161562"/>
                <a:gd name="connsiteX124" fmla="*/ 44912 w 234740"/>
                <a:gd name="connsiteY124" fmla="*/ 743251 h 1161562"/>
                <a:gd name="connsiteX125" fmla="*/ 48367 w 234740"/>
                <a:gd name="connsiteY125" fmla="*/ 736341 h 1161562"/>
                <a:gd name="connsiteX126" fmla="*/ 48367 w 234740"/>
                <a:gd name="connsiteY126" fmla="*/ 719067 h 1161562"/>
                <a:gd name="connsiteX127" fmla="*/ 51822 w 234740"/>
                <a:gd name="connsiteY127" fmla="*/ 694883 h 1161562"/>
                <a:gd name="connsiteX128" fmla="*/ 55277 w 234740"/>
                <a:gd name="connsiteY128" fmla="*/ 680971 h 1161562"/>
                <a:gd name="connsiteX129" fmla="*/ 69096 w 234740"/>
                <a:gd name="connsiteY129" fmla="*/ 667152 h 1161562"/>
                <a:gd name="connsiteX130" fmla="*/ 62186 w 234740"/>
                <a:gd name="connsiteY130" fmla="*/ 649878 h 1161562"/>
                <a:gd name="connsiteX131" fmla="*/ 58732 w 234740"/>
                <a:gd name="connsiteY131" fmla="*/ 632603 h 1161562"/>
                <a:gd name="connsiteX132" fmla="*/ 58732 w 234740"/>
                <a:gd name="connsiteY132" fmla="*/ 618784 h 1161562"/>
                <a:gd name="connsiteX133" fmla="*/ 55277 w 234740"/>
                <a:gd name="connsiteY133" fmla="*/ 598056 h 1161562"/>
                <a:gd name="connsiteX134" fmla="*/ 65641 w 234740"/>
                <a:gd name="connsiteY134" fmla="*/ 598056 h 1161562"/>
                <a:gd name="connsiteX135" fmla="*/ 72551 w 234740"/>
                <a:gd name="connsiteY135" fmla="*/ 573872 h 1161562"/>
                <a:gd name="connsiteX136" fmla="*/ 82915 w 234740"/>
                <a:gd name="connsiteY136" fmla="*/ 553143 h 1161562"/>
                <a:gd name="connsiteX137" fmla="*/ 89825 w 234740"/>
                <a:gd name="connsiteY137" fmla="*/ 532414 h 1161562"/>
                <a:gd name="connsiteX138" fmla="*/ 100096 w 234740"/>
                <a:gd name="connsiteY138" fmla="*/ 504682 h 1161562"/>
                <a:gd name="connsiteX139" fmla="*/ 103551 w 234740"/>
                <a:gd name="connsiteY139" fmla="*/ 480498 h 1161562"/>
                <a:gd name="connsiteX140" fmla="*/ 110460 w 234740"/>
                <a:gd name="connsiteY140" fmla="*/ 466679 h 1161562"/>
                <a:gd name="connsiteX141" fmla="*/ 107006 w 234740"/>
                <a:gd name="connsiteY141" fmla="*/ 401038 h 1161562"/>
                <a:gd name="connsiteX142" fmla="*/ 107006 w 234740"/>
                <a:gd name="connsiteY142" fmla="*/ 380309 h 1161562"/>
                <a:gd name="connsiteX143" fmla="*/ 120825 w 234740"/>
                <a:gd name="connsiteY143" fmla="*/ 369945 h 1161562"/>
                <a:gd name="connsiteX144" fmla="*/ 120825 w 234740"/>
                <a:gd name="connsiteY144" fmla="*/ 356126 h 1161562"/>
                <a:gd name="connsiteX145" fmla="*/ 113915 w 234740"/>
                <a:gd name="connsiteY145" fmla="*/ 345668 h 1161562"/>
                <a:gd name="connsiteX146" fmla="*/ 120825 w 234740"/>
                <a:gd name="connsiteY146" fmla="*/ 335303 h 1161562"/>
                <a:gd name="connsiteX147" fmla="*/ 127734 w 234740"/>
                <a:gd name="connsiteY147" fmla="*/ 300755 h 1161562"/>
                <a:gd name="connsiteX148" fmla="*/ 138099 w 234740"/>
                <a:gd name="connsiteY148" fmla="*/ 248933 h 1161562"/>
                <a:gd name="connsiteX149" fmla="*/ 141554 w 234740"/>
                <a:gd name="connsiteY149" fmla="*/ 169379 h 1161562"/>
                <a:gd name="connsiteX150" fmla="*/ 151918 w 234740"/>
                <a:gd name="connsiteY150" fmla="*/ 89918 h 1161562"/>
                <a:gd name="connsiteX151" fmla="*/ 148463 w 234740"/>
                <a:gd name="connsiteY151" fmla="*/ 48461 h 1161562"/>
                <a:gd name="connsiteX152" fmla="*/ 145009 w 234740"/>
                <a:gd name="connsiteY152" fmla="*/ 31187 h 116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34740" h="1161562">
                  <a:moveTo>
                    <a:pt x="145009" y="31187"/>
                  </a:moveTo>
                  <a:lnTo>
                    <a:pt x="155373" y="27732"/>
                  </a:lnTo>
                  <a:lnTo>
                    <a:pt x="165737" y="3455"/>
                  </a:lnTo>
                  <a:lnTo>
                    <a:pt x="169192" y="0"/>
                  </a:lnTo>
                  <a:lnTo>
                    <a:pt x="176102" y="20822"/>
                  </a:lnTo>
                  <a:lnTo>
                    <a:pt x="193376" y="65735"/>
                  </a:lnTo>
                  <a:lnTo>
                    <a:pt x="193376" y="96828"/>
                  </a:lnTo>
                  <a:lnTo>
                    <a:pt x="207195" y="117557"/>
                  </a:lnTo>
                  <a:lnTo>
                    <a:pt x="214105" y="141740"/>
                  </a:lnTo>
                  <a:lnTo>
                    <a:pt x="217559" y="165924"/>
                  </a:lnTo>
                  <a:lnTo>
                    <a:pt x="234740" y="165924"/>
                  </a:lnTo>
                  <a:lnTo>
                    <a:pt x="231285" y="186653"/>
                  </a:lnTo>
                  <a:lnTo>
                    <a:pt x="214105" y="207475"/>
                  </a:lnTo>
                  <a:lnTo>
                    <a:pt x="200285" y="214385"/>
                  </a:lnTo>
                  <a:lnTo>
                    <a:pt x="189921" y="224749"/>
                  </a:lnTo>
                  <a:lnTo>
                    <a:pt x="196831" y="276571"/>
                  </a:lnTo>
                  <a:lnTo>
                    <a:pt x="165737" y="321484"/>
                  </a:lnTo>
                  <a:lnTo>
                    <a:pt x="155373" y="342213"/>
                  </a:lnTo>
                  <a:lnTo>
                    <a:pt x="148463" y="383764"/>
                  </a:lnTo>
                  <a:lnTo>
                    <a:pt x="141554" y="404493"/>
                  </a:lnTo>
                  <a:lnTo>
                    <a:pt x="141554" y="432131"/>
                  </a:lnTo>
                  <a:lnTo>
                    <a:pt x="155373" y="473589"/>
                  </a:lnTo>
                  <a:lnTo>
                    <a:pt x="151918" y="504682"/>
                  </a:lnTo>
                  <a:lnTo>
                    <a:pt x="145009" y="522050"/>
                  </a:lnTo>
                  <a:lnTo>
                    <a:pt x="141554" y="556598"/>
                  </a:lnTo>
                  <a:lnTo>
                    <a:pt x="124280" y="573872"/>
                  </a:lnTo>
                  <a:lnTo>
                    <a:pt x="127734" y="611875"/>
                  </a:lnTo>
                  <a:lnTo>
                    <a:pt x="127734" y="639513"/>
                  </a:lnTo>
                  <a:lnTo>
                    <a:pt x="107006" y="684519"/>
                  </a:lnTo>
                  <a:lnTo>
                    <a:pt x="103551" y="736341"/>
                  </a:lnTo>
                  <a:lnTo>
                    <a:pt x="100096" y="757070"/>
                  </a:lnTo>
                  <a:lnTo>
                    <a:pt x="96641" y="784708"/>
                  </a:lnTo>
                  <a:lnTo>
                    <a:pt x="103551" y="791618"/>
                  </a:lnTo>
                  <a:lnTo>
                    <a:pt x="103551" y="826166"/>
                  </a:lnTo>
                  <a:lnTo>
                    <a:pt x="110460" y="846988"/>
                  </a:lnTo>
                  <a:lnTo>
                    <a:pt x="107006" y="867717"/>
                  </a:lnTo>
                  <a:lnTo>
                    <a:pt x="107006" y="912630"/>
                  </a:lnTo>
                  <a:lnTo>
                    <a:pt x="93280" y="933358"/>
                  </a:lnTo>
                  <a:lnTo>
                    <a:pt x="89825" y="964452"/>
                  </a:lnTo>
                  <a:lnTo>
                    <a:pt x="76006" y="985181"/>
                  </a:lnTo>
                  <a:lnTo>
                    <a:pt x="62186" y="999000"/>
                  </a:lnTo>
                  <a:lnTo>
                    <a:pt x="58732" y="1016367"/>
                  </a:lnTo>
                  <a:lnTo>
                    <a:pt x="62186" y="1030187"/>
                  </a:lnTo>
                  <a:lnTo>
                    <a:pt x="69096" y="1044006"/>
                  </a:lnTo>
                  <a:lnTo>
                    <a:pt x="89825" y="1047460"/>
                  </a:lnTo>
                  <a:lnTo>
                    <a:pt x="89825" y="1075099"/>
                  </a:lnTo>
                  <a:lnTo>
                    <a:pt x="100096" y="1095828"/>
                  </a:lnTo>
                  <a:lnTo>
                    <a:pt x="117370" y="1099283"/>
                  </a:lnTo>
                  <a:lnTo>
                    <a:pt x="162282" y="1099283"/>
                  </a:lnTo>
                  <a:lnTo>
                    <a:pt x="165737" y="1113102"/>
                  </a:lnTo>
                  <a:lnTo>
                    <a:pt x="151918" y="1120012"/>
                  </a:lnTo>
                  <a:lnTo>
                    <a:pt x="138099" y="1123466"/>
                  </a:lnTo>
                  <a:lnTo>
                    <a:pt x="127734" y="1133831"/>
                  </a:lnTo>
                  <a:lnTo>
                    <a:pt x="127734" y="1151105"/>
                  </a:lnTo>
                  <a:lnTo>
                    <a:pt x="124280" y="1161563"/>
                  </a:lnTo>
                  <a:lnTo>
                    <a:pt x="110460" y="1161563"/>
                  </a:lnTo>
                  <a:lnTo>
                    <a:pt x="100096" y="1154560"/>
                  </a:lnTo>
                  <a:lnTo>
                    <a:pt x="103551" y="1147650"/>
                  </a:lnTo>
                  <a:lnTo>
                    <a:pt x="113915" y="1140741"/>
                  </a:lnTo>
                  <a:lnTo>
                    <a:pt x="120825" y="1126921"/>
                  </a:lnTo>
                  <a:lnTo>
                    <a:pt x="110460" y="1120012"/>
                  </a:lnTo>
                  <a:lnTo>
                    <a:pt x="96641" y="1130376"/>
                  </a:lnTo>
                  <a:lnTo>
                    <a:pt x="89825" y="1144195"/>
                  </a:lnTo>
                  <a:lnTo>
                    <a:pt x="76006" y="1140741"/>
                  </a:lnTo>
                  <a:lnTo>
                    <a:pt x="65641" y="1130376"/>
                  </a:lnTo>
                  <a:lnTo>
                    <a:pt x="79460" y="1120012"/>
                  </a:lnTo>
                  <a:lnTo>
                    <a:pt x="82915" y="1113102"/>
                  </a:lnTo>
                  <a:lnTo>
                    <a:pt x="79460" y="1106192"/>
                  </a:lnTo>
                  <a:lnTo>
                    <a:pt x="65641" y="1116557"/>
                  </a:lnTo>
                  <a:lnTo>
                    <a:pt x="48367" y="1116557"/>
                  </a:lnTo>
                  <a:lnTo>
                    <a:pt x="51822" y="1102738"/>
                  </a:lnTo>
                  <a:lnTo>
                    <a:pt x="72551" y="1092373"/>
                  </a:lnTo>
                  <a:lnTo>
                    <a:pt x="72551" y="1085463"/>
                  </a:lnTo>
                  <a:lnTo>
                    <a:pt x="58732" y="1088918"/>
                  </a:lnTo>
                  <a:lnTo>
                    <a:pt x="44912" y="1088918"/>
                  </a:lnTo>
                  <a:lnTo>
                    <a:pt x="48367" y="1075099"/>
                  </a:lnTo>
                  <a:lnTo>
                    <a:pt x="38003" y="1068189"/>
                  </a:lnTo>
                  <a:lnTo>
                    <a:pt x="34548" y="1047460"/>
                  </a:lnTo>
                  <a:lnTo>
                    <a:pt x="34548" y="1040551"/>
                  </a:lnTo>
                  <a:lnTo>
                    <a:pt x="34548" y="1026732"/>
                  </a:lnTo>
                  <a:lnTo>
                    <a:pt x="27638" y="1019822"/>
                  </a:lnTo>
                  <a:lnTo>
                    <a:pt x="17274" y="1005910"/>
                  </a:lnTo>
                  <a:lnTo>
                    <a:pt x="10364" y="992090"/>
                  </a:lnTo>
                  <a:lnTo>
                    <a:pt x="13819" y="964452"/>
                  </a:lnTo>
                  <a:lnTo>
                    <a:pt x="24184" y="964452"/>
                  </a:lnTo>
                  <a:lnTo>
                    <a:pt x="27638" y="967907"/>
                  </a:lnTo>
                  <a:lnTo>
                    <a:pt x="31093" y="981726"/>
                  </a:lnTo>
                  <a:lnTo>
                    <a:pt x="41457" y="978271"/>
                  </a:lnTo>
                  <a:lnTo>
                    <a:pt x="41457" y="960997"/>
                  </a:lnTo>
                  <a:lnTo>
                    <a:pt x="48367" y="960997"/>
                  </a:lnTo>
                  <a:lnTo>
                    <a:pt x="55277" y="957542"/>
                  </a:lnTo>
                  <a:lnTo>
                    <a:pt x="55277" y="943723"/>
                  </a:lnTo>
                  <a:lnTo>
                    <a:pt x="48367" y="947178"/>
                  </a:lnTo>
                  <a:lnTo>
                    <a:pt x="34548" y="950633"/>
                  </a:lnTo>
                  <a:lnTo>
                    <a:pt x="31093" y="940268"/>
                  </a:lnTo>
                  <a:lnTo>
                    <a:pt x="31093" y="926449"/>
                  </a:lnTo>
                  <a:lnTo>
                    <a:pt x="41457" y="922994"/>
                  </a:lnTo>
                  <a:lnTo>
                    <a:pt x="41457" y="916085"/>
                  </a:lnTo>
                  <a:lnTo>
                    <a:pt x="27638" y="916085"/>
                  </a:lnTo>
                  <a:lnTo>
                    <a:pt x="0" y="916085"/>
                  </a:lnTo>
                  <a:lnTo>
                    <a:pt x="10364" y="902265"/>
                  </a:lnTo>
                  <a:lnTo>
                    <a:pt x="17274" y="888446"/>
                  </a:lnTo>
                  <a:lnTo>
                    <a:pt x="27638" y="874627"/>
                  </a:lnTo>
                  <a:lnTo>
                    <a:pt x="38003" y="867717"/>
                  </a:lnTo>
                  <a:lnTo>
                    <a:pt x="41457" y="874627"/>
                  </a:lnTo>
                  <a:lnTo>
                    <a:pt x="48367" y="895356"/>
                  </a:lnTo>
                  <a:lnTo>
                    <a:pt x="62186" y="878082"/>
                  </a:lnTo>
                  <a:lnTo>
                    <a:pt x="72551" y="853898"/>
                  </a:lnTo>
                  <a:lnTo>
                    <a:pt x="69096" y="836624"/>
                  </a:lnTo>
                  <a:lnTo>
                    <a:pt x="65641" y="815802"/>
                  </a:lnTo>
                  <a:lnTo>
                    <a:pt x="76006" y="798528"/>
                  </a:lnTo>
                  <a:lnTo>
                    <a:pt x="72551" y="781254"/>
                  </a:lnTo>
                  <a:lnTo>
                    <a:pt x="76006" y="770889"/>
                  </a:lnTo>
                  <a:lnTo>
                    <a:pt x="79460" y="760525"/>
                  </a:lnTo>
                  <a:lnTo>
                    <a:pt x="79460" y="739796"/>
                  </a:lnTo>
                  <a:lnTo>
                    <a:pt x="69096" y="736341"/>
                  </a:lnTo>
                  <a:lnTo>
                    <a:pt x="62186" y="739796"/>
                  </a:lnTo>
                  <a:lnTo>
                    <a:pt x="58732" y="757070"/>
                  </a:lnTo>
                  <a:lnTo>
                    <a:pt x="55277" y="767434"/>
                  </a:lnTo>
                  <a:lnTo>
                    <a:pt x="55277" y="788163"/>
                  </a:lnTo>
                  <a:lnTo>
                    <a:pt x="48367" y="798528"/>
                  </a:lnTo>
                  <a:lnTo>
                    <a:pt x="38003" y="791618"/>
                  </a:lnTo>
                  <a:lnTo>
                    <a:pt x="38003" y="777799"/>
                  </a:lnTo>
                  <a:lnTo>
                    <a:pt x="38003" y="757070"/>
                  </a:lnTo>
                  <a:lnTo>
                    <a:pt x="44912" y="743251"/>
                  </a:lnTo>
                  <a:lnTo>
                    <a:pt x="48367" y="736341"/>
                  </a:lnTo>
                  <a:lnTo>
                    <a:pt x="48367" y="719067"/>
                  </a:lnTo>
                  <a:lnTo>
                    <a:pt x="51822" y="694883"/>
                  </a:lnTo>
                  <a:lnTo>
                    <a:pt x="55277" y="680971"/>
                  </a:lnTo>
                  <a:lnTo>
                    <a:pt x="69096" y="667152"/>
                  </a:lnTo>
                  <a:lnTo>
                    <a:pt x="62186" y="649878"/>
                  </a:lnTo>
                  <a:lnTo>
                    <a:pt x="58732" y="632603"/>
                  </a:lnTo>
                  <a:lnTo>
                    <a:pt x="58732" y="618784"/>
                  </a:lnTo>
                  <a:lnTo>
                    <a:pt x="55277" y="598056"/>
                  </a:lnTo>
                  <a:lnTo>
                    <a:pt x="65641" y="598056"/>
                  </a:lnTo>
                  <a:lnTo>
                    <a:pt x="72551" y="573872"/>
                  </a:lnTo>
                  <a:lnTo>
                    <a:pt x="82915" y="553143"/>
                  </a:lnTo>
                  <a:lnTo>
                    <a:pt x="89825" y="532414"/>
                  </a:lnTo>
                  <a:lnTo>
                    <a:pt x="100096" y="504682"/>
                  </a:lnTo>
                  <a:lnTo>
                    <a:pt x="103551" y="480498"/>
                  </a:lnTo>
                  <a:lnTo>
                    <a:pt x="110460" y="466679"/>
                  </a:lnTo>
                  <a:lnTo>
                    <a:pt x="107006" y="401038"/>
                  </a:lnTo>
                  <a:lnTo>
                    <a:pt x="107006" y="380309"/>
                  </a:lnTo>
                  <a:lnTo>
                    <a:pt x="120825" y="369945"/>
                  </a:lnTo>
                  <a:lnTo>
                    <a:pt x="120825" y="356126"/>
                  </a:lnTo>
                  <a:lnTo>
                    <a:pt x="113915" y="345668"/>
                  </a:lnTo>
                  <a:lnTo>
                    <a:pt x="120825" y="335303"/>
                  </a:lnTo>
                  <a:lnTo>
                    <a:pt x="127734" y="300755"/>
                  </a:lnTo>
                  <a:lnTo>
                    <a:pt x="138099" y="248933"/>
                  </a:lnTo>
                  <a:lnTo>
                    <a:pt x="141554" y="169379"/>
                  </a:lnTo>
                  <a:lnTo>
                    <a:pt x="151918" y="89918"/>
                  </a:lnTo>
                  <a:lnTo>
                    <a:pt x="148463" y="48461"/>
                  </a:lnTo>
                  <a:lnTo>
                    <a:pt x="145009" y="31187"/>
                  </a:lnTo>
                  <a:close/>
                </a:path>
              </a:pathLst>
            </a:custGeom>
            <a:solidFill>
              <a:srgbClr val="CEE3BF"/>
            </a:solidFill>
            <a:ln w="9334" cap="flat">
              <a:noFill/>
              <a:prstDash val="solid"/>
              <a:miter/>
            </a:ln>
          </p:spPr>
          <p:txBody>
            <a:bodyPr rtlCol="0" anchor="ctr"/>
            <a:lstStyle/>
            <a:p>
              <a:endParaRPr lang="en-GB" dirty="0"/>
            </a:p>
          </p:txBody>
        </p:sp>
        <p:sp>
          <p:nvSpPr>
            <p:cNvPr id="998" name="Freeform: Shape 997">
              <a:extLst>
                <a:ext uri="{FF2B5EF4-FFF2-40B4-BE49-F238E27FC236}">
                  <a16:creationId xmlns:a16="http://schemas.microsoft.com/office/drawing/2014/main" id="{0DA7BA93-7097-4BE6-AB3E-16F121C44138}"/>
                </a:ext>
              </a:extLst>
            </p:cNvPr>
            <p:cNvSpPr/>
            <p:nvPr/>
          </p:nvSpPr>
          <p:spPr>
            <a:xfrm>
              <a:off x="3958617" y="6130172"/>
              <a:ext cx="96641" cy="79553"/>
            </a:xfrm>
            <a:custGeom>
              <a:avLst/>
              <a:gdLst>
                <a:gd name="connsiteX0" fmla="*/ 0 w 96641"/>
                <a:gd name="connsiteY0" fmla="*/ 0 h 79553"/>
                <a:gd name="connsiteX1" fmla="*/ 0 w 96641"/>
                <a:gd name="connsiteY1" fmla="*/ 72644 h 79553"/>
                <a:gd name="connsiteX2" fmla="*/ 20729 w 96641"/>
                <a:gd name="connsiteY2" fmla="*/ 72644 h 79553"/>
                <a:gd name="connsiteX3" fmla="*/ 37909 w 96641"/>
                <a:gd name="connsiteY3" fmla="*/ 72644 h 79553"/>
                <a:gd name="connsiteX4" fmla="*/ 62093 w 96641"/>
                <a:gd name="connsiteY4" fmla="*/ 79554 h 79553"/>
                <a:gd name="connsiteX5" fmla="*/ 86277 w 96641"/>
                <a:gd name="connsiteY5" fmla="*/ 76099 h 79553"/>
                <a:gd name="connsiteX6" fmla="*/ 96641 w 96641"/>
                <a:gd name="connsiteY6" fmla="*/ 72644 h 79553"/>
                <a:gd name="connsiteX7" fmla="*/ 82822 w 96641"/>
                <a:gd name="connsiteY7" fmla="*/ 69190 h 79553"/>
                <a:gd name="connsiteX8" fmla="*/ 55184 w 96641"/>
                <a:gd name="connsiteY8" fmla="*/ 62280 h 79553"/>
                <a:gd name="connsiteX9" fmla="*/ 34548 w 96641"/>
                <a:gd name="connsiteY9" fmla="*/ 48461 h 79553"/>
                <a:gd name="connsiteX10" fmla="*/ 13819 w 96641"/>
                <a:gd name="connsiteY10" fmla="*/ 27639 h 79553"/>
                <a:gd name="connsiteX11" fmla="*/ 10364 w 96641"/>
                <a:gd name="connsiteY11" fmla="*/ 13819 h 79553"/>
                <a:gd name="connsiteX12" fmla="*/ 6910 w 96641"/>
                <a:gd name="connsiteY12" fmla="*/ 3455 h 79553"/>
                <a:gd name="connsiteX13" fmla="*/ 0 w 96641"/>
                <a:gd name="connsiteY13" fmla="*/ 0 h 79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641" h="79553">
                  <a:moveTo>
                    <a:pt x="0" y="0"/>
                  </a:moveTo>
                  <a:lnTo>
                    <a:pt x="0" y="72644"/>
                  </a:lnTo>
                  <a:lnTo>
                    <a:pt x="20729" y="72644"/>
                  </a:lnTo>
                  <a:lnTo>
                    <a:pt x="37909" y="72644"/>
                  </a:lnTo>
                  <a:lnTo>
                    <a:pt x="62093" y="79554"/>
                  </a:lnTo>
                  <a:lnTo>
                    <a:pt x="86277" y="76099"/>
                  </a:lnTo>
                  <a:lnTo>
                    <a:pt x="96641" y="72644"/>
                  </a:lnTo>
                  <a:lnTo>
                    <a:pt x="82822" y="69190"/>
                  </a:lnTo>
                  <a:lnTo>
                    <a:pt x="55184" y="62280"/>
                  </a:lnTo>
                  <a:lnTo>
                    <a:pt x="34548" y="48461"/>
                  </a:lnTo>
                  <a:lnTo>
                    <a:pt x="13819" y="27639"/>
                  </a:lnTo>
                  <a:lnTo>
                    <a:pt x="10364" y="13819"/>
                  </a:lnTo>
                  <a:lnTo>
                    <a:pt x="6910" y="3455"/>
                  </a:lnTo>
                  <a:lnTo>
                    <a:pt x="0" y="0"/>
                  </a:lnTo>
                  <a:close/>
                </a:path>
              </a:pathLst>
            </a:custGeom>
            <a:solidFill>
              <a:srgbClr val="CEE3BF"/>
            </a:solidFill>
            <a:ln w="9334" cap="flat">
              <a:noFill/>
              <a:prstDash val="solid"/>
              <a:miter/>
            </a:ln>
          </p:spPr>
          <p:txBody>
            <a:bodyPr rtlCol="0" anchor="ctr"/>
            <a:lstStyle/>
            <a:p>
              <a:endParaRPr lang="en-GB" dirty="0"/>
            </a:p>
          </p:txBody>
        </p:sp>
        <p:sp>
          <p:nvSpPr>
            <p:cNvPr id="999" name="Freeform: Shape 998">
              <a:extLst>
                <a:ext uri="{FF2B5EF4-FFF2-40B4-BE49-F238E27FC236}">
                  <a16:creationId xmlns:a16="http://schemas.microsoft.com/office/drawing/2014/main" id="{BC8FA9EA-695B-4E56-B5E8-4919F9A43D36}"/>
                </a:ext>
              </a:extLst>
            </p:cNvPr>
            <p:cNvSpPr/>
            <p:nvPr/>
          </p:nvSpPr>
          <p:spPr>
            <a:xfrm>
              <a:off x="3958617" y="6130172"/>
              <a:ext cx="96641" cy="79553"/>
            </a:xfrm>
            <a:custGeom>
              <a:avLst/>
              <a:gdLst>
                <a:gd name="connsiteX0" fmla="*/ 0 w 96641"/>
                <a:gd name="connsiteY0" fmla="*/ 0 h 79553"/>
                <a:gd name="connsiteX1" fmla="*/ 0 w 96641"/>
                <a:gd name="connsiteY1" fmla="*/ 72644 h 79553"/>
                <a:gd name="connsiteX2" fmla="*/ 20729 w 96641"/>
                <a:gd name="connsiteY2" fmla="*/ 72644 h 79553"/>
                <a:gd name="connsiteX3" fmla="*/ 37909 w 96641"/>
                <a:gd name="connsiteY3" fmla="*/ 72644 h 79553"/>
                <a:gd name="connsiteX4" fmla="*/ 62093 w 96641"/>
                <a:gd name="connsiteY4" fmla="*/ 79554 h 79553"/>
                <a:gd name="connsiteX5" fmla="*/ 86277 w 96641"/>
                <a:gd name="connsiteY5" fmla="*/ 76099 h 79553"/>
                <a:gd name="connsiteX6" fmla="*/ 96641 w 96641"/>
                <a:gd name="connsiteY6" fmla="*/ 72644 h 79553"/>
                <a:gd name="connsiteX7" fmla="*/ 82822 w 96641"/>
                <a:gd name="connsiteY7" fmla="*/ 69190 h 79553"/>
                <a:gd name="connsiteX8" fmla="*/ 55184 w 96641"/>
                <a:gd name="connsiteY8" fmla="*/ 62280 h 79553"/>
                <a:gd name="connsiteX9" fmla="*/ 34548 w 96641"/>
                <a:gd name="connsiteY9" fmla="*/ 48461 h 79553"/>
                <a:gd name="connsiteX10" fmla="*/ 13819 w 96641"/>
                <a:gd name="connsiteY10" fmla="*/ 27639 h 79553"/>
                <a:gd name="connsiteX11" fmla="*/ 10364 w 96641"/>
                <a:gd name="connsiteY11" fmla="*/ 13819 h 79553"/>
                <a:gd name="connsiteX12" fmla="*/ 6910 w 96641"/>
                <a:gd name="connsiteY12" fmla="*/ 3455 h 79553"/>
                <a:gd name="connsiteX13" fmla="*/ 0 w 96641"/>
                <a:gd name="connsiteY13" fmla="*/ 0 h 79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641" h="79553">
                  <a:moveTo>
                    <a:pt x="0" y="0"/>
                  </a:moveTo>
                  <a:lnTo>
                    <a:pt x="0" y="72644"/>
                  </a:lnTo>
                  <a:lnTo>
                    <a:pt x="20729" y="72644"/>
                  </a:lnTo>
                  <a:lnTo>
                    <a:pt x="37909" y="72644"/>
                  </a:lnTo>
                  <a:lnTo>
                    <a:pt x="62093" y="79554"/>
                  </a:lnTo>
                  <a:lnTo>
                    <a:pt x="86277" y="76099"/>
                  </a:lnTo>
                  <a:lnTo>
                    <a:pt x="96641" y="72644"/>
                  </a:lnTo>
                  <a:lnTo>
                    <a:pt x="82822" y="69190"/>
                  </a:lnTo>
                  <a:lnTo>
                    <a:pt x="55184" y="62280"/>
                  </a:lnTo>
                  <a:lnTo>
                    <a:pt x="34548" y="48461"/>
                  </a:lnTo>
                  <a:lnTo>
                    <a:pt x="13819" y="27639"/>
                  </a:lnTo>
                  <a:lnTo>
                    <a:pt x="10364" y="13819"/>
                  </a:lnTo>
                  <a:lnTo>
                    <a:pt x="6910" y="3455"/>
                  </a:lnTo>
                  <a:lnTo>
                    <a:pt x="0" y="0"/>
                  </a:lnTo>
                  <a:close/>
                </a:path>
              </a:pathLst>
            </a:custGeom>
            <a:solidFill>
              <a:srgbClr val="CEE3BF"/>
            </a:solidFill>
            <a:ln w="9334" cap="flat">
              <a:noFill/>
              <a:prstDash val="solid"/>
              <a:miter/>
            </a:ln>
          </p:spPr>
          <p:txBody>
            <a:bodyPr rtlCol="0" anchor="ctr"/>
            <a:lstStyle/>
            <a:p>
              <a:endParaRPr lang="en-GB" dirty="0"/>
            </a:p>
          </p:txBody>
        </p:sp>
        <p:sp>
          <p:nvSpPr>
            <p:cNvPr id="1000" name="Freeform: Shape 999">
              <a:extLst>
                <a:ext uri="{FF2B5EF4-FFF2-40B4-BE49-F238E27FC236}">
                  <a16:creationId xmlns:a16="http://schemas.microsoft.com/office/drawing/2014/main" id="{4844BCDF-4542-4609-8852-246758494FCB}"/>
                </a:ext>
              </a:extLst>
            </p:cNvPr>
            <p:cNvSpPr/>
            <p:nvPr/>
          </p:nvSpPr>
          <p:spPr>
            <a:xfrm>
              <a:off x="3886066" y="6119808"/>
              <a:ext cx="117370" cy="110647"/>
            </a:xfrm>
            <a:custGeom>
              <a:avLst/>
              <a:gdLst>
                <a:gd name="connsiteX0" fmla="*/ 3455 w 117370"/>
                <a:gd name="connsiteY0" fmla="*/ 79554 h 110647"/>
                <a:gd name="connsiteX1" fmla="*/ 0 w 117370"/>
                <a:gd name="connsiteY1" fmla="*/ 69190 h 110647"/>
                <a:gd name="connsiteX2" fmla="*/ 10365 w 117370"/>
                <a:gd name="connsiteY2" fmla="*/ 65735 h 110647"/>
                <a:gd name="connsiteX3" fmla="*/ 17274 w 117370"/>
                <a:gd name="connsiteY3" fmla="*/ 65735 h 110647"/>
                <a:gd name="connsiteX4" fmla="*/ 34548 w 117370"/>
                <a:gd name="connsiteY4" fmla="*/ 65735 h 110647"/>
                <a:gd name="connsiteX5" fmla="*/ 44913 w 117370"/>
                <a:gd name="connsiteY5" fmla="*/ 69190 h 110647"/>
                <a:gd name="connsiteX6" fmla="*/ 51822 w 117370"/>
                <a:gd name="connsiteY6" fmla="*/ 65735 h 110647"/>
                <a:gd name="connsiteX7" fmla="*/ 38003 w 117370"/>
                <a:gd name="connsiteY7" fmla="*/ 55370 h 110647"/>
                <a:gd name="connsiteX8" fmla="*/ 27639 w 117370"/>
                <a:gd name="connsiteY8" fmla="*/ 48461 h 110647"/>
                <a:gd name="connsiteX9" fmla="*/ 31093 w 117370"/>
                <a:gd name="connsiteY9" fmla="*/ 38003 h 110647"/>
                <a:gd name="connsiteX10" fmla="*/ 38003 w 117370"/>
                <a:gd name="connsiteY10" fmla="*/ 38003 h 110647"/>
                <a:gd name="connsiteX11" fmla="*/ 48368 w 117370"/>
                <a:gd name="connsiteY11" fmla="*/ 34548 h 110647"/>
                <a:gd name="connsiteX12" fmla="*/ 44913 w 117370"/>
                <a:gd name="connsiteY12" fmla="*/ 24184 h 110647"/>
                <a:gd name="connsiteX13" fmla="*/ 34548 w 117370"/>
                <a:gd name="connsiteY13" fmla="*/ 27638 h 110647"/>
                <a:gd name="connsiteX14" fmla="*/ 24184 w 117370"/>
                <a:gd name="connsiteY14" fmla="*/ 31093 h 110647"/>
                <a:gd name="connsiteX15" fmla="*/ 20729 w 117370"/>
                <a:gd name="connsiteY15" fmla="*/ 20729 h 110647"/>
                <a:gd name="connsiteX16" fmla="*/ 24184 w 117370"/>
                <a:gd name="connsiteY16" fmla="*/ 13819 h 110647"/>
                <a:gd name="connsiteX17" fmla="*/ 34548 w 117370"/>
                <a:gd name="connsiteY17" fmla="*/ 10364 h 110647"/>
                <a:gd name="connsiteX18" fmla="*/ 41458 w 117370"/>
                <a:gd name="connsiteY18" fmla="*/ 3455 h 110647"/>
                <a:gd name="connsiteX19" fmla="*/ 55277 w 117370"/>
                <a:gd name="connsiteY19" fmla="*/ 0 h 110647"/>
                <a:gd name="connsiteX20" fmla="*/ 65642 w 117370"/>
                <a:gd name="connsiteY20" fmla="*/ 0 h 110647"/>
                <a:gd name="connsiteX21" fmla="*/ 72551 w 117370"/>
                <a:gd name="connsiteY21" fmla="*/ 10364 h 110647"/>
                <a:gd name="connsiteX22" fmla="*/ 72551 w 117370"/>
                <a:gd name="connsiteY22" fmla="*/ 83009 h 110647"/>
                <a:gd name="connsiteX23" fmla="*/ 110461 w 117370"/>
                <a:gd name="connsiteY23" fmla="*/ 83009 h 110647"/>
                <a:gd name="connsiteX24" fmla="*/ 117370 w 117370"/>
                <a:gd name="connsiteY24" fmla="*/ 89918 h 110647"/>
                <a:gd name="connsiteX25" fmla="*/ 117370 w 117370"/>
                <a:gd name="connsiteY25" fmla="*/ 96828 h 110647"/>
                <a:gd name="connsiteX26" fmla="*/ 103644 w 117370"/>
                <a:gd name="connsiteY26" fmla="*/ 100283 h 110647"/>
                <a:gd name="connsiteX27" fmla="*/ 89825 w 117370"/>
                <a:gd name="connsiteY27" fmla="*/ 100283 h 110647"/>
                <a:gd name="connsiteX28" fmla="*/ 76006 w 117370"/>
                <a:gd name="connsiteY28" fmla="*/ 103738 h 110647"/>
                <a:gd name="connsiteX29" fmla="*/ 72551 w 117370"/>
                <a:gd name="connsiteY29" fmla="*/ 110647 h 110647"/>
                <a:gd name="connsiteX30" fmla="*/ 58732 w 117370"/>
                <a:gd name="connsiteY30" fmla="*/ 107193 h 110647"/>
                <a:gd name="connsiteX31" fmla="*/ 41458 w 117370"/>
                <a:gd name="connsiteY31" fmla="*/ 103738 h 110647"/>
                <a:gd name="connsiteX32" fmla="*/ 34548 w 117370"/>
                <a:gd name="connsiteY32" fmla="*/ 96828 h 110647"/>
                <a:gd name="connsiteX33" fmla="*/ 34548 w 117370"/>
                <a:gd name="connsiteY33" fmla="*/ 86463 h 110647"/>
                <a:gd name="connsiteX34" fmla="*/ 27639 w 117370"/>
                <a:gd name="connsiteY34" fmla="*/ 86463 h 110647"/>
                <a:gd name="connsiteX35" fmla="*/ 20729 w 117370"/>
                <a:gd name="connsiteY35" fmla="*/ 86463 h 110647"/>
                <a:gd name="connsiteX36" fmla="*/ 20729 w 117370"/>
                <a:gd name="connsiteY36" fmla="*/ 96828 h 110647"/>
                <a:gd name="connsiteX37" fmla="*/ 3455 w 117370"/>
                <a:gd name="connsiteY37" fmla="*/ 89918 h 110647"/>
                <a:gd name="connsiteX38" fmla="*/ 3455 w 117370"/>
                <a:gd name="connsiteY38" fmla="*/ 79554 h 11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7370" h="110647">
                  <a:moveTo>
                    <a:pt x="3455" y="79554"/>
                  </a:moveTo>
                  <a:lnTo>
                    <a:pt x="0" y="69190"/>
                  </a:lnTo>
                  <a:lnTo>
                    <a:pt x="10365" y="65735"/>
                  </a:lnTo>
                  <a:lnTo>
                    <a:pt x="17274" y="65735"/>
                  </a:lnTo>
                  <a:lnTo>
                    <a:pt x="34548" y="65735"/>
                  </a:lnTo>
                  <a:lnTo>
                    <a:pt x="44913" y="69190"/>
                  </a:lnTo>
                  <a:lnTo>
                    <a:pt x="51822" y="65735"/>
                  </a:lnTo>
                  <a:lnTo>
                    <a:pt x="38003" y="55370"/>
                  </a:lnTo>
                  <a:lnTo>
                    <a:pt x="27639" y="48461"/>
                  </a:lnTo>
                  <a:lnTo>
                    <a:pt x="31093" y="38003"/>
                  </a:lnTo>
                  <a:lnTo>
                    <a:pt x="38003" y="38003"/>
                  </a:lnTo>
                  <a:lnTo>
                    <a:pt x="48368" y="34548"/>
                  </a:lnTo>
                  <a:lnTo>
                    <a:pt x="44913" y="24184"/>
                  </a:lnTo>
                  <a:lnTo>
                    <a:pt x="34548" y="27638"/>
                  </a:lnTo>
                  <a:lnTo>
                    <a:pt x="24184" y="31093"/>
                  </a:lnTo>
                  <a:lnTo>
                    <a:pt x="20729" y="20729"/>
                  </a:lnTo>
                  <a:lnTo>
                    <a:pt x="24184" y="13819"/>
                  </a:lnTo>
                  <a:lnTo>
                    <a:pt x="34548" y="10364"/>
                  </a:lnTo>
                  <a:lnTo>
                    <a:pt x="41458" y="3455"/>
                  </a:lnTo>
                  <a:lnTo>
                    <a:pt x="55277" y="0"/>
                  </a:lnTo>
                  <a:lnTo>
                    <a:pt x="65642" y="0"/>
                  </a:lnTo>
                  <a:lnTo>
                    <a:pt x="72551" y="10364"/>
                  </a:lnTo>
                  <a:lnTo>
                    <a:pt x="72551" y="83009"/>
                  </a:lnTo>
                  <a:lnTo>
                    <a:pt x="110461" y="83009"/>
                  </a:lnTo>
                  <a:lnTo>
                    <a:pt x="117370" y="89918"/>
                  </a:lnTo>
                  <a:lnTo>
                    <a:pt x="117370" y="96828"/>
                  </a:lnTo>
                  <a:lnTo>
                    <a:pt x="103644" y="100283"/>
                  </a:lnTo>
                  <a:lnTo>
                    <a:pt x="89825" y="100283"/>
                  </a:lnTo>
                  <a:lnTo>
                    <a:pt x="76006" y="103738"/>
                  </a:lnTo>
                  <a:lnTo>
                    <a:pt x="72551" y="110647"/>
                  </a:lnTo>
                  <a:lnTo>
                    <a:pt x="58732" y="107193"/>
                  </a:lnTo>
                  <a:lnTo>
                    <a:pt x="41458" y="103738"/>
                  </a:lnTo>
                  <a:lnTo>
                    <a:pt x="34548" y="96828"/>
                  </a:lnTo>
                  <a:lnTo>
                    <a:pt x="34548" y="86463"/>
                  </a:lnTo>
                  <a:lnTo>
                    <a:pt x="27639" y="86463"/>
                  </a:lnTo>
                  <a:lnTo>
                    <a:pt x="20729" y="86463"/>
                  </a:lnTo>
                  <a:lnTo>
                    <a:pt x="20729" y="96828"/>
                  </a:lnTo>
                  <a:lnTo>
                    <a:pt x="3455" y="89918"/>
                  </a:lnTo>
                  <a:lnTo>
                    <a:pt x="3455" y="79554"/>
                  </a:lnTo>
                  <a:close/>
                </a:path>
              </a:pathLst>
            </a:custGeom>
            <a:solidFill>
              <a:srgbClr val="CEE3BF"/>
            </a:solidFill>
            <a:ln w="9334" cap="flat">
              <a:noFill/>
              <a:prstDash val="solid"/>
              <a:miter/>
            </a:ln>
          </p:spPr>
          <p:txBody>
            <a:bodyPr rtlCol="0" anchor="ctr"/>
            <a:lstStyle/>
            <a:p>
              <a:endParaRPr lang="en-GB" dirty="0"/>
            </a:p>
          </p:txBody>
        </p:sp>
        <p:sp>
          <p:nvSpPr>
            <p:cNvPr id="1001" name="Freeform: Shape 1000">
              <a:extLst>
                <a:ext uri="{FF2B5EF4-FFF2-40B4-BE49-F238E27FC236}">
                  <a16:creationId xmlns:a16="http://schemas.microsoft.com/office/drawing/2014/main" id="{5FF091DF-6450-4772-826C-15A65405A5D8}"/>
                </a:ext>
              </a:extLst>
            </p:cNvPr>
            <p:cNvSpPr/>
            <p:nvPr/>
          </p:nvSpPr>
          <p:spPr>
            <a:xfrm>
              <a:off x="3886066" y="6119808"/>
              <a:ext cx="117370" cy="110647"/>
            </a:xfrm>
            <a:custGeom>
              <a:avLst/>
              <a:gdLst>
                <a:gd name="connsiteX0" fmla="*/ 3455 w 117370"/>
                <a:gd name="connsiteY0" fmla="*/ 79554 h 110647"/>
                <a:gd name="connsiteX1" fmla="*/ 0 w 117370"/>
                <a:gd name="connsiteY1" fmla="*/ 69190 h 110647"/>
                <a:gd name="connsiteX2" fmla="*/ 10365 w 117370"/>
                <a:gd name="connsiteY2" fmla="*/ 65735 h 110647"/>
                <a:gd name="connsiteX3" fmla="*/ 17274 w 117370"/>
                <a:gd name="connsiteY3" fmla="*/ 65735 h 110647"/>
                <a:gd name="connsiteX4" fmla="*/ 34548 w 117370"/>
                <a:gd name="connsiteY4" fmla="*/ 65735 h 110647"/>
                <a:gd name="connsiteX5" fmla="*/ 44913 w 117370"/>
                <a:gd name="connsiteY5" fmla="*/ 69190 h 110647"/>
                <a:gd name="connsiteX6" fmla="*/ 51822 w 117370"/>
                <a:gd name="connsiteY6" fmla="*/ 65735 h 110647"/>
                <a:gd name="connsiteX7" fmla="*/ 38003 w 117370"/>
                <a:gd name="connsiteY7" fmla="*/ 55370 h 110647"/>
                <a:gd name="connsiteX8" fmla="*/ 27639 w 117370"/>
                <a:gd name="connsiteY8" fmla="*/ 48461 h 110647"/>
                <a:gd name="connsiteX9" fmla="*/ 31093 w 117370"/>
                <a:gd name="connsiteY9" fmla="*/ 38003 h 110647"/>
                <a:gd name="connsiteX10" fmla="*/ 38003 w 117370"/>
                <a:gd name="connsiteY10" fmla="*/ 38003 h 110647"/>
                <a:gd name="connsiteX11" fmla="*/ 48368 w 117370"/>
                <a:gd name="connsiteY11" fmla="*/ 34548 h 110647"/>
                <a:gd name="connsiteX12" fmla="*/ 44913 w 117370"/>
                <a:gd name="connsiteY12" fmla="*/ 24184 h 110647"/>
                <a:gd name="connsiteX13" fmla="*/ 34548 w 117370"/>
                <a:gd name="connsiteY13" fmla="*/ 27638 h 110647"/>
                <a:gd name="connsiteX14" fmla="*/ 24184 w 117370"/>
                <a:gd name="connsiteY14" fmla="*/ 31093 h 110647"/>
                <a:gd name="connsiteX15" fmla="*/ 20729 w 117370"/>
                <a:gd name="connsiteY15" fmla="*/ 20729 h 110647"/>
                <a:gd name="connsiteX16" fmla="*/ 24184 w 117370"/>
                <a:gd name="connsiteY16" fmla="*/ 13819 h 110647"/>
                <a:gd name="connsiteX17" fmla="*/ 34548 w 117370"/>
                <a:gd name="connsiteY17" fmla="*/ 10364 h 110647"/>
                <a:gd name="connsiteX18" fmla="*/ 41458 w 117370"/>
                <a:gd name="connsiteY18" fmla="*/ 3455 h 110647"/>
                <a:gd name="connsiteX19" fmla="*/ 55277 w 117370"/>
                <a:gd name="connsiteY19" fmla="*/ 0 h 110647"/>
                <a:gd name="connsiteX20" fmla="*/ 65642 w 117370"/>
                <a:gd name="connsiteY20" fmla="*/ 0 h 110647"/>
                <a:gd name="connsiteX21" fmla="*/ 72551 w 117370"/>
                <a:gd name="connsiteY21" fmla="*/ 10364 h 110647"/>
                <a:gd name="connsiteX22" fmla="*/ 72551 w 117370"/>
                <a:gd name="connsiteY22" fmla="*/ 83009 h 110647"/>
                <a:gd name="connsiteX23" fmla="*/ 110461 w 117370"/>
                <a:gd name="connsiteY23" fmla="*/ 83009 h 110647"/>
                <a:gd name="connsiteX24" fmla="*/ 117370 w 117370"/>
                <a:gd name="connsiteY24" fmla="*/ 89918 h 110647"/>
                <a:gd name="connsiteX25" fmla="*/ 117370 w 117370"/>
                <a:gd name="connsiteY25" fmla="*/ 96828 h 110647"/>
                <a:gd name="connsiteX26" fmla="*/ 103644 w 117370"/>
                <a:gd name="connsiteY26" fmla="*/ 100283 h 110647"/>
                <a:gd name="connsiteX27" fmla="*/ 89825 w 117370"/>
                <a:gd name="connsiteY27" fmla="*/ 100283 h 110647"/>
                <a:gd name="connsiteX28" fmla="*/ 76006 w 117370"/>
                <a:gd name="connsiteY28" fmla="*/ 103738 h 110647"/>
                <a:gd name="connsiteX29" fmla="*/ 72551 w 117370"/>
                <a:gd name="connsiteY29" fmla="*/ 110647 h 110647"/>
                <a:gd name="connsiteX30" fmla="*/ 58732 w 117370"/>
                <a:gd name="connsiteY30" fmla="*/ 107193 h 110647"/>
                <a:gd name="connsiteX31" fmla="*/ 41458 w 117370"/>
                <a:gd name="connsiteY31" fmla="*/ 103738 h 110647"/>
                <a:gd name="connsiteX32" fmla="*/ 34548 w 117370"/>
                <a:gd name="connsiteY32" fmla="*/ 96828 h 110647"/>
                <a:gd name="connsiteX33" fmla="*/ 34548 w 117370"/>
                <a:gd name="connsiteY33" fmla="*/ 86463 h 110647"/>
                <a:gd name="connsiteX34" fmla="*/ 27639 w 117370"/>
                <a:gd name="connsiteY34" fmla="*/ 86463 h 110647"/>
                <a:gd name="connsiteX35" fmla="*/ 20729 w 117370"/>
                <a:gd name="connsiteY35" fmla="*/ 86463 h 110647"/>
                <a:gd name="connsiteX36" fmla="*/ 20729 w 117370"/>
                <a:gd name="connsiteY36" fmla="*/ 96828 h 110647"/>
                <a:gd name="connsiteX37" fmla="*/ 3455 w 117370"/>
                <a:gd name="connsiteY37" fmla="*/ 89918 h 110647"/>
                <a:gd name="connsiteX38" fmla="*/ 3455 w 117370"/>
                <a:gd name="connsiteY38" fmla="*/ 79554 h 11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7370" h="110647">
                  <a:moveTo>
                    <a:pt x="3455" y="79554"/>
                  </a:moveTo>
                  <a:lnTo>
                    <a:pt x="0" y="69190"/>
                  </a:lnTo>
                  <a:lnTo>
                    <a:pt x="10365" y="65735"/>
                  </a:lnTo>
                  <a:lnTo>
                    <a:pt x="17274" y="65735"/>
                  </a:lnTo>
                  <a:lnTo>
                    <a:pt x="34548" y="65735"/>
                  </a:lnTo>
                  <a:lnTo>
                    <a:pt x="44913" y="69190"/>
                  </a:lnTo>
                  <a:lnTo>
                    <a:pt x="51822" y="65735"/>
                  </a:lnTo>
                  <a:lnTo>
                    <a:pt x="38003" y="55370"/>
                  </a:lnTo>
                  <a:lnTo>
                    <a:pt x="27639" y="48461"/>
                  </a:lnTo>
                  <a:lnTo>
                    <a:pt x="31093" y="38003"/>
                  </a:lnTo>
                  <a:lnTo>
                    <a:pt x="38003" y="38003"/>
                  </a:lnTo>
                  <a:lnTo>
                    <a:pt x="48368" y="34548"/>
                  </a:lnTo>
                  <a:lnTo>
                    <a:pt x="44913" y="24184"/>
                  </a:lnTo>
                  <a:lnTo>
                    <a:pt x="34548" y="27638"/>
                  </a:lnTo>
                  <a:lnTo>
                    <a:pt x="24184" y="31093"/>
                  </a:lnTo>
                  <a:lnTo>
                    <a:pt x="20729" y="20729"/>
                  </a:lnTo>
                  <a:lnTo>
                    <a:pt x="24184" y="13819"/>
                  </a:lnTo>
                  <a:lnTo>
                    <a:pt x="34548" y="10364"/>
                  </a:lnTo>
                  <a:lnTo>
                    <a:pt x="41458" y="3455"/>
                  </a:lnTo>
                  <a:lnTo>
                    <a:pt x="55277" y="0"/>
                  </a:lnTo>
                  <a:lnTo>
                    <a:pt x="65642" y="0"/>
                  </a:lnTo>
                  <a:lnTo>
                    <a:pt x="72551" y="10364"/>
                  </a:lnTo>
                  <a:lnTo>
                    <a:pt x="72551" y="83009"/>
                  </a:lnTo>
                  <a:lnTo>
                    <a:pt x="110461" y="83009"/>
                  </a:lnTo>
                  <a:lnTo>
                    <a:pt x="117370" y="89918"/>
                  </a:lnTo>
                  <a:lnTo>
                    <a:pt x="117370" y="96828"/>
                  </a:lnTo>
                  <a:lnTo>
                    <a:pt x="103644" y="100283"/>
                  </a:lnTo>
                  <a:lnTo>
                    <a:pt x="89825" y="100283"/>
                  </a:lnTo>
                  <a:lnTo>
                    <a:pt x="76006" y="103738"/>
                  </a:lnTo>
                  <a:lnTo>
                    <a:pt x="72551" y="110647"/>
                  </a:lnTo>
                  <a:lnTo>
                    <a:pt x="58732" y="107193"/>
                  </a:lnTo>
                  <a:lnTo>
                    <a:pt x="41458" y="103738"/>
                  </a:lnTo>
                  <a:lnTo>
                    <a:pt x="34548" y="96828"/>
                  </a:lnTo>
                  <a:lnTo>
                    <a:pt x="34548" y="86463"/>
                  </a:lnTo>
                  <a:lnTo>
                    <a:pt x="27639" y="86463"/>
                  </a:lnTo>
                  <a:lnTo>
                    <a:pt x="20729" y="86463"/>
                  </a:lnTo>
                  <a:lnTo>
                    <a:pt x="20729" y="96828"/>
                  </a:lnTo>
                  <a:lnTo>
                    <a:pt x="3455" y="89918"/>
                  </a:lnTo>
                  <a:lnTo>
                    <a:pt x="3455" y="79554"/>
                  </a:lnTo>
                  <a:close/>
                </a:path>
              </a:pathLst>
            </a:custGeom>
            <a:solidFill>
              <a:srgbClr val="CEE3BF"/>
            </a:solidFill>
            <a:ln w="9334" cap="flat">
              <a:noFill/>
              <a:prstDash val="solid"/>
              <a:miter/>
            </a:ln>
          </p:spPr>
          <p:txBody>
            <a:bodyPr rtlCol="0" anchor="ctr"/>
            <a:lstStyle/>
            <a:p>
              <a:endParaRPr lang="en-GB" dirty="0"/>
            </a:p>
          </p:txBody>
        </p:sp>
        <p:sp>
          <p:nvSpPr>
            <p:cNvPr id="1002" name="Freeform: Shape 1001">
              <a:extLst>
                <a:ext uri="{FF2B5EF4-FFF2-40B4-BE49-F238E27FC236}">
                  <a16:creationId xmlns:a16="http://schemas.microsoft.com/office/drawing/2014/main" id="{05A2DBDA-63C5-4CA2-873F-134BD107CEA8}"/>
                </a:ext>
              </a:extLst>
            </p:cNvPr>
            <p:cNvSpPr/>
            <p:nvPr/>
          </p:nvSpPr>
          <p:spPr>
            <a:xfrm>
              <a:off x="4176083" y="6071441"/>
              <a:ext cx="31093" cy="31093"/>
            </a:xfrm>
            <a:custGeom>
              <a:avLst/>
              <a:gdLst>
                <a:gd name="connsiteX0" fmla="*/ 10364 w 31093"/>
                <a:gd name="connsiteY0" fmla="*/ 6910 h 31093"/>
                <a:gd name="connsiteX1" fmla="*/ 20729 w 31093"/>
                <a:gd name="connsiteY1" fmla="*/ 0 h 31093"/>
                <a:gd name="connsiteX2" fmla="*/ 31093 w 31093"/>
                <a:gd name="connsiteY2" fmla="*/ 3455 h 31093"/>
                <a:gd name="connsiteX3" fmla="*/ 31093 w 31093"/>
                <a:gd name="connsiteY3" fmla="*/ 10364 h 31093"/>
                <a:gd name="connsiteX4" fmla="*/ 24184 w 31093"/>
                <a:gd name="connsiteY4" fmla="*/ 17274 h 31093"/>
                <a:gd name="connsiteX5" fmla="*/ 13819 w 31093"/>
                <a:gd name="connsiteY5" fmla="*/ 27638 h 31093"/>
                <a:gd name="connsiteX6" fmla="*/ 6910 w 31093"/>
                <a:gd name="connsiteY6" fmla="*/ 31093 h 31093"/>
                <a:gd name="connsiteX7" fmla="*/ 0 w 31093"/>
                <a:gd name="connsiteY7" fmla="*/ 27638 h 31093"/>
                <a:gd name="connsiteX8" fmla="*/ 0 w 31093"/>
                <a:gd name="connsiteY8" fmla="*/ 20729 h 31093"/>
                <a:gd name="connsiteX9" fmla="*/ 6910 w 31093"/>
                <a:gd name="connsiteY9" fmla="*/ 13819 h 31093"/>
                <a:gd name="connsiteX10" fmla="*/ 10364 w 31093"/>
                <a:gd name="connsiteY10" fmla="*/ 6910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93" h="31093">
                  <a:moveTo>
                    <a:pt x="10364" y="6910"/>
                  </a:moveTo>
                  <a:lnTo>
                    <a:pt x="20729" y="0"/>
                  </a:lnTo>
                  <a:lnTo>
                    <a:pt x="31093" y="3455"/>
                  </a:lnTo>
                  <a:lnTo>
                    <a:pt x="31093" y="10364"/>
                  </a:lnTo>
                  <a:lnTo>
                    <a:pt x="24184" y="17274"/>
                  </a:lnTo>
                  <a:lnTo>
                    <a:pt x="13819" y="27638"/>
                  </a:lnTo>
                  <a:lnTo>
                    <a:pt x="6910" y="31093"/>
                  </a:lnTo>
                  <a:lnTo>
                    <a:pt x="0" y="27638"/>
                  </a:lnTo>
                  <a:lnTo>
                    <a:pt x="0" y="20729"/>
                  </a:lnTo>
                  <a:lnTo>
                    <a:pt x="6910" y="13819"/>
                  </a:lnTo>
                  <a:lnTo>
                    <a:pt x="10364" y="6910"/>
                  </a:lnTo>
                  <a:close/>
                </a:path>
              </a:pathLst>
            </a:custGeom>
            <a:solidFill>
              <a:srgbClr val="CEE3BF"/>
            </a:solidFill>
            <a:ln w="9334" cap="flat">
              <a:noFill/>
              <a:prstDash val="solid"/>
              <a:miter/>
            </a:ln>
          </p:spPr>
          <p:txBody>
            <a:bodyPr rtlCol="0" anchor="ctr"/>
            <a:lstStyle/>
            <a:p>
              <a:endParaRPr lang="en-GB" dirty="0"/>
            </a:p>
          </p:txBody>
        </p:sp>
        <p:sp>
          <p:nvSpPr>
            <p:cNvPr id="1003" name="Freeform: Shape 1002">
              <a:extLst>
                <a:ext uri="{FF2B5EF4-FFF2-40B4-BE49-F238E27FC236}">
                  <a16:creationId xmlns:a16="http://schemas.microsoft.com/office/drawing/2014/main" id="{B4B81650-953B-45E1-9FC2-632EBF886225}"/>
                </a:ext>
              </a:extLst>
            </p:cNvPr>
            <p:cNvSpPr/>
            <p:nvPr/>
          </p:nvSpPr>
          <p:spPr>
            <a:xfrm>
              <a:off x="4176083" y="6071441"/>
              <a:ext cx="31093" cy="31093"/>
            </a:xfrm>
            <a:custGeom>
              <a:avLst/>
              <a:gdLst>
                <a:gd name="connsiteX0" fmla="*/ 10364 w 31093"/>
                <a:gd name="connsiteY0" fmla="*/ 6910 h 31093"/>
                <a:gd name="connsiteX1" fmla="*/ 20729 w 31093"/>
                <a:gd name="connsiteY1" fmla="*/ 0 h 31093"/>
                <a:gd name="connsiteX2" fmla="*/ 31093 w 31093"/>
                <a:gd name="connsiteY2" fmla="*/ 3455 h 31093"/>
                <a:gd name="connsiteX3" fmla="*/ 31093 w 31093"/>
                <a:gd name="connsiteY3" fmla="*/ 10364 h 31093"/>
                <a:gd name="connsiteX4" fmla="*/ 24184 w 31093"/>
                <a:gd name="connsiteY4" fmla="*/ 17274 h 31093"/>
                <a:gd name="connsiteX5" fmla="*/ 13819 w 31093"/>
                <a:gd name="connsiteY5" fmla="*/ 27638 h 31093"/>
                <a:gd name="connsiteX6" fmla="*/ 6910 w 31093"/>
                <a:gd name="connsiteY6" fmla="*/ 31093 h 31093"/>
                <a:gd name="connsiteX7" fmla="*/ 0 w 31093"/>
                <a:gd name="connsiteY7" fmla="*/ 27638 h 31093"/>
                <a:gd name="connsiteX8" fmla="*/ 0 w 31093"/>
                <a:gd name="connsiteY8" fmla="*/ 20729 h 31093"/>
                <a:gd name="connsiteX9" fmla="*/ 6910 w 31093"/>
                <a:gd name="connsiteY9" fmla="*/ 13819 h 31093"/>
                <a:gd name="connsiteX10" fmla="*/ 10364 w 31093"/>
                <a:gd name="connsiteY10" fmla="*/ 6910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93" h="31093">
                  <a:moveTo>
                    <a:pt x="10364" y="6910"/>
                  </a:moveTo>
                  <a:lnTo>
                    <a:pt x="20729" y="0"/>
                  </a:lnTo>
                  <a:lnTo>
                    <a:pt x="31093" y="3455"/>
                  </a:lnTo>
                  <a:lnTo>
                    <a:pt x="31093" y="10364"/>
                  </a:lnTo>
                  <a:lnTo>
                    <a:pt x="24184" y="17274"/>
                  </a:lnTo>
                  <a:lnTo>
                    <a:pt x="13819" y="27638"/>
                  </a:lnTo>
                  <a:lnTo>
                    <a:pt x="6910" y="31093"/>
                  </a:lnTo>
                  <a:lnTo>
                    <a:pt x="0" y="27638"/>
                  </a:lnTo>
                  <a:lnTo>
                    <a:pt x="0" y="20729"/>
                  </a:lnTo>
                  <a:lnTo>
                    <a:pt x="6910" y="13819"/>
                  </a:lnTo>
                  <a:lnTo>
                    <a:pt x="10364" y="6910"/>
                  </a:lnTo>
                  <a:close/>
                </a:path>
              </a:pathLst>
            </a:custGeom>
            <a:solidFill>
              <a:srgbClr val="CEE3BF"/>
            </a:solidFill>
            <a:ln w="9334" cap="flat">
              <a:noFill/>
              <a:prstDash val="solid"/>
              <a:miter/>
            </a:ln>
          </p:spPr>
          <p:txBody>
            <a:bodyPr rtlCol="0" anchor="ctr"/>
            <a:lstStyle/>
            <a:p>
              <a:endParaRPr lang="en-GB" dirty="0"/>
            </a:p>
          </p:txBody>
        </p:sp>
        <p:sp>
          <p:nvSpPr>
            <p:cNvPr id="1004" name="Freeform: Shape 1003">
              <a:extLst>
                <a:ext uri="{FF2B5EF4-FFF2-40B4-BE49-F238E27FC236}">
                  <a16:creationId xmlns:a16="http://schemas.microsoft.com/office/drawing/2014/main" id="{50157EF4-7BD2-4DC6-BEC7-313AC1368FD6}"/>
                </a:ext>
              </a:extLst>
            </p:cNvPr>
            <p:cNvSpPr/>
            <p:nvPr/>
          </p:nvSpPr>
          <p:spPr>
            <a:xfrm>
              <a:off x="4203722" y="6074896"/>
              <a:ext cx="48367" cy="34547"/>
            </a:xfrm>
            <a:custGeom>
              <a:avLst/>
              <a:gdLst>
                <a:gd name="connsiteX0" fmla="*/ 10364 w 48367"/>
                <a:gd name="connsiteY0" fmla="*/ 13819 h 34547"/>
                <a:gd name="connsiteX1" fmla="*/ 17274 w 48367"/>
                <a:gd name="connsiteY1" fmla="*/ 0 h 34547"/>
                <a:gd name="connsiteX2" fmla="*/ 27638 w 48367"/>
                <a:gd name="connsiteY2" fmla="*/ 0 h 34547"/>
                <a:gd name="connsiteX3" fmla="*/ 38003 w 48367"/>
                <a:gd name="connsiteY3" fmla="*/ 0 h 34547"/>
                <a:gd name="connsiteX4" fmla="*/ 48367 w 48367"/>
                <a:gd name="connsiteY4" fmla="*/ 3455 h 34547"/>
                <a:gd name="connsiteX5" fmla="*/ 48367 w 48367"/>
                <a:gd name="connsiteY5" fmla="*/ 10364 h 34547"/>
                <a:gd name="connsiteX6" fmla="*/ 38003 w 48367"/>
                <a:gd name="connsiteY6" fmla="*/ 13819 h 34547"/>
                <a:gd name="connsiteX7" fmla="*/ 31093 w 48367"/>
                <a:gd name="connsiteY7" fmla="*/ 17274 h 34547"/>
                <a:gd name="connsiteX8" fmla="*/ 27638 w 48367"/>
                <a:gd name="connsiteY8" fmla="*/ 17274 h 34547"/>
                <a:gd name="connsiteX9" fmla="*/ 20729 w 48367"/>
                <a:gd name="connsiteY9" fmla="*/ 24184 h 34547"/>
                <a:gd name="connsiteX10" fmla="*/ 13819 w 48367"/>
                <a:gd name="connsiteY10" fmla="*/ 27638 h 34547"/>
                <a:gd name="connsiteX11" fmla="*/ 10364 w 48367"/>
                <a:gd name="connsiteY11" fmla="*/ 34548 h 34547"/>
                <a:gd name="connsiteX12" fmla="*/ 0 w 48367"/>
                <a:gd name="connsiteY12" fmla="*/ 31093 h 34547"/>
                <a:gd name="connsiteX13" fmla="*/ 0 w 48367"/>
                <a:gd name="connsiteY13" fmla="*/ 20729 h 34547"/>
                <a:gd name="connsiteX14" fmla="*/ 3455 w 48367"/>
                <a:gd name="connsiteY14" fmla="*/ 17274 h 34547"/>
                <a:gd name="connsiteX15" fmla="*/ 10364 w 48367"/>
                <a:gd name="connsiteY15" fmla="*/ 13819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367" h="34547">
                  <a:moveTo>
                    <a:pt x="10364" y="13819"/>
                  </a:moveTo>
                  <a:lnTo>
                    <a:pt x="17274" y="0"/>
                  </a:lnTo>
                  <a:lnTo>
                    <a:pt x="27638" y="0"/>
                  </a:lnTo>
                  <a:lnTo>
                    <a:pt x="38003" y="0"/>
                  </a:lnTo>
                  <a:lnTo>
                    <a:pt x="48367" y="3455"/>
                  </a:lnTo>
                  <a:lnTo>
                    <a:pt x="48367" y="10364"/>
                  </a:lnTo>
                  <a:lnTo>
                    <a:pt x="38003" y="13819"/>
                  </a:lnTo>
                  <a:lnTo>
                    <a:pt x="31093" y="17274"/>
                  </a:lnTo>
                  <a:lnTo>
                    <a:pt x="27638" y="17274"/>
                  </a:lnTo>
                  <a:lnTo>
                    <a:pt x="20729" y="24184"/>
                  </a:lnTo>
                  <a:lnTo>
                    <a:pt x="13819" y="27638"/>
                  </a:lnTo>
                  <a:lnTo>
                    <a:pt x="10364" y="34548"/>
                  </a:lnTo>
                  <a:lnTo>
                    <a:pt x="0" y="31093"/>
                  </a:lnTo>
                  <a:lnTo>
                    <a:pt x="0" y="20729"/>
                  </a:lnTo>
                  <a:lnTo>
                    <a:pt x="3455" y="17274"/>
                  </a:lnTo>
                  <a:lnTo>
                    <a:pt x="10364" y="13819"/>
                  </a:lnTo>
                  <a:close/>
                </a:path>
              </a:pathLst>
            </a:custGeom>
            <a:solidFill>
              <a:srgbClr val="CEE3BF"/>
            </a:solidFill>
            <a:ln w="9334" cap="flat">
              <a:noFill/>
              <a:prstDash val="solid"/>
              <a:miter/>
            </a:ln>
          </p:spPr>
          <p:txBody>
            <a:bodyPr rtlCol="0" anchor="ctr"/>
            <a:lstStyle/>
            <a:p>
              <a:endParaRPr lang="en-GB" dirty="0"/>
            </a:p>
          </p:txBody>
        </p:sp>
        <p:sp>
          <p:nvSpPr>
            <p:cNvPr id="1005" name="Freeform: Shape 1004">
              <a:extLst>
                <a:ext uri="{FF2B5EF4-FFF2-40B4-BE49-F238E27FC236}">
                  <a16:creationId xmlns:a16="http://schemas.microsoft.com/office/drawing/2014/main" id="{C3FB1A31-791B-4D77-A9C7-6BB5E25C4B5D}"/>
                </a:ext>
              </a:extLst>
            </p:cNvPr>
            <p:cNvSpPr/>
            <p:nvPr/>
          </p:nvSpPr>
          <p:spPr>
            <a:xfrm>
              <a:off x="4203722" y="6074896"/>
              <a:ext cx="48367" cy="34547"/>
            </a:xfrm>
            <a:custGeom>
              <a:avLst/>
              <a:gdLst>
                <a:gd name="connsiteX0" fmla="*/ 10364 w 48367"/>
                <a:gd name="connsiteY0" fmla="*/ 13819 h 34547"/>
                <a:gd name="connsiteX1" fmla="*/ 17274 w 48367"/>
                <a:gd name="connsiteY1" fmla="*/ 0 h 34547"/>
                <a:gd name="connsiteX2" fmla="*/ 27638 w 48367"/>
                <a:gd name="connsiteY2" fmla="*/ 0 h 34547"/>
                <a:gd name="connsiteX3" fmla="*/ 38003 w 48367"/>
                <a:gd name="connsiteY3" fmla="*/ 0 h 34547"/>
                <a:gd name="connsiteX4" fmla="*/ 48367 w 48367"/>
                <a:gd name="connsiteY4" fmla="*/ 3455 h 34547"/>
                <a:gd name="connsiteX5" fmla="*/ 48367 w 48367"/>
                <a:gd name="connsiteY5" fmla="*/ 10364 h 34547"/>
                <a:gd name="connsiteX6" fmla="*/ 38003 w 48367"/>
                <a:gd name="connsiteY6" fmla="*/ 13819 h 34547"/>
                <a:gd name="connsiteX7" fmla="*/ 31093 w 48367"/>
                <a:gd name="connsiteY7" fmla="*/ 17274 h 34547"/>
                <a:gd name="connsiteX8" fmla="*/ 27638 w 48367"/>
                <a:gd name="connsiteY8" fmla="*/ 17274 h 34547"/>
                <a:gd name="connsiteX9" fmla="*/ 20729 w 48367"/>
                <a:gd name="connsiteY9" fmla="*/ 24184 h 34547"/>
                <a:gd name="connsiteX10" fmla="*/ 13819 w 48367"/>
                <a:gd name="connsiteY10" fmla="*/ 27638 h 34547"/>
                <a:gd name="connsiteX11" fmla="*/ 10364 w 48367"/>
                <a:gd name="connsiteY11" fmla="*/ 34548 h 34547"/>
                <a:gd name="connsiteX12" fmla="*/ 0 w 48367"/>
                <a:gd name="connsiteY12" fmla="*/ 31093 h 34547"/>
                <a:gd name="connsiteX13" fmla="*/ 0 w 48367"/>
                <a:gd name="connsiteY13" fmla="*/ 20729 h 34547"/>
                <a:gd name="connsiteX14" fmla="*/ 3455 w 48367"/>
                <a:gd name="connsiteY14" fmla="*/ 17274 h 34547"/>
                <a:gd name="connsiteX15" fmla="*/ 10364 w 48367"/>
                <a:gd name="connsiteY15" fmla="*/ 13819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367" h="34547">
                  <a:moveTo>
                    <a:pt x="10364" y="13819"/>
                  </a:moveTo>
                  <a:lnTo>
                    <a:pt x="17274" y="0"/>
                  </a:lnTo>
                  <a:lnTo>
                    <a:pt x="27638" y="0"/>
                  </a:lnTo>
                  <a:lnTo>
                    <a:pt x="38003" y="0"/>
                  </a:lnTo>
                  <a:lnTo>
                    <a:pt x="48367" y="3455"/>
                  </a:lnTo>
                  <a:lnTo>
                    <a:pt x="48367" y="10364"/>
                  </a:lnTo>
                  <a:lnTo>
                    <a:pt x="38003" y="13819"/>
                  </a:lnTo>
                  <a:lnTo>
                    <a:pt x="31093" y="17274"/>
                  </a:lnTo>
                  <a:lnTo>
                    <a:pt x="27638" y="17274"/>
                  </a:lnTo>
                  <a:lnTo>
                    <a:pt x="20729" y="24184"/>
                  </a:lnTo>
                  <a:lnTo>
                    <a:pt x="13819" y="27638"/>
                  </a:lnTo>
                  <a:lnTo>
                    <a:pt x="10364" y="34548"/>
                  </a:lnTo>
                  <a:lnTo>
                    <a:pt x="0" y="31093"/>
                  </a:lnTo>
                  <a:lnTo>
                    <a:pt x="0" y="20729"/>
                  </a:lnTo>
                  <a:lnTo>
                    <a:pt x="3455" y="17274"/>
                  </a:lnTo>
                  <a:lnTo>
                    <a:pt x="10364" y="13819"/>
                  </a:lnTo>
                  <a:close/>
                </a:path>
              </a:pathLst>
            </a:custGeom>
            <a:solidFill>
              <a:srgbClr val="CEE3BF"/>
            </a:solidFill>
            <a:ln w="9334" cap="flat">
              <a:noFill/>
              <a:prstDash val="solid"/>
              <a:miter/>
            </a:ln>
          </p:spPr>
          <p:txBody>
            <a:bodyPr rtlCol="0" anchor="ctr"/>
            <a:lstStyle/>
            <a:p>
              <a:endParaRPr lang="en-GB" dirty="0"/>
            </a:p>
          </p:txBody>
        </p:sp>
        <p:sp>
          <p:nvSpPr>
            <p:cNvPr id="1006" name="Freeform: Shape 1005">
              <a:extLst>
                <a:ext uri="{FF2B5EF4-FFF2-40B4-BE49-F238E27FC236}">
                  <a16:creationId xmlns:a16="http://schemas.microsoft.com/office/drawing/2014/main" id="{BA94B6FF-B54D-4E9C-B83B-0EEDF4EAF53B}"/>
                </a:ext>
              </a:extLst>
            </p:cNvPr>
            <p:cNvSpPr/>
            <p:nvPr/>
          </p:nvSpPr>
          <p:spPr>
            <a:xfrm>
              <a:off x="6515082" y="3624036"/>
              <a:ext cx="296926" cy="297300"/>
            </a:xfrm>
            <a:custGeom>
              <a:avLst/>
              <a:gdLst>
                <a:gd name="connsiteX0" fmla="*/ 10365 w 296926"/>
                <a:gd name="connsiteY0" fmla="*/ 0 h 297300"/>
                <a:gd name="connsiteX1" fmla="*/ 27639 w 296926"/>
                <a:gd name="connsiteY1" fmla="*/ 6910 h 297300"/>
                <a:gd name="connsiteX2" fmla="*/ 41458 w 296926"/>
                <a:gd name="connsiteY2" fmla="*/ 3455 h 297300"/>
                <a:gd name="connsiteX3" fmla="*/ 82822 w 296926"/>
                <a:gd name="connsiteY3" fmla="*/ 20729 h 297300"/>
                <a:gd name="connsiteX4" fmla="*/ 113915 w 296926"/>
                <a:gd name="connsiteY4" fmla="*/ 27639 h 297300"/>
                <a:gd name="connsiteX5" fmla="*/ 138099 w 296926"/>
                <a:gd name="connsiteY5" fmla="*/ 24184 h 297300"/>
                <a:gd name="connsiteX6" fmla="*/ 155373 w 296926"/>
                <a:gd name="connsiteY6" fmla="*/ 13819 h 297300"/>
                <a:gd name="connsiteX7" fmla="*/ 193376 w 296926"/>
                <a:gd name="connsiteY7" fmla="*/ 10364 h 297300"/>
                <a:gd name="connsiteX8" fmla="*/ 210650 w 296926"/>
                <a:gd name="connsiteY8" fmla="*/ 20729 h 297300"/>
                <a:gd name="connsiteX9" fmla="*/ 231286 w 296926"/>
                <a:gd name="connsiteY9" fmla="*/ 17274 h 297300"/>
                <a:gd name="connsiteX10" fmla="*/ 258924 w 296926"/>
                <a:gd name="connsiteY10" fmla="*/ 20729 h 297300"/>
                <a:gd name="connsiteX11" fmla="*/ 265834 w 296926"/>
                <a:gd name="connsiteY11" fmla="*/ 34548 h 297300"/>
                <a:gd name="connsiteX12" fmla="*/ 279653 w 296926"/>
                <a:gd name="connsiteY12" fmla="*/ 69096 h 297300"/>
                <a:gd name="connsiteX13" fmla="*/ 272743 w 296926"/>
                <a:gd name="connsiteY13" fmla="*/ 76006 h 297300"/>
                <a:gd name="connsiteX14" fmla="*/ 262379 w 296926"/>
                <a:gd name="connsiteY14" fmla="*/ 96735 h 297300"/>
                <a:gd name="connsiteX15" fmla="*/ 258924 w 296926"/>
                <a:gd name="connsiteY15" fmla="*/ 114009 h 297300"/>
                <a:gd name="connsiteX16" fmla="*/ 252014 w 296926"/>
                <a:gd name="connsiteY16" fmla="*/ 121012 h 297300"/>
                <a:gd name="connsiteX17" fmla="*/ 241650 w 296926"/>
                <a:gd name="connsiteY17" fmla="*/ 103644 h 297300"/>
                <a:gd name="connsiteX18" fmla="*/ 234740 w 296926"/>
                <a:gd name="connsiteY18" fmla="*/ 82915 h 297300"/>
                <a:gd name="connsiteX19" fmla="*/ 224376 w 296926"/>
                <a:gd name="connsiteY19" fmla="*/ 69096 h 297300"/>
                <a:gd name="connsiteX20" fmla="*/ 217467 w 296926"/>
                <a:gd name="connsiteY20" fmla="*/ 48367 h 297300"/>
                <a:gd name="connsiteX21" fmla="*/ 210650 w 296926"/>
                <a:gd name="connsiteY21" fmla="*/ 27639 h 297300"/>
                <a:gd name="connsiteX22" fmla="*/ 210650 w 296926"/>
                <a:gd name="connsiteY22" fmla="*/ 41458 h 297300"/>
                <a:gd name="connsiteX23" fmla="*/ 214012 w 296926"/>
                <a:gd name="connsiteY23" fmla="*/ 72551 h 297300"/>
                <a:gd name="connsiteX24" fmla="*/ 220921 w 296926"/>
                <a:gd name="connsiteY24" fmla="*/ 93280 h 297300"/>
                <a:gd name="connsiteX25" fmla="*/ 234740 w 296926"/>
                <a:gd name="connsiteY25" fmla="*/ 110554 h 297300"/>
                <a:gd name="connsiteX26" fmla="*/ 245105 w 296926"/>
                <a:gd name="connsiteY26" fmla="*/ 124373 h 297300"/>
                <a:gd name="connsiteX27" fmla="*/ 258924 w 296926"/>
                <a:gd name="connsiteY27" fmla="*/ 165924 h 297300"/>
                <a:gd name="connsiteX28" fmla="*/ 293472 w 296926"/>
                <a:gd name="connsiteY28" fmla="*/ 224656 h 297300"/>
                <a:gd name="connsiteX29" fmla="*/ 296927 w 296926"/>
                <a:gd name="connsiteY29" fmla="*/ 235020 h 297300"/>
                <a:gd name="connsiteX30" fmla="*/ 296927 w 296926"/>
                <a:gd name="connsiteY30" fmla="*/ 262659 h 297300"/>
                <a:gd name="connsiteX31" fmla="*/ 283108 w 296926"/>
                <a:gd name="connsiteY31" fmla="*/ 262659 h 297300"/>
                <a:gd name="connsiteX32" fmla="*/ 248559 w 296926"/>
                <a:gd name="connsiteY32" fmla="*/ 297300 h 297300"/>
                <a:gd name="connsiteX33" fmla="*/ 231286 w 296926"/>
                <a:gd name="connsiteY33" fmla="*/ 286936 h 297300"/>
                <a:gd name="connsiteX34" fmla="*/ 10365 w 296926"/>
                <a:gd name="connsiteY34" fmla="*/ 283481 h 297300"/>
                <a:gd name="connsiteX35" fmla="*/ 10365 w 296926"/>
                <a:gd name="connsiteY35" fmla="*/ 65641 h 297300"/>
                <a:gd name="connsiteX36" fmla="*/ 3455 w 296926"/>
                <a:gd name="connsiteY36" fmla="*/ 62187 h 297300"/>
                <a:gd name="connsiteX37" fmla="*/ 0 w 296926"/>
                <a:gd name="connsiteY37" fmla="*/ 41458 h 297300"/>
                <a:gd name="connsiteX38" fmla="*/ 10365 w 296926"/>
                <a:gd name="connsiteY38" fmla="*/ 34548 h 297300"/>
                <a:gd name="connsiteX39" fmla="*/ 10365 w 296926"/>
                <a:gd name="connsiteY39" fmla="*/ 0 h 29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6926" h="297300">
                  <a:moveTo>
                    <a:pt x="10365" y="0"/>
                  </a:moveTo>
                  <a:lnTo>
                    <a:pt x="27639" y="6910"/>
                  </a:lnTo>
                  <a:lnTo>
                    <a:pt x="41458" y="3455"/>
                  </a:lnTo>
                  <a:lnTo>
                    <a:pt x="82822" y="20729"/>
                  </a:lnTo>
                  <a:lnTo>
                    <a:pt x="113915" y="27639"/>
                  </a:lnTo>
                  <a:lnTo>
                    <a:pt x="138099" y="24184"/>
                  </a:lnTo>
                  <a:lnTo>
                    <a:pt x="155373" y="13819"/>
                  </a:lnTo>
                  <a:lnTo>
                    <a:pt x="193376" y="10364"/>
                  </a:lnTo>
                  <a:lnTo>
                    <a:pt x="210650" y="20729"/>
                  </a:lnTo>
                  <a:lnTo>
                    <a:pt x="231286" y="17274"/>
                  </a:lnTo>
                  <a:lnTo>
                    <a:pt x="258924" y="20729"/>
                  </a:lnTo>
                  <a:lnTo>
                    <a:pt x="265834" y="34548"/>
                  </a:lnTo>
                  <a:lnTo>
                    <a:pt x="279653" y="69096"/>
                  </a:lnTo>
                  <a:lnTo>
                    <a:pt x="272743" y="76006"/>
                  </a:lnTo>
                  <a:lnTo>
                    <a:pt x="262379" y="96735"/>
                  </a:lnTo>
                  <a:lnTo>
                    <a:pt x="258924" y="114009"/>
                  </a:lnTo>
                  <a:lnTo>
                    <a:pt x="252014" y="121012"/>
                  </a:lnTo>
                  <a:lnTo>
                    <a:pt x="241650" y="103644"/>
                  </a:lnTo>
                  <a:lnTo>
                    <a:pt x="234740" y="82915"/>
                  </a:lnTo>
                  <a:lnTo>
                    <a:pt x="224376" y="69096"/>
                  </a:lnTo>
                  <a:lnTo>
                    <a:pt x="217467" y="48367"/>
                  </a:lnTo>
                  <a:lnTo>
                    <a:pt x="210650" y="27639"/>
                  </a:lnTo>
                  <a:lnTo>
                    <a:pt x="210650" y="41458"/>
                  </a:lnTo>
                  <a:lnTo>
                    <a:pt x="214012" y="72551"/>
                  </a:lnTo>
                  <a:lnTo>
                    <a:pt x="220921" y="93280"/>
                  </a:lnTo>
                  <a:lnTo>
                    <a:pt x="234740" y="110554"/>
                  </a:lnTo>
                  <a:lnTo>
                    <a:pt x="245105" y="124373"/>
                  </a:lnTo>
                  <a:lnTo>
                    <a:pt x="258924" y="165924"/>
                  </a:lnTo>
                  <a:lnTo>
                    <a:pt x="293472" y="224656"/>
                  </a:lnTo>
                  <a:lnTo>
                    <a:pt x="296927" y="235020"/>
                  </a:lnTo>
                  <a:lnTo>
                    <a:pt x="296927" y="262659"/>
                  </a:lnTo>
                  <a:lnTo>
                    <a:pt x="283108" y="262659"/>
                  </a:lnTo>
                  <a:lnTo>
                    <a:pt x="248559" y="297300"/>
                  </a:lnTo>
                  <a:lnTo>
                    <a:pt x="231286" y="286936"/>
                  </a:lnTo>
                  <a:lnTo>
                    <a:pt x="10365" y="283481"/>
                  </a:lnTo>
                  <a:lnTo>
                    <a:pt x="10365" y="65641"/>
                  </a:lnTo>
                  <a:lnTo>
                    <a:pt x="3455" y="62187"/>
                  </a:lnTo>
                  <a:lnTo>
                    <a:pt x="0" y="41458"/>
                  </a:lnTo>
                  <a:lnTo>
                    <a:pt x="10365" y="34548"/>
                  </a:lnTo>
                  <a:lnTo>
                    <a:pt x="10365" y="0"/>
                  </a:lnTo>
                  <a:close/>
                </a:path>
              </a:pathLst>
            </a:custGeom>
            <a:solidFill>
              <a:srgbClr val="CEE3BF"/>
            </a:solidFill>
            <a:ln w="9334" cap="flat">
              <a:noFill/>
              <a:prstDash val="solid"/>
              <a:miter/>
            </a:ln>
          </p:spPr>
          <p:txBody>
            <a:bodyPr rtlCol="0" anchor="ctr"/>
            <a:lstStyle/>
            <a:p>
              <a:endParaRPr lang="en-GB" dirty="0"/>
            </a:p>
          </p:txBody>
        </p:sp>
        <p:sp>
          <p:nvSpPr>
            <p:cNvPr id="1007" name="Freeform: Shape 1006">
              <a:extLst>
                <a:ext uri="{FF2B5EF4-FFF2-40B4-BE49-F238E27FC236}">
                  <a16:creationId xmlns:a16="http://schemas.microsoft.com/office/drawing/2014/main" id="{F1B023B9-1A0D-4D0D-8987-2D78869E253D}"/>
                </a:ext>
              </a:extLst>
            </p:cNvPr>
            <p:cNvSpPr/>
            <p:nvPr/>
          </p:nvSpPr>
          <p:spPr>
            <a:xfrm>
              <a:off x="6095649" y="3582578"/>
              <a:ext cx="429797" cy="383670"/>
            </a:xfrm>
            <a:custGeom>
              <a:avLst/>
              <a:gdLst>
                <a:gd name="connsiteX0" fmla="*/ 60412 w 429797"/>
                <a:gd name="connsiteY0" fmla="*/ 0 h 383670"/>
                <a:gd name="connsiteX1" fmla="*/ 88051 w 429797"/>
                <a:gd name="connsiteY1" fmla="*/ 6910 h 383670"/>
                <a:gd name="connsiteX2" fmla="*/ 136325 w 429797"/>
                <a:gd name="connsiteY2" fmla="*/ 13819 h 383670"/>
                <a:gd name="connsiteX3" fmla="*/ 160509 w 429797"/>
                <a:gd name="connsiteY3" fmla="*/ 27639 h 383670"/>
                <a:gd name="connsiteX4" fmla="*/ 170873 w 429797"/>
                <a:gd name="connsiteY4" fmla="*/ 48367 h 383670"/>
                <a:gd name="connsiteX5" fmla="*/ 184692 w 429797"/>
                <a:gd name="connsiteY5" fmla="*/ 58732 h 383670"/>
                <a:gd name="connsiteX6" fmla="*/ 215785 w 429797"/>
                <a:gd name="connsiteY6" fmla="*/ 58732 h 383670"/>
                <a:gd name="connsiteX7" fmla="*/ 236421 w 429797"/>
                <a:gd name="connsiteY7" fmla="*/ 72551 h 383670"/>
                <a:gd name="connsiteX8" fmla="*/ 270969 w 429797"/>
                <a:gd name="connsiteY8" fmla="*/ 93280 h 383670"/>
                <a:gd name="connsiteX9" fmla="*/ 295153 w 429797"/>
                <a:gd name="connsiteY9" fmla="*/ 69096 h 383670"/>
                <a:gd name="connsiteX10" fmla="*/ 298607 w 429797"/>
                <a:gd name="connsiteY10" fmla="*/ 51822 h 383670"/>
                <a:gd name="connsiteX11" fmla="*/ 288243 w 429797"/>
                <a:gd name="connsiteY11" fmla="*/ 38003 h 383670"/>
                <a:gd name="connsiteX12" fmla="*/ 305517 w 429797"/>
                <a:gd name="connsiteY12" fmla="*/ 20729 h 383670"/>
                <a:gd name="connsiteX13" fmla="*/ 329701 w 429797"/>
                <a:gd name="connsiteY13" fmla="*/ 10364 h 383670"/>
                <a:gd name="connsiteX14" fmla="*/ 360701 w 429797"/>
                <a:gd name="connsiteY14" fmla="*/ 13819 h 383670"/>
                <a:gd name="connsiteX15" fmla="*/ 384884 w 429797"/>
                <a:gd name="connsiteY15" fmla="*/ 27639 h 383670"/>
                <a:gd name="connsiteX16" fmla="*/ 409068 w 429797"/>
                <a:gd name="connsiteY16" fmla="*/ 38003 h 383670"/>
                <a:gd name="connsiteX17" fmla="*/ 429797 w 429797"/>
                <a:gd name="connsiteY17" fmla="*/ 41458 h 383670"/>
                <a:gd name="connsiteX18" fmla="*/ 429797 w 429797"/>
                <a:gd name="connsiteY18" fmla="*/ 76006 h 383670"/>
                <a:gd name="connsiteX19" fmla="*/ 419432 w 429797"/>
                <a:gd name="connsiteY19" fmla="*/ 82915 h 383670"/>
                <a:gd name="connsiteX20" fmla="*/ 422887 w 429797"/>
                <a:gd name="connsiteY20" fmla="*/ 103644 h 383670"/>
                <a:gd name="connsiteX21" fmla="*/ 429797 w 429797"/>
                <a:gd name="connsiteY21" fmla="*/ 107099 h 383670"/>
                <a:gd name="connsiteX22" fmla="*/ 429797 w 429797"/>
                <a:gd name="connsiteY22" fmla="*/ 324939 h 383670"/>
                <a:gd name="connsiteX23" fmla="*/ 429797 w 429797"/>
                <a:gd name="connsiteY23" fmla="*/ 383670 h 383670"/>
                <a:gd name="connsiteX24" fmla="*/ 398704 w 429797"/>
                <a:gd name="connsiteY24" fmla="*/ 383670 h 383670"/>
                <a:gd name="connsiteX25" fmla="*/ 167418 w 429797"/>
                <a:gd name="connsiteY25" fmla="*/ 290297 h 383670"/>
                <a:gd name="connsiteX26" fmla="*/ 157054 w 429797"/>
                <a:gd name="connsiteY26" fmla="*/ 300662 h 383670"/>
                <a:gd name="connsiteX27" fmla="*/ 136325 w 429797"/>
                <a:gd name="connsiteY27" fmla="*/ 311026 h 383670"/>
                <a:gd name="connsiteX28" fmla="*/ 119051 w 429797"/>
                <a:gd name="connsiteY28" fmla="*/ 297207 h 383670"/>
                <a:gd name="connsiteX29" fmla="*/ 101777 w 429797"/>
                <a:gd name="connsiteY29" fmla="*/ 290297 h 383670"/>
                <a:gd name="connsiteX30" fmla="*/ 74232 w 429797"/>
                <a:gd name="connsiteY30" fmla="*/ 283388 h 383670"/>
                <a:gd name="connsiteX31" fmla="*/ 63868 w 429797"/>
                <a:gd name="connsiteY31" fmla="*/ 273023 h 383670"/>
                <a:gd name="connsiteX32" fmla="*/ 56957 w 429797"/>
                <a:gd name="connsiteY32" fmla="*/ 259204 h 383670"/>
                <a:gd name="connsiteX33" fmla="*/ 24184 w 429797"/>
                <a:gd name="connsiteY33" fmla="*/ 255749 h 383670"/>
                <a:gd name="connsiteX34" fmla="*/ 13819 w 429797"/>
                <a:gd name="connsiteY34" fmla="*/ 235020 h 383670"/>
                <a:gd name="connsiteX35" fmla="*/ 6910 w 429797"/>
                <a:gd name="connsiteY35" fmla="*/ 217746 h 383670"/>
                <a:gd name="connsiteX36" fmla="*/ 0 w 429797"/>
                <a:gd name="connsiteY36" fmla="*/ 200472 h 383670"/>
                <a:gd name="connsiteX37" fmla="*/ 13819 w 429797"/>
                <a:gd name="connsiteY37" fmla="*/ 193563 h 383670"/>
                <a:gd name="connsiteX38" fmla="*/ 13819 w 429797"/>
                <a:gd name="connsiteY38" fmla="*/ 114009 h 383670"/>
                <a:gd name="connsiteX39" fmla="*/ 6910 w 429797"/>
                <a:gd name="connsiteY39" fmla="*/ 82915 h 383670"/>
                <a:gd name="connsiteX40" fmla="*/ 20729 w 429797"/>
                <a:gd name="connsiteY40" fmla="*/ 72551 h 383670"/>
                <a:gd name="connsiteX41" fmla="*/ 20729 w 429797"/>
                <a:gd name="connsiteY41" fmla="*/ 44912 h 383670"/>
                <a:gd name="connsiteX42" fmla="*/ 56957 w 429797"/>
                <a:gd name="connsiteY42" fmla="*/ 20729 h 383670"/>
                <a:gd name="connsiteX43" fmla="*/ 60412 w 429797"/>
                <a:gd name="connsiteY43" fmla="*/ 17274 h 383670"/>
                <a:gd name="connsiteX44" fmla="*/ 60412 w 429797"/>
                <a:gd name="connsiteY44" fmla="*/ 0 h 383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29797" h="383670">
                  <a:moveTo>
                    <a:pt x="60412" y="0"/>
                  </a:moveTo>
                  <a:lnTo>
                    <a:pt x="88051" y="6910"/>
                  </a:lnTo>
                  <a:lnTo>
                    <a:pt x="136325" y="13819"/>
                  </a:lnTo>
                  <a:lnTo>
                    <a:pt x="160509" y="27639"/>
                  </a:lnTo>
                  <a:lnTo>
                    <a:pt x="170873" y="48367"/>
                  </a:lnTo>
                  <a:lnTo>
                    <a:pt x="184692" y="58732"/>
                  </a:lnTo>
                  <a:lnTo>
                    <a:pt x="215785" y="58732"/>
                  </a:lnTo>
                  <a:lnTo>
                    <a:pt x="236421" y="72551"/>
                  </a:lnTo>
                  <a:lnTo>
                    <a:pt x="270969" y="93280"/>
                  </a:lnTo>
                  <a:lnTo>
                    <a:pt x="295153" y="69096"/>
                  </a:lnTo>
                  <a:lnTo>
                    <a:pt x="298607" y="51822"/>
                  </a:lnTo>
                  <a:lnTo>
                    <a:pt x="288243" y="38003"/>
                  </a:lnTo>
                  <a:lnTo>
                    <a:pt x="305517" y="20729"/>
                  </a:lnTo>
                  <a:lnTo>
                    <a:pt x="329701" y="10364"/>
                  </a:lnTo>
                  <a:lnTo>
                    <a:pt x="360701" y="13819"/>
                  </a:lnTo>
                  <a:lnTo>
                    <a:pt x="384884" y="27639"/>
                  </a:lnTo>
                  <a:lnTo>
                    <a:pt x="409068" y="38003"/>
                  </a:lnTo>
                  <a:lnTo>
                    <a:pt x="429797" y="41458"/>
                  </a:lnTo>
                  <a:lnTo>
                    <a:pt x="429797" y="76006"/>
                  </a:lnTo>
                  <a:lnTo>
                    <a:pt x="419432" y="82915"/>
                  </a:lnTo>
                  <a:lnTo>
                    <a:pt x="422887" y="103644"/>
                  </a:lnTo>
                  <a:lnTo>
                    <a:pt x="429797" y="107099"/>
                  </a:lnTo>
                  <a:lnTo>
                    <a:pt x="429797" y="324939"/>
                  </a:lnTo>
                  <a:lnTo>
                    <a:pt x="429797" y="383670"/>
                  </a:lnTo>
                  <a:lnTo>
                    <a:pt x="398704" y="383670"/>
                  </a:lnTo>
                  <a:lnTo>
                    <a:pt x="167418" y="290297"/>
                  </a:lnTo>
                  <a:lnTo>
                    <a:pt x="157054" y="300662"/>
                  </a:lnTo>
                  <a:lnTo>
                    <a:pt x="136325" y="311026"/>
                  </a:lnTo>
                  <a:lnTo>
                    <a:pt x="119051" y="297207"/>
                  </a:lnTo>
                  <a:lnTo>
                    <a:pt x="101777" y="290297"/>
                  </a:lnTo>
                  <a:lnTo>
                    <a:pt x="74232" y="283388"/>
                  </a:lnTo>
                  <a:lnTo>
                    <a:pt x="63868" y="273023"/>
                  </a:lnTo>
                  <a:lnTo>
                    <a:pt x="56957" y="259204"/>
                  </a:lnTo>
                  <a:lnTo>
                    <a:pt x="24184" y="255749"/>
                  </a:lnTo>
                  <a:lnTo>
                    <a:pt x="13819" y="235020"/>
                  </a:lnTo>
                  <a:lnTo>
                    <a:pt x="6910" y="217746"/>
                  </a:lnTo>
                  <a:lnTo>
                    <a:pt x="0" y="200472"/>
                  </a:lnTo>
                  <a:lnTo>
                    <a:pt x="13819" y="193563"/>
                  </a:lnTo>
                  <a:lnTo>
                    <a:pt x="13819" y="114009"/>
                  </a:lnTo>
                  <a:lnTo>
                    <a:pt x="6910" y="82915"/>
                  </a:lnTo>
                  <a:lnTo>
                    <a:pt x="20729" y="72551"/>
                  </a:lnTo>
                  <a:lnTo>
                    <a:pt x="20729" y="44912"/>
                  </a:lnTo>
                  <a:lnTo>
                    <a:pt x="56957" y="20729"/>
                  </a:lnTo>
                  <a:lnTo>
                    <a:pt x="60412" y="17274"/>
                  </a:lnTo>
                  <a:lnTo>
                    <a:pt x="60412" y="0"/>
                  </a:lnTo>
                  <a:close/>
                </a:path>
              </a:pathLst>
            </a:custGeom>
            <a:solidFill>
              <a:srgbClr val="CEE3BF"/>
            </a:solidFill>
            <a:ln w="9334" cap="flat">
              <a:noFill/>
              <a:prstDash val="solid"/>
              <a:miter/>
            </a:ln>
          </p:spPr>
          <p:txBody>
            <a:bodyPr rtlCol="0" anchor="ctr"/>
            <a:lstStyle/>
            <a:p>
              <a:endParaRPr lang="en-GB" dirty="0"/>
            </a:p>
          </p:txBody>
        </p:sp>
        <p:sp>
          <p:nvSpPr>
            <p:cNvPr id="1008" name="Freeform: Shape 1007">
              <a:extLst>
                <a:ext uri="{FF2B5EF4-FFF2-40B4-BE49-F238E27FC236}">
                  <a16:creationId xmlns:a16="http://schemas.microsoft.com/office/drawing/2014/main" id="{DAE160C2-E386-40DC-810E-60B9CECE27CC}"/>
                </a:ext>
              </a:extLst>
            </p:cNvPr>
            <p:cNvSpPr/>
            <p:nvPr/>
          </p:nvSpPr>
          <p:spPr>
            <a:xfrm>
              <a:off x="6043827" y="3454657"/>
              <a:ext cx="112234" cy="210836"/>
            </a:xfrm>
            <a:custGeom>
              <a:avLst/>
              <a:gdLst>
                <a:gd name="connsiteX0" fmla="*/ 27638 w 112234"/>
                <a:gd name="connsiteY0" fmla="*/ 10364 h 210836"/>
                <a:gd name="connsiteX1" fmla="*/ 51822 w 112234"/>
                <a:gd name="connsiteY1" fmla="*/ 0 h 210836"/>
                <a:gd name="connsiteX2" fmla="*/ 65641 w 112234"/>
                <a:gd name="connsiteY2" fmla="*/ 0 h 210836"/>
                <a:gd name="connsiteX3" fmla="*/ 72551 w 112234"/>
                <a:gd name="connsiteY3" fmla="*/ 13819 h 210836"/>
                <a:gd name="connsiteX4" fmla="*/ 82822 w 112234"/>
                <a:gd name="connsiteY4" fmla="*/ 17274 h 210836"/>
                <a:gd name="connsiteX5" fmla="*/ 93186 w 112234"/>
                <a:gd name="connsiteY5" fmla="*/ 10364 h 210836"/>
                <a:gd name="connsiteX6" fmla="*/ 100096 w 112234"/>
                <a:gd name="connsiteY6" fmla="*/ 13819 h 210836"/>
                <a:gd name="connsiteX7" fmla="*/ 96641 w 112234"/>
                <a:gd name="connsiteY7" fmla="*/ 24184 h 210836"/>
                <a:gd name="connsiteX8" fmla="*/ 86370 w 112234"/>
                <a:gd name="connsiteY8" fmla="*/ 27639 h 210836"/>
                <a:gd name="connsiteX9" fmla="*/ 79461 w 112234"/>
                <a:gd name="connsiteY9" fmla="*/ 41458 h 210836"/>
                <a:gd name="connsiteX10" fmla="*/ 86370 w 112234"/>
                <a:gd name="connsiteY10" fmla="*/ 48367 h 210836"/>
                <a:gd name="connsiteX11" fmla="*/ 100096 w 112234"/>
                <a:gd name="connsiteY11" fmla="*/ 55277 h 210836"/>
                <a:gd name="connsiteX12" fmla="*/ 100096 w 112234"/>
                <a:gd name="connsiteY12" fmla="*/ 65641 h 210836"/>
                <a:gd name="connsiteX13" fmla="*/ 89732 w 112234"/>
                <a:gd name="connsiteY13" fmla="*/ 76006 h 210836"/>
                <a:gd name="connsiteX14" fmla="*/ 79461 w 112234"/>
                <a:gd name="connsiteY14" fmla="*/ 79461 h 210836"/>
                <a:gd name="connsiteX15" fmla="*/ 69096 w 112234"/>
                <a:gd name="connsiteY15" fmla="*/ 93280 h 210836"/>
                <a:gd name="connsiteX16" fmla="*/ 76006 w 112234"/>
                <a:gd name="connsiteY16" fmla="*/ 110554 h 210836"/>
                <a:gd name="connsiteX17" fmla="*/ 93186 w 112234"/>
                <a:gd name="connsiteY17" fmla="*/ 110554 h 210836"/>
                <a:gd name="connsiteX18" fmla="*/ 100096 w 112234"/>
                <a:gd name="connsiteY18" fmla="*/ 120918 h 210836"/>
                <a:gd name="connsiteX19" fmla="*/ 112234 w 112234"/>
                <a:gd name="connsiteY19" fmla="*/ 127921 h 210836"/>
                <a:gd name="connsiteX20" fmla="*/ 112234 w 112234"/>
                <a:gd name="connsiteY20" fmla="*/ 145195 h 210836"/>
                <a:gd name="connsiteX21" fmla="*/ 72551 w 112234"/>
                <a:gd name="connsiteY21" fmla="*/ 172834 h 210836"/>
                <a:gd name="connsiteX22" fmla="*/ 72551 w 112234"/>
                <a:gd name="connsiteY22" fmla="*/ 200472 h 210836"/>
                <a:gd name="connsiteX23" fmla="*/ 58732 w 112234"/>
                <a:gd name="connsiteY23" fmla="*/ 210837 h 210836"/>
                <a:gd name="connsiteX24" fmla="*/ 48367 w 112234"/>
                <a:gd name="connsiteY24" fmla="*/ 207382 h 210836"/>
                <a:gd name="connsiteX25" fmla="*/ 44912 w 112234"/>
                <a:gd name="connsiteY25" fmla="*/ 186653 h 210836"/>
                <a:gd name="connsiteX26" fmla="*/ 41458 w 112234"/>
                <a:gd name="connsiteY26" fmla="*/ 159015 h 210836"/>
                <a:gd name="connsiteX27" fmla="*/ 17274 w 112234"/>
                <a:gd name="connsiteY27" fmla="*/ 131376 h 210836"/>
                <a:gd name="connsiteX28" fmla="*/ 0 w 112234"/>
                <a:gd name="connsiteY28" fmla="*/ 110554 h 210836"/>
                <a:gd name="connsiteX29" fmla="*/ 0 w 112234"/>
                <a:gd name="connsiteY29" fmla="*/ 96735 h 210836"/>
                <a:gd name="connsiteX30" fmla="*/ 20729 w 112234"/>
                <a:gd name="connsiteY30" fmla="*/ 79461 h 210836"/>
                <a:gd name="connsiteX31" fmla="*/ 20729 w 112234"/>
                <a:gd name="connsiteY31" fmla="*/ 17274 h 210836"/>
                <a:gd name="connsiteX32" fmla="*/ 27638 w 112234"/>
                <a:gd name="connsiteY32" fmla="*/ 10364 h 21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2234" h="210836">
                  <a:moveTo>
                    <a:pt x="27638" y="10364"/>
                  </a:moveTo>
                  <a:lnTo>
                    <a:pt x="51822" y="0"/>
                  </a:lnTo>
                  <a:lnTo>
                    <a:pt x="65641" y="0"/>
                  </a:lnTo>
                  <a:lnTo>
                    <a:pt x="72551" y="13819"/>
                  </a:lnTo>
                  <a:lnTo>
                    <a:pt x="82822" y="17274"/>
                  </a:lnTo>
                  <a:lnTo>
                    <a:pt x="93186" y="10364"/>
                  </a:lnTo>
                  <a:lnTo>
                    <a:pt x="100096" y="13819"/>
                  </a:lnTo>
                  <a:lnTo>
                    <a:pt x="96641" y="24184"/>
                  </a:lnTo>
                  <a:lnTo>
                    <a:pt x="86370" y="27639"/>
                  </a:lnTo>
                  <a:lnTo>
                    <a:pt x="79461" y="41458"/>
                  </a:lnTo>
                  <a:lnTo>
                    <a:pt x="86370" y="48367"/>
                  </a:lnTo>
                  <a:lnTo>
                    <a:pt x="100096" y="55277"/>
                  </a:lnTo>
                  <a:lnTo>
                    <a:pt x="100096" y="65641"/>
                  </a:lnTo>
                  <a:lnTo>
                    <a:pt x="89732" y="76006"/>
                  </a:lnTo>
                  <a:lnTo>
                    <a:pt x="79461" y="79461"/>
                  </a:lnTo>
                  <a:lnTo>
                    <a:pt x="69096" y="93280"/>
                  </a:lnTo>
                  <a:lnTo>
                    <a:pt x="76006" y="110554"/>
                  </a:lnTo>
                  <a:lnTo>
                    <a:pt x="93186" y="110554"/>
                  </a:lnTo>
                  <a:lnTo>
                    <a:pt x="100096" y="120918"/>
                  </a:lnTo>
                  <a:lnTo>
                    <a:pt x="112234" y="127921"/>
                  </a:lnTo>
                  <a:lnTo>
                    <a:pt x="112234" y="145195"/>
                  </a:lnTo>
                  <a:lnTo>
                    <a:pt x="72551" y="172834"/>
                  </a:lnTo>
                  <a:lnTo>
                    <a:pt x="72551" y="200472"/>
                  </a:lnTo>
                  <a:lnTo>
                    <a:pt x="58732" y="210837"/>
                  </a:lnTo>
                  <a:lnTo>
                    <a:pt x="48367" y="207382"/>
                  </a:lnTo>
                  <a:lnTo>
                    <a:pt x="44912" y="186653"/>
                  </a:lnTo>
                  <a:lnTo>
                    <a:pt x="41458" y="159015"/>
                  </a:lnTo>
                  <a:lnTo>
                    <a:pt x="17274" y="131376"/>
                  </a:lnTo>
                  <a:lnTo>
                    <a:pt x="0" y="110554"/>
                  </a:lnTo>
                  <a:lnTo>
                    <a:pt x="0" y="96735"/>
                  </a:lnTo>
                  <a:lnTo>
                    <a:pt x="20729" y="79461"/>
                  </a:lnTo>
                  <a:lnTo>
                    <a:pt x="20729" y="17274"/>
                  </a:lnTo>
                  <a:lnTo>
                    <a:pt x="27638" y="10364"/>
                  </a:lnTo>
                  <a:close/>
                </a:path>
              </a:pathLst>
            </a:custGeom>
            <a:solidFill>
              <a:srgbClr val="CEE3BF"/>
            </a:solidFill>
            <a:ln w="9334" cap="flat">
              <a:noFill/>
              <a:prstDash val="solid"/>
              <a:miter/>
            </a:ln>
          </p:spPr>
          <p:txBody>
            <a:bodyPr rtlCol="0" anchor="ctr"/>
            <a:lstStyle/>
            <a:p>
              <a:endParaRPr lang="en-GB" dirty="0"/>
            </a:p>
          </p:txBody>
        </p:sp>
        <p:sp>
          <p:nvSpPr>
            <p:cNvPr id="1010" name="Freeform: Shape 1009">
              <a:extLst>
                <a:ext uri="{FF2B5EF4-FFF2-40B4-BE49-F238E27FC236}">
                  <a16:creationId xmlns:a16="http://schemas.microsoft.com/office/drawing/2014/main" id="{51E22A4B-8CF5-42AF-8B0B-46D23715278C}"/>
                </a:ext>
              </a:extLst>
            </p:cNvPr>
            <p:cNvSpPr/>
            <p:nvPr/>
          </p:nvSpPr>
          <p:spPr>
            <a:xfrm>
              <a:off x="6043827" y="3454657"/>
              <a:ext cx="112234" cy="210836"/>
            </a:xfrm>
            <a:custGeom>
              <a:avLst/>
              <a:gdLst>
                <a:gd name="connsiteX0" fmla="*/ 27638 w 112234"/>
                <a:gd name="connsiteY0" fmla="*/ 10364 h 210836"/>
                <a:gd name="connsiteX1" fmla="*/ 51822 w 112234"/>
                <a:gd name="connsiteY1" fmla="*/ 0 h 210836"/>
                <a:gd name="connsiteX2" fmla="*/ 65641 w 112234"/>
                <a:gd name="connsiteY2" fmla="*/ 0 h 210836"/>
                <a:gd name="connsiteX3" fmla="*/ 72551 w 112234"/>
                <a:gd name="connsiteY3" fmla="*/ 13819 h 210836"/>
                <a:gd name="connsiteX4" fmla="*/ 82822 w 112234"/>
                <a:gd name="connsiteY4" fmla="*/ 17274 h 210836"/>
                <a:gd name="connsiteX5" fmla="*/ 93186 w 112234"/>
                <a:gd name="connsiteY5" fmla="*/ 10364 h 210836"/>
                <a:gd name="connsiteX6" fmla="*/ 100096 w 112234"/>
                <a:gd name="connsiteY6" fmla="*/ 13819 h 210836"/>
                <a:gd name="connsiteX7" fmla="*/ 96641 w 112234"/>
                <a:gd name="connsiteY7" fmla="*/ 24184 h 210836"/>
                <a:gd name="connsiteX8" fmla="*/ 86277 w 112234"/>
                <a:gd name="connsiteY8" fmla="*/ 27639 h 210836"/>
                <a:gd name="connsiteX9" fmla="*/ 79461 w 112234"/>
                <a:gd name="connsiteY9" fmla="*/ 41458 h 210836"/>
                <a:gd name="connsiteX10" fmla="*/ 86277 w 112234"/>
                <a:gd name="connsiteY10" fmla="*/ 48367 h 210836"/>
                <a:gd name="connsiteX11" fmla="*/ 100096 w 112234"/>
                <a:gd name="connsiteY11" fmla="*/ 55277 h 210836"/>
                <a:gd name="connsiteX12" fmla="*/ 100096 w 112234"/>
                <a:gd name="connsiteY12" fmla="*/ 65641 h 210836"/>
                <a:gd name="connsiteX13" fmla="*/ 89732 w 112234"/>
                <a:gd name="connsiteY13" fmla="*/ 76006 h 210836"/>
                <a:gd name="connsiteX14" fmla="*/ 79461 w 112234"/>
                <a:gd name="connsiteY14" fmla="*/ 79461 h 210836"/>
                <a:gd name="connsiteX15" fmla="*/ 69096 w 112234"/>
                <a:gd name="connsiteY15" fmla="*/ 93280 h 210836"/>
                <a:gd name="connsiteX16" fmla="*/ 75912 w 112234"/>
                <a:gd name="connsiteY16" fmla="*/ 110554 h 210836"/>
                <a:gd name="connsiteX17" fmla="*/ 93186 w 112234"/>
                <a:gd name="connsiteY17" fmla="*/ 110554 h 210836"/>
                <a:gd name="connsiteX18" fmla="*/ 100096 w 112234"/>
                <a:gd name="connsiteY18" fmla="*/ 120918 h 210836"/>
                <a:gd name="connsiteX19" fmla="*/ 112234 w 112234"/>
                <a:gd name="connsiteY19" fmla="*/ 127921 h 210836"/>
                <a:gd name="connsiteX20" fmla="*/ 112234 w 112234"/>
                <a:gd name="connsiteY20" fmla="*/ 145195 h 210836"/>
                <a:gd name="connsiteX21" fmla="*/ 72551 w 112234"/>
                <a:gd name="connsiteY21" fmla="*/ 172834 h 210836"/>
                <a:gd name="connsiteX22" fmla="*/ 72551 w 112234"/>
                <a:gd name="connsiteY22" fmla="*/ 200472 h 210836"/>
                <a:gd name="connsiteX23" fmla="*/ 58732 w 112234"/>
                <a:gd name="connsiteY23" fmla="*/ 210837 h 210836"/>
                <a:gd name="connsiteX24" fmla="*/ 48367 w 112234"/>
                <a:gd name="connsiteY24" fmla="*/ 207382 h 210836"/>
                <a:gd name="connsiteX25" fmla="*/ 44912 w 112234"/>
                <a:gd name="connsiteY25" fmla="*/ 186653 h 210836"/>
                <a:gd name="connsiteX26" fmla="*/ 41458 w 112234"/>
                <a:gd name="connsiteY26" fmla="*/ 159015 h 210836"/>
                <a:gd name="connsiteX27" fmla="*/ 17274 w 112234"/>
                <a:gd name="connsiteY27" fmla="*/ 131376 h 210836"/>
                <a:gd name="connsiteX28" fmla="*/ 0 w 112234"/>
                <a:gd name="connsiteY28" fmla="*/ 110554 h 210836"/>
                <a:gd name="connsiteX29" fmla="*/ 0 w 112234"/>
                <a:gd name="connsiteY29" fmla="*/ 96735 h 210836"/>
                <a:gd name="connsiteX30" fmla="*/ 20729 w 112234"/>
                <a:gd name="connsiteY30" fmla="*/ 79461 h 210836"/>
                <a:gd name="connsiteX31" fmla="*/ 20729 w 112234"/>
                <a:gd name="connsiteY31" fmla="*/ 17274 h 210836"/>
                <a:gd name="connsiteX32" fmla="*/ 27638 w 112234"/>
                <a:gd name="connsiteY32" fmla="*/ 10364 h 21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2234" h="210836">
                  <a:moveTo>
                    <a:pt x="27638" y="10364"/>
                  </a:moveTo>
                  <a:lnTo>
                    <a:pt x="51822" y="0"/>
                  </a:lnTo>
                  <a:lnTo>
                    <a:pt x="65641" y="0"/>
                  </a:lnTo>
                  <a:lnTo>
                    <a:pt x="72551" y="13819"/>
                  </a:lnTo>
                  <a:lnTo>
                    <a:pt x="82822" y="17274"/>
                  </a:lnTo>
                  <a:lnTo>
                    <a:pt x="93186" y="10364"/>
                  </a:lnTo>
                  <a:lnTo>
                    <a:pt x="100096" y="13819"/>
                  </a:lnTo>
                  <a:lnTo>
                    <a:pt x="96641" y="24184"/>
                  </a:lnTo>
                  <a:lnTo>
                    <a:pt x="86277" y="27639"/>
                  </a:lnTo>
                  <a:lnTo>
                    <a:pt x="79461" y="41458"/>
                  </a:lnTo>
                  <a:lnTo>
                    <a:pt x="86277" y="48367"/>
                  </a:lnTo>
                  <a:lnTo>
                    <a:pt x="100096" y="55277"/>
                  </a:lnTo>
                  <a:lnTo>
                    <a:pt x="100096" y="65641"/>
                  </a:lnTo>
                  <a:lnTo>
                    <a:pt x="89732" y="76006"/>
                  </a:lnTo>
                  <a:lnTo>
                    <a:pt x="79461" y="79461"/>
                  </a:lnTo>
                  <a:lnTo>
                    <a:pt x="69096" y="93280"/>
                  </a:lnTo>
                  <a:lnTo>
                    <a:pt x="75912" y="110554"/>
                  </a:lnTo>
                  <a:lnTo>
                    <a:pt x="93186" y="110554"/>
                  </a:lnTo>
                  <a:lnTo>
                    <a:pt x="100096" y="120918"/>
                  </a:lnTo>
                  <a:lnTo>
                    <a:pt x="112234" y="127921"/>
                  </a:lnTo>
                  <a:lnTo>
                    <a:pt x="112234" y="145195"/>
                  </a:lnTo>
                  <a:lnTo>
                    <a:pt x="72551" y="172834"/>
                  </a:lnTo>
                  <a:lnTo>
                    <a:pt x="72551" y="200472"/>
                  </a:lnTo>
                  <a:lnTo>
                    <a:pt x="58732" y="210837"/>
                  </a:lnTo>
                  <a:lnTo>
                    <a:pt x="48367" y="207382"/>
                  </a:lnTo>
                  <a:lnTo>
                    <a:pt x="44912" y="186653"/>
                  </a:lnTo>
                  <a:lnTo>
                    <a:pt x="41458" y="159015"/>
                  </a:lnTo>
                  <a:lnTo>
                    <a:pt x="17274" y="131376"/>
                  </a:lnTo>
                  <a:lnTo>
                    <a:pt x="0" y="110554"/>
                  </a:lnTo>
                  <a:lnTo>
                    <a:pt x="0" y="96735"/>
                  </a:lnTo>
                  <a:lnTo>
                    <a:pt x="20729" y="79461"/>
                  </a:lnTo>
                  <a:lnTo>
                    <a:pt x="20729" y="17274"/>
                  </a:lnTo>
                  <a:lnTo>
                    <a:pt x="27638" y="10364"/>
                  </a:lnTo>
                  <a:close/>
                </a:path>
              </a:pathLst>
            </a:custGeom>
            <a:solidFill>
              <a:srgbClr val="CEE3BF"/>
            </a:solidFill>
            <a:ln w="9334" cap="flat">
              <a:noFill/>
              <a:prstDash val="solid"/>
              <a:miter/>
            </a:ln>
          </p:spPr>
          <p:txBody>
            <a:bodyPr rtlCol="0" anchor="ctr"/>
            <a:lstStyle/>
            <a:p>
              <a:endParaRPr lang="en-GB" dirty="0"/>
            </a:p>
          </p:txBody>
        </p:sp>
        <p:sp>
          <p:nvSpPr>
            <p:cNvPr id="1011" name="Freeform: Shape 1010">
              <a:extLst>
                <a:ext uri="{FF2B5EF4-FFF2-40B4-BE49-F238E27FC236}">
                  <a16:creationId xmlns:a16="http://schemas.microsoft.com/office/drawing/2014/main" id="{2385A565-0E06-4F65-A14B-6EAE5B1AFDF9}"/>
                </a:ext>
              </a:extLst>
            </p:cNvPr>
            <p:cNvSpPr/>
            <p:nvPr/>
          </p:nvSpPr>
          <p:spPr>
            <a:xfrm>
              <a:off x="5598437" y="3465021"/>
              <a:ext cx="571444" cy="535775"/>
            </a:xfrm>
            <a:custGeom>
              <a:avLst/>
              <a:gdLst>
                <a:gd name="connsiteX0" fmla="*/ 0 w 571444"/>
                <a:gd name="connsiteY0" fmla="*/ 283388 h 535775"/>
                <a:gd name="connsiteX1" fmla="*/ 0 w 571444"/>
                <a:gd name="connsiteY1" fmla="*/ 252294 h 535775"/>
                <a:gd name="connsiteX2" fmla="*/ 55277 w 571444"/>
                <a:gd name="connsiteY2" fmla="*/ 217746 h 535775"/>
                <a:gd name="connsiteX3" fmla="*/ 93280 w 571444"/>
                <a:gd name="connsiteY3" fmla="*/ 214291 h 535775"/>
                <a:gd name="connsiteX4" fmla="*/ 134644 w 571444"/>
                <a:gd name="connsiteY4" fmla="*/ 179743 h 535775"/>
                <a:gd name="connsiteX5" fmla="*/ 138099 w 571444"/>
                <a:gd name="connsiteY5" fmla="*/ 165924 h 535775"/>
                <a:gd name="connsiteX6" fmla="*/ 165737 w 571444"/>
                <a:gd name="connsiteY6" fmla="*/ 148650 h 535775"/>
                <a:gd name="connsiteX7" fmla="*/ 207195 w 571444"/>
                <a:gd name="connsiteY7" fmla="*/ 145195 h 535775"/>
                <a:gd name="connsiteX8" fmla="*/ 207195 w 571444"/>
                <a:gd name="connsiteY8" fmla="*/ 131376 h 535775"/>
                <a:gd name="connsiteX9" fmla="*/ 193376 w 571444"/>
                <a:gd name="connsiteY9" fmla="*/ 114102 h 535775"/>
                <a:gd name="connsiteX10" fmla="*/ 193376 w 571444"/>
                <a:gd name="connsiteY10" fmla="*/ 69096 h 535775"/>
                <a:gd name="connsiteX11" fmla="*/ 189921 w 571444"/>
                <a:gd name="connsiteY11" fmla="*/ 58732 h 535775"/>
                <a:gd name="connsiteX12" fmla="*/ 217559 w 571444"/>
                <a:gd name="connsiteY12" fmla="*/ 38003 h 535775"/>
                <a:gd name="connsiteX13" fmla="*/ 238288 w 571444"/>
                <a:gd name="connsiteY13" fmla="*/ 34548 h 535775"/>
                <a:gd name="connsiteX14" fmla="*/ 265834 w 571444"/>
                <a:gd name="connsiteY14" fmla="*/ 17274 h 535775"/>
                <a:gd name="connsiteX15" fmla="*/ 310746 w 571444"/>
                <a:gd name="connsiteY15" fmla="*/ 10364 h 535775"/>
                <a:gd name="connsiteX16" fmla="*/ 352204 w 571444"/>
                <a:gd name="connsiteY16" fmla="*/ 3455 h 535775"/>
                <a:gd name="connsiteX17" fmla="*/ 376387 w 571444"/>
                <a:gd name="connsiteY17" fmla="*/ 6910 h 535775"/>
                <a:gd name="connsiteX18" fmla="*/ 390207 w 571444"/>
                <a:gd name="connsiteY18" fmla="*/ 10364 h 535775"/>
                <a:gd name="connsiteX19" fmla="*/ 410842 w 571444"/>
                <a:gd name="connsiteY19" fmla="*/ 0 h 535775"/>
                <a:gd name="connsiteX20" fmla="*/ 438481 w 571444"/>
                <a:gd name="connsiteY20" fmla="*/ 0 h 535775"/>
                <a:gd name="connsiteX21" fmla="*/ 452300 w 571444"/>
                <a:gd name="connsiteY21" fmla="*/ 0 h 535775"/>
                <a:gd name="connsiteX22" fmla="*/ 466119 w 571444"/>
                <a:gd name="connsiteY22" fmla="*/ 6910 h 535775"/>
                <a:gd name="connsiteX23" fmla="*/ 466119 w 571444"/>
                <a:gd name="connsiteY23" fmla="*/ 69096 h 535775"/>
                <a:gd name="connsiteX24" fmla="*/ 445390 w 571444"/>
                <a:gd name="connsiteY24" fmla="*/ 86370 h 535775"/>
                <a:gd name="connsiteX25" fmla="*/ 445390 w 571444"/>
                <a:gd name="connsiteY25" fmla="*/ 100189 h 535775"/>
                <a:gd name="connsiteX26" fmla="*/ 486848 w 571444"/>
                <a:gd name="connsiteY26" fmla="*/ 148650 h 535775"/>
                <a:gd name="connsiteX27" fmla="*/ 493758 w 571444"/>
                <a:gd name="connsiteY27" fmla="*/ 197018 h 535775"/>
                <a:gd name="connsiteX28" fmla="*/ 504122 w 571444"/>
                <a:gd name="connsiteY28" fmla="*/ 200472 h 535775"/>
                <a:gd name="connsiteX29" fmla="*/ 507577 w 571444"/>
                <a:gd name="connsiteY29" fmla="*/ 228111 h 535775"/>
                <a:gd name="connsiteX30" fmla="*/ 511031 w 571444"/>
                <a:gd name="connsiteY30" fmla="*/ 311120 h 535775"/>
                <a:gd name="connsiteX31" fmla="*/ 497212 w 571444"/>
                <a:gd name="connsiteY31" fmla="*/ 318029 h 535775"/>
                <a:gd name="connsiteX32" fmla="*/ 504122 w 571444"/>
                <a:gd name="connsiteY32" fmla="*/ 335303 h 535775"/>
                <a:gd name="connsiteX33" fmla="*/ 521396 w 571444"/>
                <a:gd name="connsiteY33" fmla="*/ 373306 h 535775"/>
                <a:gd name="connsiteX34" fmla="*/ 554170 w 571444"/>
                <a:gd name="connsiteY34" fmla="*/ 376761 h 535775"/>
                <a:gd name="connsiteX35" fmla="*/ 561080 w 571444"/>
                <a:gd name="connsiteY35" fmla="*/ 390580 h 535775"/>
                <a:gd name="connsiteX36" fmla="*/ 571444 w 571444"/>
                <a:gd name="connsiteY36" fmla="*/ 400945 h 535775"/>
                <a:gd name="connsiteX37" fmla="*/ 455755 w 571444"/>
                <a:gd name="connsiteY37" fmla="*/ 470134 h 535775"/>
                <a:gd name="connsiteX38" fmla="*/ 390207 w 571444"/>
                <a:gd name="connsiteY38" fmla="*/ 525411 h 535775"/>
                <a:gd name="connsiteX39" fmla="*/ 355659 w 571444"/>
                <a:gd name="connsiteY39" fmla="*/ 532321 h 535775"/>
                <a:gd name="connsiteX40" fmla="*/ 324565 w 571444"/>
                <a:gd name="connsiteY40" fmla="*/ 535775 h 535775"/>
                <a:gd name="connsiteX41" fmla="*/ 328020 w 571444"/>
                <a:gd name="connsiteY41" fmla="*/ 508137 h 535775"/>
                <a:gd name="connsiteX42" fmla="*/ 293472 w 571444"/>
                <a:gd name="connsiteY42" fmla="*/ 494318 h 535775"/>
                <a:gd name="connsiteX43" fmla="*/ 276198 w 571444"/>
                <a:gd name="connsiteY43" fmla="*/ 477044 h 535775"/>
                <a:gd name="connsiteX44" fmla="*/ 0 w 571444"/>
                <a:gd name="connsiteY44" fmla="*/ 283388 h 53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71444" h="535775">
                  <a:moveTo>
                    <a:pt x="0" y="283388"/>
                  </a:moveTo>
                  <a:lnTo>
                    <a:pt x="0" y="252294"/>
                  </a:lnTo>
                  <a:lnTo>
                    <a:pt x="55277" y="217746"/>
                  </a:lnTo>
                  <a:lnTo>
                    <a:pt x="93280" y="214291"/>
                  </a:lnTo>
                  <a:lnTo>
                    <a:pt x="134644" y="179743"/>
                  </a:lnTo>
                  <a:lnTo>
                    <a:pt x="138099" y="165924"/>
                  </a:lnTo>
                  <a:lnTo>
                    <a:pt x="165737" y="148650"/>
                  </a:lnTo>
                  <a:lnTo>
                    <a:pt x="207195" y="145195"/>
                  </a:lnTo>
                  <a:lnTo>
                    <a:pt x="207195" y="131376"/>
                  </a:lnTo>
                  <a:lnTo>
                    <a:pt x="193376" y="114102"/>
                  </a:lnTo>
                  <a:lnTo>
                    <a:pt x="193376" y="69096"/>
                  </a:lnTo>
                  <a:lnTo>
                    <a:pt x="189921" y="58732"/>
                  </a:lnTo>
                  <a:lnTo>
                    <a:pt x="217559" y="38003"/>
                  </a:lnTo>
                  <a:lnTo>
                    <a:pt x="238288" y="34548"/>
                  </a:lnTo>
                  <a:lnTo>
                    <a:pt x="265834" y="17274"/>
                  </a:lnTo>
                  <a:lnTo>
                    <a:pt x="310746" y="10364"/>
                  </a:lnTo>
                  <a:lnTo>
                    <a:pt x="352204" y="3455"/>
                  </a:lnTo>
                  <a:lnTo>
                    <a:pt x="376387" y="6910"/>
                  </a:lnTo>
                  <a:lnTo>
                    <a:pt x="390207" y="10364"/>
                  </a:lnTo>
                  <a:lnTo>
                    <a:pt x="410842" y="0"/>
                  </a:lnTo>
                  <a:lnTo>
                    <a:pt x="438481" y="0"/>
                  </a:lnTo>
                  <a:lnTo>
                    <a:pt x="452300" y="0"/>
                  </a:lnTo>
                  <a:lnTo>
                    <a:pt x="466119" y="6910"/>
                  </a:lnTo>
                  <a:lnTo>
                    <a:pt x="466119" y="69096"/>
                  </a:lnTo>
                  <a:lnTo>
                    <a:pt x="445390" y="86370"/>
                  </a:lnTo>
                  <a:lnTo>
                    <a:pt x="445390" y="100189"/>
                  </a:lnTo>
                  <a:lnTo>
                    <a:pt x="486848" y="148650"/>
                  </a:lnTo>
                  <a:lnTo>
                    <a:pt x="493758" y="197018"/>
                  </a:lnTo>
                  <a:lnTo>
                    <a:pt x="504122" y="200472"/>
                  </a:lnTo>
                  <a:lnTo>
                    <a:pt x="507577" y="228111"/>
                  </a:lnTo>
                  <a:lnTo>
                    <a:pt x="511031" y="311120"/>
                  </a:lnTo>
                  <a:lnTo>
                    <a:pt x="497212" y="318029"/>
                  </a:lnTo>
                  <a:lnTo>
                    <a:pt x="504122" y="335303"/>
                  </a:lnTo>
                  <a:lnTo>
                    <a:pt x="521396" y="373306"/>
                  </a:lnTo>
                  <a:lnTo>
                    <a:pt x="554170" y="376761"/>
                  </a:lnTo>
                  <a:lnTo>
                    <a:pt x="561080" y="390580"/>
                  </a:lnTo>
                  <a:lnTo>
                    <a:pt x="571444" y="400945"/>
                  </a:lnTo>
                  <a:lnTo>
                    <a:pt x="455755" y="470134"/>
                  </a:lnTo>
                  <a:lnTo>
                    <a:pt x="390207" y="525411"/>
                  </a:lnTo>
                  <a:lnTo>
                    <a:pt x="355659" y="532321"/>
                  </a:lnTo>
                  <a:lnTo>
                    <a:pt x="324565" y="535775"/>
                  </a:lnTo>
                  <a:lnTo>
                    <a:pt x="328020" y="508137"/>
                  </a:lnTo>
                  <a:lnTo>
                    <a:pt x="293472" y="494318"/>
                  </a:lnTo>
                  <a:lnTo>
                    <a:pt x="276198" y="477044"/>
                  </a:lnTo>
                  <a:lnTo>
                    <a:pt x="0" y="283388"/>
                  </a:lnTo>
                  <a:close/>
                </a:path>
              </a:pathLst>
            </a:custGeom>
            <a:solidFill>
              <a:srgbClr val="CEE3BF"/>
            </a:solidFill>
            <a:ln w="9334" cap="flat">
              <a:noFill/>
              <a:prstDash val="solid"/>
              <a:miter/>
            </a:ln>
          </p:spPr>
          <p:txBody>
            <a:bodyPr rtlCol="0" anchor="ctr"/>
            <a:lstStyle/>
            <a:p>
              <a:endParaRPr lang="en-GB" dirty="0"/>
            </a:p>
          </p:txBody>
        </p:sp>
        <p:sp>
          <p:nvSpPr>
            <p:cNvPr id="1012" name="Freeform: Shape 1011">
              <a:extLst>
                <a:ext uri="{FF2B5EF4-FFF2-40B4-BE49-F238E27FC236}">
                  <a16:creationId xmlns:a16="http://schemas.microsoft.com/office/drawing/2014/main" id="{20ED664B-2435-48C4-B5EF-EB1266CCBF77}"/>
                </a:ext>
              </a:extLst>
            </p:cNvPr>
            <p:cNvSpPr/>
            <p:nvPr/>
          </p:nvSpPr>
          <p:spPr>
            <a:xfrm>
              <a:off x="5481067" y="3499569"/>
              <a:ext cx="324565" cy="248839"/>
            </a:xfrm>
            <a:custGeom>
              <a:avLst/>
              <a:gdLst>
                <a:gd name="connsiteX0" fmla="*/ 117370 w 324565"/>
                <a:gd name="connsiteY0" fmla="*/ 248840 h 248839"/>
                <a:gd name="connsiteX1" fmla="*/ 0 w 324565"/>
                <a:gd name="connsiteY1" fmla="*/ 248840 h 248839"/>
                <a:gd name="connsiteX2" fmla="*/ 17274 w 324565"/>
                <a:gd name="connsiteY2" fmla="*/ 238475 h 248839"/>
                <a:gd name="connsiteX3" fmla="*/ 48367 w 324565"/>
                <a:gd name="connsiteY3" fmla="*/ 221201 h 248839"/>
                <a:gd name="connsiteX4" fmla="*/ 86370 w 324565"/>
                <a:gd name="connsiteY4" fmla="*/ 190108 h 248839"/>
                <a:gd name="connsiteX5" fmla="*/ 89825 w 324565"/>
                <a:gd name="connsiteY5" fmla="*/ 179743 h 248839"/>
                <a:gd name="connsiteX6" fmla="*/ 89825 w 324565"/>
                <a:gd name="connsiteY6" fmla="*/ 117557 h 248839"/>
                <a:gd name="connsiteX7" fmla="*/ 107099 w 324565"/>
                <a:gd name="connsiteY7" fmla="*/ 96828 h 248839"/>
                <a:gd name="connsiteX8" fmla="*/ 127734 w 324565"/>
                <a:gd name="connsiteY8" fmla="*/ 76006 h 248839"/>
                <a:gd name="connsiteX9" fmla="*/ 151918 w 324565"/>
                <a:gd name="connsiteY9" fmla="*/ 69096 h 248839"/>
                <a:gd name="connsiteX10" fmla="*/ 176102 w 324565"/>
                <a:gd name="connsiteY10" fmla="*/ 51822 h 248839"/>
                <a:gd name="connsiteX11" fmla="*/ 186466 w 324565"/>
                <a:gd name="connsiteY11" fmla="*/ 24184 h 248839"/>
                <a:gd name="connsiteX12" fmla="*/ 193376 w 324565"/>
                <a:gd name="connsiteY12" fmla="*/ 6910 h 248839"/>
                <a:gd name="connsiteX13" fmla="*/ 200286 w 324565"/>
                <a:gd name="connsiteY13" fmla="*/ 0 h 248839"/>
                <a:gd name="connsiteX14" fmla="*/ 210650 w 324565"/>
                <a:gd name="connsiteY14" fmla="*/ 0 h 248839"/>
                <a:gd name="connsiteX15" fmla="*/ 217560 w 324565"/>
                <a:gd name="connsiteY15" fmla="*/ 13819 h 248839"/>
                <a:gd name="connsiteX16" fmla="*/ 227924 w 324565"/>
                <a:gd name="connsiteY16" fmla="*/ 20729 h 248839"/>
                <a:gd name="connsiteX17" fmla="*/ 265834 w 324565"/>
                <a:gd name="connsiteY17" fmla="*/ 17274 h 248839"/>
                <a:gd name="connsiteX18" fmla="*/ 283108 w 324565"/>
                <a:gd name="connsiteY18" fmla="*/ 17274 h 248839"/>
                <a:gd name="connsiteX19" fmla="*/ 290017 w 324565"/>
                <a:gd name="connsiteY19" fmla="*/ 24184 h 248839"/>
                <a:gd name="connsiteX20" fmla="*/ 307291 w 324565"/>
                <a:gd name="connsiteY20" fmla="*/ 24184 h 248839"/>
                <a:gd name="connsiteX21" fmla="*/ 310746 w 324565"/>
                <a:gd name="connsiteY21" fmla="*/ 34548 h 248839"/>
                <a:gd name="connsiteX22" fmla="*/ 310746 w 324565"/>
                <a:gd name="connsiteY22" fmla="*/ 79554 h 248839"/>
                <a:gd name="connsiteX23" fmla="*/ 324565 w 324565"/>
                <a:gd name="connsiteY23" fmla="*/ 96828 h 248839"/>
                <a:gd name="connsiteX24" fmla="*/ 324565 w 324565"/>
                <a:gd name="connsiteY24" fmla="*/ 110647 h 248839"/>
                <a:gd name="connsiteX25" fmla="*/ 283108 w 324565"/>
                <a:gd name="connsiteY25" fmla="*/ 114102 h 248839"/>
                <a:gd name="connsiteX26" fmla="*/ 255469 w 324565"/>
                <a:gd name="connsiteY26" fmla="*/ 131376 h 248839"/>
                <a:gd name="connsiteX27" fmla="*/ 252014 w 324565"/>
                <a:gd name="connsiteY27" fmla="*/ 145195 h 248839"/>
                <a:gd name="connsiteX28" fmla="*/ 210650 w 324565"/>
                <a:gd name="connsiteY28" fmla="*/ 179743 h 248839"/>
                <a:gd name="connsiteX29" fmla="*/ 172647 w 324565"/>
                <a:gd name="connsiteY29" fmla="*/ 183198 h 248839"/>
                <a:gd name="connsiteX30" fmla="*/ 117370 w 324565"/>
                <a:gd name="connsiteY30" fmla="*/ 217746 h 248839"/>
                <a:gd name="connsiteX31" fmla="*/ 117370 w 324565"/>
                <a:gd name="connsiteY31" fmla="*/ 248840 h 248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4565" h="248839">
                  <a:moveTo>
                    <a:pt x="117370" y="248840"/>
                  </a:moveTo>
                  <a:lnTo>
                    <a:pt x="0" y="248840"/>
                  </a:lnTo>
                  <a:lnTo>
                    <a:pt x="17274" y="238475"/>
                  </a:lnTo>
                  <a:lnTo>
                    <a:pt x="48367" y="221201"/>
                  </a:lnTo>
                  <a:lnTo>
                    <a:pt x="86370" y="190108"/>
                  </a:lnTo>
                  <a:lnTo>
                    <a:pt x="89825" y="179743"/>
                  </a:lnTo>
                  <a:lnTo>
                    <a:pt x="89825" y="117557"/>
                  </a:lnTo>
                  <a:lnTo>
                    <a:pt x="107099" y="96828"/>
                  </a:lnTo>
                  <a:lnTo>
                    <a:pt x="127734" y="76006"/>
                  </a:lnTo>
                  <a:lnTo>
                    <a:pt x="151918" y="69096"/>
                  </a:lnTo>
                  <a:lnTo>
                    <a:pt x="176102" y="51822"/>
                  </a:lnTo>
                  <a:lnTo>
                    <a:pt x="186466" y="24184"/>
                  </a:lnTo>
                  <a:lnTo>
                    <a:pt x="193376" y="6910"/>
                  </a:lnTo>
                  <a:lnTo>
                    <a:pt x="200286" y="0"/>
                  </a:lnTo>
                  <a:lnTo>
                    <a:pt x="210650" y="0"/>
                  </a:lnTo>
                  <a:lnTo>
                    <a:pt x="217560" y="13819"/>
                  </a:lnTo>
                  <a:lnTo>
                    <a:pt x="227924" y="20729"/>
                  </a:lnTo>
                  <a:lnTo>
                    <a:pt x="265834" y="17274"/>
                  </a:lnTo>
                  <a:lnTo>
                    <a:pt x="283108" y="17274"/>
                  </a:lnTo>
                  <a:lnTo>
                    <a:pt x="290017" y="24184"/>
                  </a:lnTo>
                  <a:lnTo>
                    <a:pt x="307291" y="24184"/>
                  </a:lnTo>
                  <a:lnTo>
                    <a:pt x="310746" y="34548"/>
                  </a:lnTo>
                  <a:lnTo>
                    <a:pt x="310746" y="79554"/>
                  </a:lnTo>
                  <a:lnTo>
                    <a:pt x="324565" y="96828"/>
                  </a:lnTo>
                  <a:lnTo>
                    <a:pt x="324565" y="110647"/>
                  </a:lnTo>
                  <a:lnTo>
                    <a:pt x="283108" y="114102"/>
                  </a:lnTo>
                  <a:lnTo>
                    <a:pt x="255469" y="131376"/>
                  </a:lnTo>
                  <a:lnTo>
                    <a:pt x="252014" y="145195"/>
                  </a:lnTo>
                  <a:lnTo>
                    <a:pt x="210650" y="179743"/>
                  </a:lnTo>
                  <a:lnTo>
                    <a:pt x="172647" y="183198"/>
                  </a:lnTo>
                  <a:lnTo>
                    <a:pt x="117370" y="217746"/>
                  </a:lnTo>
                  <a:lnTo>
                    <a:pt x="117370" y="248840"/>
                  </a:lnTo>
                  <a:close/>
                </a:path>
              </a:pathLst>
            </a:custGeom>
            <a:solidFill>
              <a:srgbClr val="CEE3BF"/>
            </a:solidFill>
            <a:ln w="9334" cap="flat">
              <a:noFill/>
              <a:prstDash val="solid"/>
              <a:miter/>
            </a:ln>
          </p:spPr>
          <p:txBody>
            <a:bodyPr rtlCol="0" anchor="ctr"/>
            <a:lstStyle/>
            <a:p>
              <a:endParaRPr lang="en-GB" dirty="0"/>
            </a:p>
          </p:txBody>
        </p:sp>
        <p:sp>
          <p:nvSpPr>
            <p:cNvPr id="1013" name="Freeform: Shape 1012">
              <a:extLst>
                <a:ext uri="{FF2B5EF4-FFF2-40B4-BE49-F238E27FC236}">
                  <a16:creationId xmlns:a16="http://schemas.microsoft.com/office/drawing/2014/main" id="{85CBEA28-027A-4883-AD8A-E8DB7CC0F348}"/>
                </a:ext>
              </a:extLst>
            </p:cNvPr>
            <p:cNvSpPr/>
            <p:nvPr/>
          </p:nvSpPr>
          <p:spPr>
            <a:xfrm>
              <a:off x="5370607" y="3748409"/>
              <a:ext cx="227830" cy="183291"/>
            </a:xfrm>
            <a:custGeom>
              <a:avLst/>
              <a:gdLst>
                <a:gd name="connsiteX0" fmla="*/ 0 w 227830"/>
                <a:gd name="connsiteY0" fmla="*/ 183292 h 183291"/>
                <a:gd name="connsiteX1" fmla="*/ 6910 w 227830"/>
                <a:gd name="connsiteY1" fmla="*/ 162563 h 183291"/>
                <a:gd name="connsiteX2" fmla="*/ 24184 w 227830"/>
                <a:gd name="connsiteY2" fmla="*/ 134831 h 183291"/>
                <a:gd name="connsiteX3" fmla="*/ 34548 w 227830"/>
                <a:gd name="connsiteY3" fmla="*/ 107192 h 183291"/>
                <a:gd name="connsiteX4" fmla="*/ 51822 w 227830"/>
                <a:gd name="connsiteY4" fmla="*/ 93373 h 183291"/>
                <a:gd name="connsiteX5" fmla="*/ 62187 w 227830"/>
                <a:gd name="connsiteY5" fmla="*/ 65735 h 183291"/>
                <a:gd name="connsiteX6" fmla="*/ 79460 w 227830"/>
                <a:gd name="connsiteY6" fmla="*/ 41551 h 183291"/>
                <a:gd name="connsiteX7" fmla="*/ 89732 w 227830"/>
                <a:gd name="connsiteY7" fmla="*/ 31187 h 183291"/>
                <a:gd name="connsiteX8" fmla="*/ 103551 w 227830"/>
                <a:gd name="connsiteY8" fmla="*/ 13913 h 183291"/>
                <a:gd name="connsiteX9" fmla="*/ 110460 w 227830"/>
                <a:gd name="connsiteY9" fmla="*/ 0 h 183291"/>
                <a:gd name="connsiteX10" fmla="*/ 227831 w 227830"/>
                <a:gd name="connsiteY10" fmla="*/ 0 h 183291"/>
                <a:gd name="connsiteX11" fmla="*/ 227831 w 227830"/>
                <a:gd name="connsiteY11" fmla="*/ 48461 h 183291"/>
                <a:gd name="connsiteX12" fmla="*/ 141554 w 227830"/>
                <a:gd name="connsiteY12" fmla="*/ 48461 h 183291"/>
                <a:gd name="connsiteX13" fmla="*/ 141554 w 227830"/>
                <a:gd name="connsiteY13" fmla="*/ 121012 h 183291"/>
                <a:gd name="connsiteX14" fmla="*/ 124280 w 227830"/>
                <a:gd name="connsiteY14" fmla="*/ 121012 h 183291"/>
                <a:gd name="connsiteX15" fmla="*/ 110460 w 227830"/>
                <a:gd name="connsiteY15" fmla="*/ 127921 h 183291"/>
                <a:gd name="connsiteX16" fmla="*/ 110460 w 227830"/>
                <a:gd name="connsiteY16" fmla="*/ 141740 h 183291"/>
                <a:gd name="connsiteX17" fmla="*/ 110460 w 227830"/>
                <a:gd name="connsiteY17" fmla="*/ 183292 h 183291"/>
                <a:gd name="connsiteX18" fmla="*/ 0 w 227830"/>
                <a:gd name="connsiteY18" fmla="*/ 183292 h 18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7830" h="183291">
                  <a:moveTo>
                    <a:pt x="0" y="183292"/>
                  </a:moveTo>
                  <a:lnTo>
                    <a:pt x="6910" y="162563"/>
                  </a:lnTo>
                  <a:lnTo>
                    <a:pt x="24184" y="134831"/>
                  </a:lnTo>
                  <a:lnTo>
                    <a:pt x="34548" y="107192"/>
                  </a:lnTo>
                  <a:lnTo>
                    <a:pt x="51822" y="93373"/>
                  </a:lnTo>
                  <a:lnTo>
                    <a:pt x="62187" y="65735"/>
                  </a:lnTo>
                  <a:lnTo>
                    <a:pt x="79460" y="41551"/>
                  </a:lnTo>
                  <a:lnTo>
                    <a:pt x="89732" y="31187"/>
                  </a:lnTo>
                  <a:lnTo>
                    <a:pt x="103551" y="13913"/>
                  </a:lnTo>
                  <a:lnTo>
                    <a:pt x="110460" y="0"/>
                  </a:lnTo>
                  <a:lnTo>
                    <a:pt x="227831" y="0"/>
                  </a:lnTo>
                  <a:lnTo>
                    <a:pt x="227831" y="48461"/>
                  </a:lnTo>
                  <a:lnTo>
                    <a:pt x="141554" y="48461"/>
                  </a:lnTo>
                  <a:lnTo>
                    <a:pt x="141554" y="121012"/>
                  </a:lnTo>
                  <a:lnTo>
                    <a:pt x="124280" y="121012"/>
                  </a:lnTo>
                  <a:lnTo>
                    <a:pt x="110460" y="127921"/>
                  </a:lnTo>
                  <a:lnTo>
                    <a:pt x="110460" y="141740"/>
                  </a:lnTo>
                  <a:lnTo>
                    <a:pt x="110460" y="183292"/>
                  </a:lnTo>
                  <a:lnTo>
                    <a:pt x="0" y="183292"/>
                  </a:lnTo>
                  <a:close/>
                </a:path>
              </a:pathLst>
            </a:custGeom>
            <a:solidFill>
              <a:srgbClr val="CEE3BF"/>
            </a:solidFill>
            <a:ln w="9334" cap="flat">
              <a:noFill/>
              <a:prstDash val="solid"/>
              <a:miter/>
            </a:ln>
          </p:spPr>
          <p:txBody>
            <a:bodyPr rtlCol="0" anchor="ctr"/>
            <a:lstStyle/>
            <a:p>
              <a:endParaRPr lang="en-GB" dirty="0"/>
            </a:p>
          </p:txBody>
        </p:sp>
        <p:sp>
          <p:nvSpPr>
            <p:cNvPr id="1014" name="Freeform: Shape 1013">
              <a:extLst>
                <a:ext uri="{FF2B5EF4-FFF2-40B4-BE49-F238E27FC236}">
                  <a16:creationId xmlns:a16="http://schemas.microsoft.com/office/drawing/2014/main" id="{D4F809F8-D8A5-4EB9-9636-D105F1BE3E8F}"/>
                </a:ext>
              </a:extLst>
            </p:cNvPr>
            <p:cNvSpPr/>
            <p:nvPr/>
          </p:nvSpPr>
          <p:spPr>
            <a:xfrm>
              <a:off x="5370607" y="3748409"/>
              <a:ext cx="227830" cy="183291"/>
            </a:xfrm>
            <a:custGeom>
              <a:avLst/>
              <a:gdLst>
                <a:gd name="connsiteX0" fmla="*/ 0 w 227830"/>
                <a:gd name="connsiteY0" fmla="*/ 183292 h 183291"/>
                <a:gd name="connsiteX1" fmla="*/ 6910 w 227830"/>
                <a:gd name="connsiteY1" fmla="*/ 162563 h 183291"/>
                <a:gd name="connsiteX2" fmla="*/ 24184 w 227830"/>
                <a:gd name="connsiteY2" fmla="*/ 134831 h 183291"/>
                <a:gd name="connsiteX3" fmla="*/ 34548 w 227830"/>
                <a:gd name="connsiteY3" fmla="*/ 107192 h 183291"/>
                <a:gd name="connsiteX4" fmla="*/ 51822 w 227830"/>
                <a:gd name="connsiteY4" fmla="*/ 93373 h 183291"/>
                <a:gd name="connsiteX5" fmla="*/ 62187 w 227830"/>
                <a:gd name="connsiteY5" fmla="*/ 65735 h 183291"/>
                <a:gd name="connsiteX6" fmla="*/ 79460 w 227830"/>
                <a:gd name="connsiteY6" fmla="*/ 41551 h 183291"/>
                <a:gd name="connsiteX7" fmla="*/ 89732 w 227830"/>
                <a:gd name="connsiteY7" fmla="*/ 31187 h 183291"/>
                <a:gd name="connsiteX8" fmla="*/ 103551 w 227830"/>
                <a:gd name="connsiteY8" fmla="*/ 13913 h 183291"/>
                <a:gd name="connsiteX9" fmla="*/ 110460 w 227830"/>
                <a:gd name="connsiteY9" fmla="*/ 0 h 183291"/>
                <a:gd name="connsiteX10" fmla="*/ 227831 w 227830"/>
                <a:gd name="connsiteY10" fmla="*/ 0 h 183291"/>
                <a:gd name="connsiteX11" fmla="*/ 227831 w 227830"/>
                <a:gd name="connsiteY11" fmla="*/ 48461 h 183291"/>
                <a:gd name="connsiteX12" fmla="*/ 141554 w 227830"/>
                <a:gd name="connsiteY12" fmla="*/ 48461 h 183291"/>
                <a:gd name="connsiteX13" fmla="*/ 141554 w 227830"/>
                <a:gd name="connsiteY13" fmla="*/ 121012 h 183291"/>
                <a:gd name="connsiteX14" fmla="*/ 124280 w 227830"/>
                <a:gd name="connsiteY14" fmla="*/ 121012 h 183291"/>
                <a:gd name="connsiteX15" fmla="*/ 110460 w 227830"/>
                <a:gd name="connsiteY15" fmla="*/ 127921 h 183291"/>
                <a:gd name="connsiteX16" fmla="*/ 110460 w 227830"/>
                <a:gd name="connsiteY16" fmla="*/ 141740 h 183291"/>
                <a:gd name="connsiteX17" fmla="*/ 110460 w 227830"/>
                <a:gd name="connsiteY17" fmla="*/ 183292 h 183291"/>
                <a:gd name="connsiteX18" fmla="*/ 0 w 227830"/>
                <a:gd name="connsiteY18" fmla="*/ 183292 h 18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7830" h="183291">
                  <a:moveTo>
                    <a:pt x="0" y="183292"/>
                  </a:moveTo>
                  <a:lnTo>
                    <a:pt x="6910" y="162563"/>
                  </a:lnTo>
                  <a:lnTo>
                    <a:pt x="24184" y="134831"/>
                  </a:lnTo>
                  <a:lnTo>
                    <a:pt x="34548" y="107192"/>
                  </a:lnTo>
                  <a:lnTo>
                    <a:pt x="51822" y="93373"/>
                  </a:lnTo>
                  <a:lnTo>
                    <a:pt x="62187" y="65735"/>
                  </a:lnTo>
                  <a:lnTo>
                    <a:pt x="79460" y="41551"/>
                  </a:lnTo>
                  <a:lnTo>
                    <a:pt x="89732" y="31187"/>
                  </a:lnTo>
                  <a:lnTo>
                    <a:pt x="103551" y="13913"/>
                  </a:lnTo>
                  <a:lnTo>
                    <a:pt x="110460" y="0"/>
                  </a:lnTo>
                  <a:lnTo>
                    <a:pt x="227831" y="0"/>
                  </a:lnTo>
                  <a:lnTo>
                    <a:pt x="227831" y="48461"/>
                  </a:lnTo>
                  <a:lnTo>
                    <a:pt x="141554" y="48461"/>
                  </a:lnTo>
                  <a:lnTo>
                    <a:pt x="141554" y="121012"/>
                  </a:lnTo>
                  <a:lnTo>
                    <a:pt x="124280" y="121012"/>
                  </a:lnTo>
                  <a:lnTo>
                    <a:pt x="110460" y="127921"/>
                  </a:lnTo>
                  <a:lnTo>
                    <a:pt x="110460" y="141740"/>
                  </a:lnTo>
                  <a:lnTo>
                    <a:pt x="110460" y="183292"/>
                  </a:lnTo>
                  <a:lnTo>
                    <a:pt x="0" y="183292"/>
                  </a:lnTo>
                  <a:close/>
                </a:path>
              </a:pathLst>
            </a:custGeom>
            <a:solidFill>
              <a:srgbClr val="CEE3BF"/>
            </a:solidFill>
            <a:ln w="9334" cap="flat">
              <a:noFill/>
              <a:prstDash val="solid"/>
              <a:miter/>
            </a:ln>
          </p:spPr>
          <p:txBody>
            <a:bodyPr rtlCol="0" anchor="ctr"/>
            <a:lstStyle/>
            <a:p>
              <a:endParaRPr lang="en-GB" dirty="0"/>
            </a:p>
          </p:txBody>
        </p:sp>
        <p:sp>
          <p:nvSpPr>
            <p:cNvPr id="1015" name="Freeform: Shape 1014">
              <a:extLst>
                <a:ext uri="{FF2B5EF4-FFF2-40B4-BE49-F238E27FC236}">
                  <a16:creationId xmlns:a16="http://schemas.microsoft.com/office/drawing/2014/main" id="{98BACD45-3463-4C96-ACD4-5B3982824031}"/>
                </a:ext>
              </a:extLst>
            </p:cNvPr>
            <p:cNvSpPr/>
            <p:nvPr/>
          </p:nvSpPr>
          <p:spPr>
            <a:xfrm>
              <a:off x="5384426" y="4173631"/>
              <a:ext cx="82822" cy="48367"/>
            </a:xfrm>
            <a:custGeom>
              <a:avLst/>
              <a:gdLst>
                <a:gd name="connsiteX0" fmla="*/ 0 w 82822"/>
                <a:gd name="connsiteY0" fmla="*/ 10364 h 48367"/>
                <a:gd name="connsiteX1" fmla="*/ 31093 w 82822"/>
                <a:gd name="connsiteY1" fmla="*/ 6910 h 48367"/>
                <a:gd name="connsiteX2" fmla="*/ 38003 w 82822"/>
                <a:gd name="connsiteY2" fmla="*/ 0 h 48367"/>
                <a:gd name="connsiteX3" fmla="*/ 82822 w 82822"/>
                <a:gd name="connsiteY3" fmla="*/ 0 h 48367"/>
                <a:gd name="connsiteX4" fmla="*/ 75912 w 82822"/>
                <a:gd name="connsiteY4" fmla="*/ 17274 h 48367"/>
                <a:gd name="connsiteX5" fmla="*/ 72551 w 82822"/>
                <a:gd name="connsiteY5" fmla="*/ 27638 h 48367"/>
                <a:gd name="connsiteX6" fmla="*/ 51822 w 82822"/>
                <a:gd name="connsiteY6" fmla="*/ 34548 h 48367"/>
                <a:gd name="connsiteX7" fmla="*/ 38003 w 82822"/>
                <a:gd name="connsiteY7" fmla="*/ 48367 h 48367"/>
                <a:gd name="connsiteX8" fmla="*/ 27639 w 82822"/>
                <a:gd name="connsiteY8" fmla="*/ 38003 h 48367"/>
                <a:gd name="connsiteX9" fmla="*/ 13819 w 82822"/>
                <a:gd name="connsiteY9" fmla="*/ 24184 h 48367"/>
                <a:gd name="connsiteX10" fmla="*/ 10365 w 82822"/>
                <a:gd name="connsiteY10" fmla="*/ 20729 h 48367"/>
                <a:gd name="connsiteX11" fmla="*/ 0 w 82822"/>
                <a:gd name="connsiteY11" fmla="*/ 10364 h 4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822" h="48367">
                  <a:moveTo>
                    <a:pt x="0" y="10364"/>
                  </a:moveTo>
                  <a:lnTo>
                    <a:pt x="31093" y="6910"/>
                  </a:lnTo>
                  <a:lnTo>
                    <a:pt x="38003" y="0"/>
                  </a:lnTo>
                  <a:lnTo>
                    <a:pt x="82822" y="0"/>
                  </a:lnTo>
                  <a:lnTo>
                    <a:pt x="75912" y="17274"/>
                  </a:lnTo>
                  <a:lnTo>
                    <a:pt x="72551" y="27638"/>
                  </a:lnTo>
                  <a:lnTo>
                    <a:pt x="51822" y="34548"/>
                  </a:lnTo>
                  <a:lnTo>
                    <a:pt x="38003" y="48367"/>
                  </a:lnTo>
                  <a:lnTo>
                    <a:pt x="27639" y="38003"/>
                  </a:lnTo>
                  <a:lnTo>
                    <a:pt x="13819" y="24184"/>
                  </a:lnTo>
                  <a:lnTo>
                    <a:pt x="10365" y="20729"/>
                  </a:lnTo>
                  <a:lnTo>
                    <a:pt x="0" y="10364"/>
                  </a:lnTo>
                  <a:close/>
                </a:path>
              </a:pathLst>
            </a:custGeom>
            <a:solidFill>
              <a:srgbClr val="CEE3BF"/>
            </a:solidFill>
            <a:ln w="9334" cap="flat">
              <a:noFill/>
              <a:prstDash val="solid"/>
              <a:miter/>
            </a:ln>
          </p:spPr>
          <p:txBody>
            <a:bodyPr rtlCol="0" anchor="ctr"/>
            <a:lstStyle/>
            <a:p>
              <a:endParaRPr lang="en-GB" dirty="0"/>
            </a:p>
          </p:txBody>
        </p:sp>
        <p:sp>
          <p:nvSpPr>
            <p:cNvPr id="1016" name="Freeform: Shape 1015">
              <a:extLst>
                <a:ext uri="{FF2B5EF4-FFF2-40B4-BE49-F238E27FC236}">
                  <a16:creationId xmlns:a16="http://schemas.microsoft.com/office/drawing/2014/main" id="{4E6D3722-D2AB-4D22-8EA1-5AB489A9395E}"/>
                </a:ext>
              </a:extLst>
            </p:cNvPr>
            <p:cNvSpPr/>
            <p:nvPr/>
          </p:nvSpPr>
          <p:spPr>
            <a:xfrm>
              <a:off x="5384426" y="4173631"/>
              <a:ext cx="82822" cy="48367"/>
            </a:xfrm>
            <a:custGeom>
              <a:avLst/>
              <a:gdLst>
                <a:gd name="connsiteX0" fmla="*/ 0 w 82822"/>
                <a:gd name="connsiteY0" fmla="*/ 10364 h 48367"/>
                <a:gd name="connsiteX1" fmla="*/ 31093 w 82822"/>
                <a:gd name="connsiteY1" fmla="*/ 6910 h 48367"/>
                <a:gd name="connsiteX2" fmla="*/ 38003 w 82822"/>
                <a:gd name="connsiteY2" fmla="*/ 0 h 48367"/>
                <a:gd name="connsiteX3" fmla="*/ 82822 w 82822"/>
                <a:gd name="connsiteY3" fmla="*/ 0 h 48367"/>
                <a:gd name="connsiteX4" fmla="*/ 75912 w 82822"/>
                <a:gd name="connsiteY4" fmla="*/ 17274 h 48367"/>
                <a:gd name="connsiteX5" fmla="*/ 72551 w 82822"/>
                <a:gd name="connsiteY5" fmla="*/ 27638 h 48367"/>
                <a:gd name="connsiteX6" fmla="*/ 51822 w 82822"/>
                <a:gd name="connsiteY6" fmla="*/ 34548 h 48367"/>
                <a:gd name="connsiteX7" fmla="*/ 38003 w 82822"/>
                <a:gd name="connsiteY7" fmla="*/ 48367 h 48367"/>
                <a:gd name="connsiteX8" fmla="*/ 27639 w 82822"/>
                <a:gd name="connsiteY8" fmla="*/ 38003 h 48367"/>
                <a:gd name="connsiteX9" fmla="*/ 13819 w 82822"/>
                <a:gd name="connsiteY9" fmla="*/ 24184 h 48367"/>
                <a:gd name="connsiteX10" fmla="*/ 10365 w 82822"/>
                <a:gd name="connsiteY10" fmla="*/ 20729 h 48367"/>
                <a:gd name="connsiteX11" fmla="*/ 0 w 82822"/>
                <a:gd name="connsiteY11" fmla="*/ 10364 h 4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822" h="48367">
                  <a:moveTo>
                    <a:pt x="0" y="10364"/>
                  </a:moveTo>
                  <a:lnTo>
                    <a:pt x="31093" y="6910"/>
                  </a:lnTo>
                  <a:lnTo>
                    <a:pt x="38003" y="0"/>
                  </a:lnTo>
                  <a:lnTo>
                    <a:pt x="82822" y="0"/>
                  </a:lnTo>
                  <a:lnTo>
                    <a:pt x="75912" y="17274"/>
                  </a:lnTo>
                  <a:lnTo>
                    <a:pt x="72551" y="27638"/>
                  </a:lnTo>
                  <a:lnTo>
                    <a:pt x="51822" y="34548"/>
                  </a:lnTo>
                  <a:lnTo>
                    <a:pt x="38003" y="48367"/>
                  </a:lnTo>
                  <a:lnTo>
                    <a:pt x="27639" y="38003"/>
                  </a:lnTo>
                  <a:lnTo>
                    <a:pt x="13819" y="24184"/>
                  </a:lnTo>
                  <a:lnTo>
                    <a:pt x="10365" y="20729"/>
                  </a:lnTo>
                  <a:lnTo>
                    <a:pt x="0" y="10364"/>
                  </a:lnTo>
                  <a:close/>
                </a:path>
              </a:pathLst>
            </a:custGeom>
            <a:solidFill>
              <a:srgbClr val="CEE3BF"/>
            </a:solidFill>
            <a:ln w="9334" cap="flat">
              <a:noFill/>
              <a:prstDash val="solid"/>
              <a:miter/>
            </a:ln>
          </p:spPr>
          <p:txBody>
            <a:bodyPr rtlCol="0" anchor="ctr"/>
            <a:lstStyle/>
            <a:p>
              <a:endParaRPr lang="en-GB" dirty="0"/>
            </a:p>
          </p:txBody>
        </p:sp>
        <p:sp>
          <p:nvSpPr>
            <p:cNvPr id="1017" name="Freeform: Shape 1016">
              <a:extLst>
                <a:ext uri="{FF2B5EF4-FFF2-40B4-BE49-F238E27FC236}">
                  <a16:creationId xmlns:a16="http://schemas.microsoft.com/office/drawing/2014/main" id="{9C3D73BC-9BFD-4F06-9135-920941E2B12B}"/>
                </a:ext>
              </a:extLst>
            </p:cNvPr>
            <p:cNvSpPr/>
            <p:nvPr/>
          </p:nvSpPr>
          <p:spPr>
            <a:xfrm>
              <a:off x="5477612" y="4249730"/>
              <a:ext cx="76005" cy="82915"/>
            </a:xfrm>
            <a:custGeom>
              <a:avLst/>
              <a:gdLst>
                <a:gd name="connsiteX0" fmla="*/ 0 w 76005"/>
                <a:gd name="connsiteY0" fmla="*/ 27638 h 82915"/>
                <a:gd name="connsiteX1" fmla="*/ 13819 w 76005"/>
                <a:gd name="connsiteY1" fmla="*/ 13819 h 82915"/>
                <a:gd name="connsiteX2" fmla="*/ 27638 w 76005"/>
                <a:gd name="connsiteY2" fmla="*/ 3455 h 82915"/>
                <a:gd name="connsiteX3" fmla="*/ 51822 w 76005"/>
                <a:gd name="connsiteY3" fmla="*/ 0 h 82915"/>
                <a:gd name="connsiteX4" fmla="*/ 65641 w 76005"/>
                <a:gd name="connsiteY4" fmla="*/ 13819 h 82915"/>
                <a:gd name="connsiteX5" fmla="*/ 76006 w 76005"/>
                <a:gd name="connsiteY5" fmla="*/ 27638 h 82915"/>
                <a:gd name="connsiteX6" fmla="*/ 72551 w 76005"/>
                <a:gd name="connsiteY6" fmla="*/ 41458 h 82915"/>
                <a:gd name="connsiteX7" fmla="*/ 69096 w 76005"/>
                <a:gd name="connsiteY7" fmla="*/ 55277 h 82915"/>
                <a:gd name="connsiteX8" fmla="*/ 58732 w 76005"/>
                <a:gd name="connsiteY8" fmla="*/ 69096 h 82915"/>
                <a:gd name="connsiteX9" fmla="*/ 41458 w 76005"/>
                <a:gd name="connsiteY9" fmla="*/ 82915 h 82915"/>
                <a:gd name="connsiteX10" fmla="*/ 27638 w 76005"/>
                <a:gd name="connsiteY10" fmla="*/ 76006 h 82915"/>
                <a:gd name="connsiteX11" fmla="*/ 6910 w 76005"/>
                <a:gd name="connsiteY11" fmla="*/ 55277 h 82915"/>
                <a:gd name="connsiteX12" fmla="*/ 0 w 76005"/>
                <a:gd name="connsiteY12" fmla="*/ 41458 h 82915"/>
                <a:gd name="connsiteX13" fmla="*/ 0 w 76005"/>
                <a:gd name="connsiteY13" fmla="*/ 27638 h 8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005" h="82915">
                  <a:moveTo>
                    <a:pt x="0" y="27638"/>
                  </a:moveTo>
                  <a:lnTo>
                    <a:pt x="13819" y="13819"/>
                  </a:lnTo>
                  <a:lnTo>
                    <a:pt x="27638" y="3455"/>
                  </a:lnTo>
                  <a:lnTo>
                    <a:pt x="51822" y="0"/>
                  </a:lnTo>
                  <a:lnTo>
                    <a:pt x="65641" y="13819"/>
                  </a:lnTo>
                  <a:lnTo>
                    <a:pt x="76006" y="27638"/>
                  </a:lnTo>
                  <a:lnTo>
                    <a:pt x="72551" y="41458"/>
                  </a:lnTo>
                  <a:lnTo>
                    <a:pt x="69096" y="55277"/>
                  </a:lnTo>
                  <a:lnTo>
                    <a:pt x="58732" y="69096"/>
                  </a:lnTo>
                  <a:lnTo>
                    <a:pt x="41458" y="82915"/>
                  </a:lnTo>
                  <a:lnTo>
                    <a:pt x="27638" y="76006"/>
                  </a:lnTo>
                  <a:lnTo>
                    <a:pt x="6910" y="55277"/>
                  </a:lnTo>
                  <a:lnTo>
                    <a:pt x="0" y="41458"/>
                  </a:lnTo>
                  <a:lnTo>
                    <a:pt x="0" y="27638"/>
                  </a:lnTo>
                  <a:close/>
                </a:path>
              </a:pathLst>
            </a:custGeom>
            <a:solidFill>
              <a:srgbClr val="CEE3BF"/>
            </a:solidFill>
            <a:ln w="9334" cap="flat">
              <a:noFill/>
              <a:prstDash val="solid"/>
              <a:miter/>
            </a:ln>
          </p:spPr>
          <p:txBody>
            <a:bodyPr rtlCol="0" anchor="ctr"/>
            <a:lstStyle/>
            <a:p>
              <a:endParaRPr lang="en-GB" dirty="0"/>
            </a:p>
          </p:txBody>
        </p:sp>
        <p:sp>
          <p:nvSpPr>
            <p:cNvPr id="1018" name="Freeform: Shape 1017">
              <a:extLst>
                <a:ext uri="{FF2B5EF4-FFF2-40B4-BE49-F238E27FC236}">
                  <a16:creationId xmlns:a16="http://schemas.microsoft.com/office/drawing/2014/main" id="{6A900B10-FB45-4D05-BEAC-47B3EDCD2AFB}"/>
                </a:ext>
              </a:extLst>
            </p:cNvPr>
            <p:cNvSpPr/>
            <p:nvPr/>
          </p:nvSpPr>
          <p:spPr>
            <a:xfrm>
              <a:off x="5477612" y="4249730"/>
              <a:ext cx="76005" cy="82915"/>
            </a:xfrm>
            <a:custGeom>
              <a:avLst/>
              <a:gdLst>
                <a:gd name="connsiteX0" fmla="*/ 0 w 76005"/>
                <a:gd name="connsiteY0" fmla="*/ 27638 h 82915"/>
                <a:gd name="connsiteX1" fmla="*/ 13819 w 76005"/>
                <a:gd name="connsiteY1" fmla="*/ 13819 h 82915"/>
                <a:gd name="connsiteX2" fmla="*/ 27638 w 76005"/>
                <a:gd name="connsiteY2" fmla="*/ 3455 h 82915"/>
                <a:gd name="connsiteX3" fmla="*/ 51822 w 76005"/>
                <a:gd name="connsiteY3" fmla="*/ 0 h 82915"/>
                <a:gd name="connsiteX4" fmla="*/ 65641 w 76005"/>
                <a:gd name="connsiteY4" fmla="*/ 13819 h 82915"/>
                <a:gd name="connsiteX5" fmla="*/ 76006 w 76005"/>
                <a:gd name="connsiteY5" fmla="*/ 27638 h 82915"/>
                <a:gd name="connsiteX6" fmla="*/ 72551 w 76005"/>
                <a:gd name="connsiteY6" fmla="*/ 41458 h 82915"/>
                <a:gd name="connsiteX7" fmla="*/ 69096 w 76005"/>
                <a:gd name="connsiteY7" fmla="*/ 55277 h 82915"/>
                <a:gd name="connsiteX8" fmla="*/ 58732 w 76005"/>
                <a:gd name="connsiteY8" fmla="*/ 69096 h 82915"/>
                <a:gd name="connsiteX9" fmla="*/ 41458 w 76005"/>
                <a:gd name="connsiteY9" fmla="*/ 82915 h 82915"/>
                <a:gd name="connsiteX10" fmla="*/ 27638 w 76005"/>
                <a:gd name="connsiteY10" fmla="*/ 76006 h 82915"/>
                <a:gd name="connsiteX11" fmla="*/ 6910 w 76005"/>
                <a:gd name="connsiteY11" fmla="*/ 55277 h 82915"/>
                <a:gd name="connsiteX12" fmla="*/ 0 w 76005"/>
                <a:gd name="connsiteY12" fmla="*/ 41458 h 82915"/>
                <a:gd name="connsiteX13" fmla="*/ 0 w 76005"/>
                <a:gd name="connsiteY13" fmla="*/ 27638 h 8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005" h="82915">
                  <a:moveTo>
                    <a:pt x="0" y="27638"/>
                  </a:moveTo>
                  <a:lnTo>
                    <a:pt x="13819" y="13819"/>
                  </a:lnTo>
                  <a:lnTo>
                    <a:pt x="27638" y="3455"/>
                  </a:lnTo>
                  <a:lnTo>
                    <a:pt x="51822" y="0"/>
                  </a:lnTo>
                  <a:lnTo>
                    <a:pt x="65641" y="13819"/>
                  </a:lnTo>
                  <a:lnTo>
                    <a:pt x="76006" y="27638"/>
                  </a:lnTo>
                  <a:lnTo>
                    <a:pt x="72551" y="41458"/>
                  </a:lnTo>
                  <a:lnTo>
                    <a:pt x="69096" y="55277"/>
                  </a:lnTo>
                  <a:lnTo>
                    <a:pt x="58732" y="69096"/>
                  </a:lnTo>
                  <a:lnTo>
                    <a:pt x="41458" y="82915"/>
                  </a:lnTo>
                  <a:lnTo>
                    <a:pt x="27638" y="76006"/>
                  </a:lnTo>
                  <a:lnTo>
                    <a:pt x="6910" y="55277"/>
                  </a:lnTo>
                  <a:lnTo>
                    <a:pt x="0" y="41458"/>
                  </a:lnTo>
                  <a:lnTo>
                    <a:pt x="0" y="27638"/>
                  </a:lnTo>
                  <a:close/>
                </a:path>
              </a:pathLst>
            </a:custGeom>
            <a:solidFill>
              <a:srgbClr val="CEE3BF"/>
            </a:solidFill>
            <a:ln w="9334" cap="flat">
              <a:noFill/>
              <a:prstDash val="solid"/>
              <a:miter/>
            </a:ln>
          </p:spPr>
          <p:txBody>
            <a:bodyPr rtlCol="0" anchor="ctr"/>
            <a:lstStyle/>
            <a:p>
              <a:endParaRPr lang="en-GB" dirty="0"/>
            </a:p>
          </p:txBody>
        </p:sp>
        <p:sp>
          <p:nvSpPr>
            <p:cNvPr id="1019" name="Freeform: Shape 1018">
              <a:extLst>
                <a:ext uri="{FF2B5EF4-FFF2-40B4-BE49-F238E27FC236}">
                  <a16:creationId xmlns:a16="http://schemas.microsoft.com/office/drawing/2014/main" id="{327542B4-318C-4CC4-A496-F4684B5A7EB7}"/>
                </a:ext>
              </a:extLst>
            </p:cNvPr>
            <p:cNvSpPr/>
            <p:nvPr/>
          </p:nvSpPr>
          <p:spPr>
            <a:xfrm>
              <a:off x="5370607" y="3748409"/>
              <a:ext cx="341839" cy="369944"/>
            </a:xfrm>
            <a:custGeom>
              <a:avLst/>
              <a:gdLst>
                <a:gd name="connsiteX0" fmla="*/ 0 w 341839"/>
                <a:gd name="connsiteY0" fmla="*/ 183292 h 369944"/>
                <a:gd name="connsiteX1" fmla="*/ 110460 w 341839"/>
                <a:gd name="connsiteY1" fmla="*/ 183292 h 369944"/>
                <a:gd name="connsiteX2" fmla="*/ 110460 w 341839"/>
                <a:gd name="connsiteY2" fmla="*/ 141740 h 369944"/>
                <a:gd name="connsiteX3" fmla="*/ 110460 w 341839"/>
                <a:gd name="connsiteY3" fmla="*/ 127921 h 369944"/>
                <a:gd name="connsiteX4" fmla="*/ 117370 w 341839"/>
                <a:gd name="connsiteY4" fmla="*/ 124466 h 369944"/>
                <a:gd name="connsiteX5" fmla="*/ 124280 w 341839"/>
                <a:gd name="connsiteY5" fmla="*/ 121012 h 369944"/>
                <a:gd name="connsiteX6" fmla="*/ 141554 w 341839"/>
                <a:gd name="connsiteY6" fmla="*/ 121012 h 369944"/>
                <a:gd name="connsiteX7" fmla="*/ 141554 w 341839"/>
                <a:gd name="connsiteY7" fmla="*/ 48461 h 369944"/>
                <a:gd name="connsiteX8" fmla="*/ 227831 w 341839"/>
                <a:gd name="connsiteY8" fmla="*/ 48461 h 369944"/>
                <a:gd name="connsiteX9" fmla="*/ 227831 w 341839"/>
                <a:gd name="connsiteY9" fmla="*/ 0 h 369944"/>
                <a:gd name="connsiteX10" fmla="*/ 341839 w 341839"/>
                <a:gd name="connsiteY10" fmla="*/ 83009 h 369944"/>
                <a:gd name="connsiteX11" fmla="*/ 290017 w 341839"/>
                <a:gd name="connsiteY11" fmla="*/ 83009 h 369944"/>
                <a:gd name="connsiteX12" fmla="*/ 310746 w 341839"/>
                <a:gd name="connsiteY12" fmla="*/ 318123 h 369944"/>
                <a:gd name="connsiteX13" fmla="*/ 321110 w 341839"/>
                <a:gd name="connsiteY13" fmla="*/ 331942 h 369944"/>
                <a:gd name="connsiteX14" fmla="*/ 317656 w 341839"/>
                <a:gd name="connsiteY14" fmla="*/ 349216 h 369944"/>
                <a:gd name="connsiteX15" fmla="*/ 145009 w 341839"/>
                <a:gd name="connsiteY15" fmla="*/ 345761 h 369944"/>
                <a:gd name="connsiteX16" fmla="*/ 134644 w 341839"/>
                <a:gd name="connsiteY16" fmla="*/ 369945 h 369944"/>
                <a:gd name="connsiteX17" fmla="*/ 117370 w 341839"/>
                <a:gd name="connsiteY17" fmla="*/ 356125 h 369944"/>
                <a:gd name="connsiteX18" fmla="*/ 103551 w 341839"/>
                <a:gd name="connsiteY18" fmla="*/ 335396 h 369944"/>
                <a:gd name="connsiteX19" fmla="*/ 89732 w 341839"/>
                <a:gd name="connsiteY19" fmla="*/ 325032 h 369944"/>
                <a:gd name="connsiteX20" fmla="*/ 69096 w 341839"/>
                <a:gd name="connsiteY20" fmla="*/ 314668 h 369944"/>
                <a:gd name="connsiteX21" fmla="*/ 44912 w 341839"/>
                <a:gd name="connsiteY21" fmla="*/ 314668 h 369944"/>
                <a:gd name="connsiteX22" fmla="*/ 20729 w 341839"/>
                <a:gd name="connsiteY22" fmla="*/ 318123 h 369944"/>
                <a:gd name="connsiteX23" fmla="*/ 20729 w 341839"/>
                <a:gd name="connsiteY23" fmla="*/ 297300 h 369944"/>
                <a:gd name="connsiteX24" fmla="*/ 31093 w 341839"/>
                <a:gd name="connsiteY24" fmla="*/ 262752 h 369944"/>
                <a:gd name="connsiteX25" fmla="*/ 20729 w 341839"/>
                <a:gd name="connsiteY25" fmla="*/ 248933 h 369944"/>
                <a:gd name="connsiteX26" fmla="*/ 13819 w 341839"/>
                <a:gd name="connsiteY26" fmla="*/ 238568 h 369944"/>
                <a:gd name="connsiteX27" fmla="*/ 20729 w 341839"/>
                <a:gd name="connsiteY27" fmla="*/ 224749 h 369944"/>
                <a:gd name="connsiteX28" fmla="*/ 20729 w 341839"/>
                <a:gd name="connsiteY28" fmla="*/ 210930 h 369944"/>
                <a:gd name="connsiteX29" fmla="*/ 13819 w 341839"/>
                <a:gd name="connsiteY29" fmla="*/ 200565 h 369944"/>
                <a:gd name="connsiteX30" fmla="*/ 0 w 341839"/>
                <a:gd name="connsiteY30" fmla="*/ 193656 h 369944"/>
                <a:gd name="connsiteX31" fmla="*/ 0 w 341839"/>
                <a:gd name="connsiteY31" fmla="*/ 183292 h 36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1839" h="369944">
                  <a:moveTo>
                    <a:pt x="0" y="183292"/>
                  </a:moveTo>
                  <a:lnTo>
                    <a:pt x="110460" y="183292"/>
                  </a:lnTo>
                  <a:lnTo>
                    <a:pt x="110460" y="141740"/>
                  </a:lnTo>
                  <a:lnTo>
                    <a:pt x="110460" y="127921"/>
                  </a:lnTo>
                  <a:lnTo>
                    <a:pt x="117370" y="124466"/>
                  </a:lnTo>
                  <a:lnTo>
                    <a:pt x="124280" y="121012"/>
                  </a:lnTo>
                  <a:lnTo>
                    <a:pt x="141554" y="121012"/>
                  </a:lnTo>
                  <a:lnTo>
                    <a:pt x="141554" y="48461"/>
                  </a:lnTo>
                  <a:lnTo>
                    <a:pt x="227831" y="48461"/>
                  </a:lnTo>
                  <a:lnTo>
                    <a:pt x="227831" y="0"/>
                  </a:lnTo>
                  <a:lnTo>
                    <a:pt x="341839" y="83009"/>
                  </a:lnTo>
                  <a:lnTo>
                    <a:pt x="290017" y="83009"/>
                  </a:lnTo>
                  <a:lnTo>
                    <a:pt x="310746" y="318123"/>
                  </a:lnTo>
                  <a:lnTo>
                    <a:pt x="321110" y="331942"/>
                  </a:lnTo>
                  <a:lnTo>
                    <a:pt x="317656" y="349216"/>
                  </a:lnTo>
                  <a:lnTo>
                    <a:pt x="145009" y="345761"/>
                  </a:lnTo>
                  <a:lnTo>
                    <a:pt x="134644" y="369945"/>
                  </a:lnTo>
                  <a:lnTo>
                    <a:pt x="117370" y="356125"/>
                  </a:lnTo>
                  <a:lnTo>
                    <a:pt x="103551" y="335396"/>
                  </a:lnTo>
                  <a:lnTo>
                    <a:pt x="89732" y="325032"/>
                  </a:lnTo>
                  <a:lnTo>
                    <a:pt x="69096" y="314668"/>
                  </a:lnTo>
                  <a:lnTo>
                    <a:pt x="44912" y="314668"/>
                  </a:lnTo>
                  <a:lnTo>
                    <a:pt x="20729" y="318123"/>
                  </a:lnTo>
                  <a:lnTo>
                    <a:pt x="20729" y="297300"/>
                  </a:lnTo>
                  <a:lnTo>
                    <a:pt x="31093" y="262752"/>
                  </a:lnTo>
                  <a:lnTo>
                    <a:pt x="20729" y="248933"/>
                  </a:lnTo>
                  <a:lnTo>
                    <a:pt x="13819" y="238568"/>
                  </a:lnTo>
                  <a:lnTo>
                    <a:pt x="20729" y="224749"/>
                  </a:lnTo>
                  <a:lnTo>
                    <a:pt x="20729" y="210930"/>
                  </a:lnTo>
                  <a:lnTo>
                    <a:pt x="13819" y="200565"/>
                  </a:lnTo>
                  <a:lnTo>
                    <a:pt x="0" y="193656"/>
                  </a:lnTo>
                  <a:lnTo>
                    <a:pt x="0" y="183292"/>
                  </a:lnTo>
                  <a:close/>
                </a:path>
              </a:pathLst>
            </a:custGeom>
            <a:solidFill>
              <a:srgbClr val="CEE3BF"/>
            </a:solidFill>
            <a:ln w="9334" cap="flat">
              <a:noFill/>
              <a:prstDash val="solid"/>
              <a:miter/>
            </a:ln>
          </p:spPr>
          <p:txBody>
            <a:bodyPr rtlCol="0" anchor="ctr"/>
            <a:lstStyle/>
            <a:p>
              <a:endParaRPr lang="en-GB" dirty="0"/>
            </a:p>
          </p:txBody>
        </p:sp>
        <p:sp>
          <p:nvSpPr>
            <p:cNvPr id="1020" name="Freeform: Shape 1019">
              <a:extLst>
                <a:ext uri="{FF2B5EF4-FFF2-40B4-BE49-F238E27FC236}">
                  <a16:creationId xmlns:a16="http://schemas.microsoft.com/office/drawing/2014/main" id="{D08204E4-5D4F-4605-A709-B77C4F435E0A}"/>
                </a:ext>
              </a:extLst>
            </p:cNvPr>
            <p:cNvSpPr/>
            <p:nvPr/>
          </p:nvSpPr>
          <p:spPr>
            <a:xfrm>
              <a:off x="5422429" y="4173631"/>
              <a:ext cx="200192" cy="152104"/>
            </a:xfrm>
            <a:custGeom>
              <a:avLst/>
              <a:gdLst>
                <a:gd name="connsiteX0" fmla="*/ 103551 w 200192"/>
                <a:gd name="connsiteY0" fmla="*/ 10364 h 152104"/>
                <a:gd name="connsiteX1" fmla="*/ 103551 w 200192"/>
                <a:gd name="connsiteY1" fmla="*/ 13819 h 152104"/>
                <a:gd name="connsiteX2" fmla="*/ 124280 w 200192"/>
                <a:gd name="connsiteY2" fmla="*/ 20729 h 152104"/>
                <a:gd name="connsiteX3" fmla="*/ 145009 w 200192"/>
                <a:gd name="connsiteY3" fmla="*/ 13819 h 152104"/>
                <a:gd name="connsiteX4" fmla="*/ 169099 w 200192"/>
                <a:gd name="connsiteY4" fmla="*/ 10364 h 152104"/>
                <a:gd name="connsiteX5" fmla="*/ 172554 w 200192"/>
                <a:gd name="connsiteY5" fmla="*/ 24184 h 152104"/>
                <a:gd name="connsiteX6" fmla="*/ 182918 w 200192"/>
                <a:gd name="connsiteY6" fmla="*/ 41457 h 152104"/>
                <a:gd name="connsiteX7" fmla="*/ 193283 w 200192"/>
                <a:gd name="connsiteY7" fmla="*/ 65735 h 152104"/>
                <a:gd name="connsiteX8" fmla="*/ 189828 w 200192"/>
                <a:gd name="connsiteY8" fmla="*/ 79554 h 152104"/>
                <a:gd name="connsiteX9" fmla="*/ 193283 w 200192"/>
                <a:gd name="connsiteY9" fmla="*/ 86463 h 152104"/>
                <a:gd name="connsiteX10" fmla="*/ 196737 w 200192"/>
                <a:gd name="connsiteY10" fmla="*/ 93373 h 152104"/>
                <a:gd name="connsiteX11" fmla="*/ 200192 w 200192"/>
                <a:gd name="connsiteY11" fmla="*/ 117557 h 152104"/>
                <a:gd name="connsiteX12" fmla="*/ 189828 w 200192"/>
                <a:gd name="connsiteY12" fmla="*/ 121012 h 152104"/>
                <a:gd name="connsiteX13" fmla="*/ 193283 w 200192"/>
                <a:gd name="connsiteY13" fmla="*/ 138286 h 152104"/>
                <a:gd name="connsiteX14" fmla="*/ 182918 w 200192"/>
                <a:gd name="connsiteY14" fmla="*/ 145195 h 152104"/>
                <a:gd name="connsiteX15" fmla="*/ 172554 w 200192"/>
                <a:gd name="connsiteY15" fmla="*/ 141740 h 152104"/>
                <a:gd name="connsiteX16" fmla="*/ 165737 w 200192"/>
                <a:gd name="connsiteY16" fmla="*/ 152105 h 152104"/>
                <a:gd name="connsiteX17" fmla="*/ 155373 w 200192"/>
                <a:gd name="connsiteY17" fmla="*/ 148650 h 152104"/>
                <a:gd name="connsiteX18" fmla="*/ 151918 w 200192"/>
                <a:gd name="connsiteY18" fmla="*/ 124466 h 152104"/>
                <a:gd name="connsiteX19" fmla="*/ 141554 w 200192"/>
                <a:gd name="connsiteY19" fmla="*/ 121012 h 152104"/>
                <a:gd name="connsiteX20" fmla="*/ 127734 w 200192"/>
                <a:gd name="connsiteY20" fmla="*/ 117557 h 152104"/>
                <a:gd name="connsiteX21" fmla="*/ 131190 w 200192"/>
                <a:gd name="connsiteY21" fmla="*/ 103737 h 152104"/>
                <a:gd name="connsiteX22" fmla="*/ 120825 w 200192"/>
                <a:gd name="connsiteY22" fmla="*/ 89918 h 152104"/>
                <a:gd name="connsiteX23" fmla="*/ 107006 w 200192"/>
                <a:gd name="connsiteY23" fmla="*/ 76099 h 152104"/>
                <a:gd name="connsiteX24" fmla="*/ 82822 w 200192"/>
                <a:gd name="connsiteY24" fmla="*/ 79554 h 152104"/>
                <a:gd name="connsiteX25" fmla="*/ 69003 w 200192"/>
                <a:gd name="connsiteY25" fmla="*/ 89918 h 152104"/>
                <a:gd name="connsiteX26" fmla="*/ 55184 w 200192"/>
                <a:gd name="connsiteY26" fmla="*/ 103737 h 152104"/>
                <a:gd name="connsiteX27" fmla="*/ 41364 w 200192"/>
                <a:gd name="connsiteY27" fmla="*/ 86463 h 152104"/>
                <a:gd name="connsiteX28" fmla="*/ 24184 w 200192"/>
                <a:gd name="connsiteY28" fmla="*/ 69189 h 152104"/>
                <a:gd name="connsiteX29" fmla="*/ 10365 w 200192"/>
                <a:gd name="connsiteY29" fmla="*/ 65735 h 152104"/>
                <a:gd name="connsiteX30" fmla="*/ 0 w 200192"/>
                <a:gd name="connsiteY30" fmla="*/ 48367 h 152104"/>
                <a:gd name="connsiteX31" fmla="*/ 13819 w 200192"/>
                <a:gd name="connsiteY31" fmla="*/ 34548 h 152104"/>
                <a:gd name="connsiteX32" fmla="*/ 34548 w 200192"/>
                <a:gd name="connsiteY32" fmla="*/ 27638 h 152104"/>
                <a:gd name="connsiteX33" fmla="*/ 37909 w 200192"/>
                <a:gd name="connsiteY33" fmla="*/ 17274 h 152104"/>
                <a:gd name="connsiteX34" fmla="*/ 44819 w 200192"/>
                <a:gd name="connsiteY34" fmla="*/ 0 h 152104"/>
                <a:gd name="connsiteX35" fmla="*/ 55184 w 200192"/>
                <a:gd name="connsiteY35" fmla="*/ 0 h 152104"/>
                <a:gd name="connsiteX36" fmla="*/ 65548 w 200192"/>
                <a:gd name="connsiteY36" fmla="*/ 6910 h 152104"/>
                <a:gd name="connsiteX37" fmla="*/ 86277 w 200192"/>
                <a:gd name="connsiteY37" fmla="*/ 6910 h 152104"/>
                <a:gd name="connsiteX38" fmla="*/ 103551 w 200192"/>
                <a:gd name="connsiteY38" fmla="*/ 10364 h 15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0192" h="152104">
                  <a:moveTo>
                    <a:pt x="103551" y="10364"/>
                  </a:moveTo>
                  <a:lnTo>
                    <a:pt x="103551" y="13819"/>
                  </a:lnTo>
                  <a:lnTo>
                    <a:pt x="124280" y="20729"/>
                  </a:lnTo>
                  <a:lnTo>
                    <a:pt x="145009" y="13819"/>
                  </a:lnTo>
                  <a:lnTo>
                    <a:pt x="169099" y="10364"/>
                  </a:lnTo>
                  <a:lnTo>
                    <a:pt x="172554" y="24184"/>
                  </a:lnTo>
                  <a:lnTo>
                    <a:pt x="182918" y="41457"/>
                  </a:lnTo>
                  <a:lnTo>
                    <a:pt x="193283" y="65735"/>
                  </a:lnTo>
                  <a:lnTo>
                    <a:pt x="189828" y="79554"/>
                  </a:lnTo>
                  <a:lnTo>
                    <a:pt x="193283" y="86463"/>
                  </a:lnTo>
                  <a:lnTo>
                    <a:pt x="196737" y="93373"/>
                  </a:lnTo>
                  <a:lnTo>
                    <a:pt x="200192" y="117557"/>
                  </a:lnTo>
                  <a:lnTo>
                    <a:pt x="189828" y="121012"/>
                  </a:lnTo>
                  <a:lnTo>
                    <a:pt x="193283" y="138286"/>
                  </a:lnTo>
                  <a:lnTo>
                    <a:pt x="182918" y="145195"/>
                  </a:lnTo>
                  <a:lnTo>
                    <a:pt x="172554" y="141740"/>
                  </a:lnTo>
                  <a:lnTo>
                    <a:pt x="165737" y="152105"/>
                  </a:lnTo>
                  <a:lnTo>
                    <a:pt x="155373" y="148650"/>
                  </a:lnTo>
                  <a:lnTo>
                    <a:pt x="151918" y="124466"/>
                  </a:lnTo>
                  <a:lnTo>
                    <a:pt x="141554" y="121012"/>
                  </a:lnTo>
                  <a:lnTo>
                    <a:pt x="127734" y="117557"/>
                  </a:lnTo>
                  <a:lnTo>
                    <a:pt x="131190" y="103737"/>
                  </a:lnTo>
                  <a:lnTo>
                    <a:pt x="120825" y="89918"/>
                  </a:lnTo>
                  <a:lnTo>
                    <a:pt x="107006" y="76099"/>
                  </a:lnTo>
                  <a:lnTo>
                    <a:pt x="82822" y="79554"/>
                  </a:lnTo>
                  <a:lnTo>
                    <a:pt x="69003" y="89918"/>
                  </a:lnTo>
                  <a:lnTo>
                    <a:pt x="55184" y="103737"/>
                  </a:lnTo>
                  <a:lnTo>
                    <a:pt x="41364" y="86463"/>
                  </a:lnTo>
                  <a:lnTo>
                    <a:pt x="24184" y="69189"/>
                  </a:lnTo>
                  <a:lnTo>
                    <a:pt x="10365" y="65735"/>
                  </a:lnTo>
                  <a:lnTo>
                    <a:pt x="0" y="48367"/>
                  </a:lnTo>
                  <a:lnTo>
                    <a:pt x="13819" y="34548"/>
                  </a:lnTo>
                  <a:lnTo>
                    <a:pt x="34548" y="27638"/>
                  </a:lnTo>
                  <a:lnTo>
                    <a:pt x="37909" y="17274"/>
                  </a:lnTo>
                  <a:lnTo>
                    <a:pt x="44819" y="0"/>
                  </a:lnTo>
                  <a:lnTo>
                    <a:pt x="55184" y="0"/>
                  </a:lnTo>
                  <a:lnTo>
                    <a:pt x="65548" y="6910"/>
                  </a:lnTo>
                  <a:lnTo>
                    <a:pt x="86277" y="6910"/>
                  </a:lnTo>
                  <a:lnTo>
                    <a:pt x="103551" y="10364"/>
                  </a:lnTo>
                  <a:close/>
                </a:path>
              </a:pathLst>
            </a:custGeom>
            <a:solidFill>
              <a:srgbClr val="CEE3BF"/>
            </a:solidFill>
            <a:ln w="9334" cap="flat">
              <a:noFill/>
              <a:prstDash val="solid"/>
              <a:miter/>
            </a:ln>
          </p:spPr>
          <p:txBody>
            <a:bodyPr rtlCol="0" anchor="ctr"/>
            <a:lstStyle/>
            <a:p>
              <a:endParaRPr lang="en-GB" dirty="0"/>
            </a:p>
          </p:txBody>
        </p:sp>
        <p:sp>
          <p:nvSpPr>
            <p:cNvPr id="1021" name="Freeform: Shape 1020">
              <a:extLst>
                <a:ext uri="{FF2B5EF4-FFF2-40B4-BE49-F238E27FC236}">
                  <a16:creationId xmlns:a16="http://schemas.microsoft.com/office/drawing/2014/main" id="{CADC0C02-9573-43BC-BC2C-B737902535E5}"/>
                </a:ext>
              </a:extLst>
            </p:cNvPr>
            <p:cNvSpPr/>
            <p:nvPr/>
          </p:nvSpPr>
          <p:spPr>
            <a:xfrm>
              <a:off x="5422429" y="4173631"/>
              <a:ext cx="200192" cy="152104"/>
            </a:xfrm>
            <a:custGeom>
              <a:avLst/>
              <a:gdLst>
                <a:gd name="connsiteX0" fmla="*/ 103551 w 200192"/>
                <a:gd name="connsiteY0" fmla="*/ 10364 h 152104"/>
                <a:gd name="connsiteX1" fmla="*/ 103551 w 200192"/>
                <a:gd name="connsiteY1" fmla="*/ 13819 h 152104"/>
                <a:gd name="connsiteX2" fmla="*/ 124280 w 200192"/>
                <a:gd name="connsiteY2" fmla="*/ 20729 h 152104"/>
                <a:gd name="connsiteX3" fmla="*/ 145009 w 200192"/>
                <a:gd name="connsiteY3" fmla="*/ 13819 h 152104"/>
                <a:gd name="connsiteX4" fmla="*/ 169099 w 200192"/>
                <a:gd name="connsiteY4" fmla="*/ 10364 h 152104"/>
                <a:gd name="connsiteX5" fmla="*/ 172554 w 200192"/>
                <a:gd name="connsiteY5" fmla="*/ 24184 h 152104"/>
                <a:gd name="connsiteX6" fmla="*/ 182918 w 200192"/>
                <a:gd name="connsiteY6" fmla="*/ 41457 h 152104"/>
                <a:gd name="connsiteX7" fmla="*/ 193283 w 200192"/>
                <a:gd name="connsiteY7" fmla="*/ 65735 h 152104"/>
                <a:gd name="connsiteX8" fmla="*/ 189828 w 200192"/>
                <a:gd name="connsiteY8" fmla="*/ 79554 h 152104"/>
                <a:gd name="connsiteX9" fmla="*/ 193283 w 200192"/>
                <a:gd name="connsiteY9" fmla="*/ 86463 h 152104"/>
                <a:gd name="connsiteX10" fmla="*/ 196737 w 200192"/>
                <a:gd name="connsiteY10" fmla="*/ 93373 h 152104"/>
                <a:gd name="connsiteX11" fmla="*/ 200192 w 200192"/>
                <a:gd name="connsiteY11" fmla="*/ 117557 h 152104"/>
                <a:gd name="connsiteX12" fmla="*/ 189828 w 200192"/>
                <a:gd name="connsiteY12" fmla="*/ 121012 h 152104"/>
                <a:gd name="connsiteX13" fmla="*/ 193283 w 200192"/>
                <a:gd name="connsiteY13" fmla="*/ 138286 h 152104"/>
                <a:gd name="connsiteX14" fmla="*/ 182918 w 200192"/>
                <a:gd name="connsiteY14" fmla="*/ 145195 h 152104"/>
                <a:gd name="connsiteX15" fmla="*/ 172554 w 200192"/>
                <a:gd name="connsiteY15" fmla="*/ 141740 h 152104"/>
                <a:gd name="connsiteX16" fmla="*/ 165737 w 200192"/>
                <a:gd name="connsiteY16" fmla="*/ 152105 h 152104"/>
                <a:gd name="connsiteX17" fmla="*/ 155373 w 200192"/>
                <a:gd name="connsiteY17" fmla="*/ 148650 h 152104"/>
                <a:gd name="connsiteX18" fmla="*/ 151918 w 200192"/>
                <a:gd name="connsiteY18" fmla="*/ 124466 h 152104"/>
                <a:gd name="connsiteX19" fmla="*/ 141554 w 200192"/>
                <a:gd name="connsiteY19" fmla="*/ 121012 h 152104"/>
                <a:gd name="connsiteX20" fmla="*/ 127734 w 200192"/>
                <a:gd name="connsiteY20" fmla="*/ 117557 h 152104"/>
                <a:gd name="connsiteX21" fmla="*/ 131190 w 200192"/>
                <a:gd name="connsiteY21" fmla="*/ 103737 h 152104"/>
                <a:gd name="connsiteX22" fmla="*/ 120825 w 200192"/>
                <a:gd name="connsiteY22" fmla="*/ 89918 h 152104"/>
                <a:gd name="connsiteX23" fmla="*/ 107006 w 200192"/>
                <a:gd name="connsiteY23" fmla="*/ 76099 h 152104"/>
                <a:gd name="connsiteX24" fmla="*/ 82822 w 200192"/>
                <a:gd name="connsiteY24" fmla="*/ 79554 h 152104"/>
                <a:gd name="connsiteX25" fmla="*/ 69003 w 200192"/>
                <a:gd name="connsiteY25" fmla="*/ 89918 h 152104"/>
                <a:gd name="connsiteX26" fmla="*/ 55184 w 200192"/>
                <a:gd name="connsiteY26" fmla="*/ 103737 h 152104"/>
                <a:gd name="connsiteX27" fmla="*/ 41364 w 200192"/>
                <a:gd name="connsiteY27" fmla="*/ 86463 h 152104"/>
                <a:gd name="connsiteX28" fmla="*/ 24184 w 200192"/>
                <a:gd name="connsiteY28" fmla="*/ 69189 h 152104"/>
                <a:gd name="connsiteX29" fmla="*/ 10365 w 200192"/>
                <a:gd name="connsiteY29" fmla="*/ 65735 h 152104"/>
                <a:gd name="connsiteX30" fmla="*/ 0 w 200192"/>
                <a:gd name="connsiteY30" fmla="*/ 48367 h 152104"/>
                <a:gd name="connsiteX31" fmla="*/ 13819 w 200192"/>
                <a:gd name="connsiteY31" fmla="*/ 34548 h 152104"/>
                <a:gd name="connsiteX32" fmla="*/ 34455 w 200192"/>
                <a:gd name="connsiteY32" fmla="*/ 27638 h 152104"/>
                <a:gd name="connsiteX33" fmla="*/ 37909 w 200192"/>
                <a:gd name="connsiteY33" fmla="*/ 17274 h 152104"/>
                <a:gd name="connsiteX34" fmla="*/ 44819 w 200192"/>
                <a:gd name="connsiteY34" fmla="*/ 0 h 152104"/>
                <a:gd name="connsiteX35" fmla="*/ 55184 w 200192"/>
                <a:gd name="connsiteY35" fmla="*/ 0 h 152104"/>
                <a:gd name="connsiteX36" fmla="*/ 65548 w 200192"/>
                <a:gd name="connsiteY36" fmla="*/ 6910 h 152104"/>
                <a:gd name="connsiteX37" fmla="*/ 86277 w 200192"/>
                <a:gd name="connsiteY37" fmla="*/ 6910 h 152104"/>
                <a:gd name="connsiteX38" fmla="*/ 103551 w 200192"/>
                <a:gd name="connsiteY38" fmla="*/ 10364 h 15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0192" h="152104">
                  <a:moveTo>
                    <a:pt x="103551" y="10364"/>
                  </a:moveTo>
                  <a:lnTo>
                    <a:pt x="103551" y="13819"/>
                  </a:lnTo>
                  <a:lnTo>
                    <a:pt x="124280" y="20729"/>
                  </a:lnTo>
                  <a:lnTo>
                    <a:pt x="145009" y="13819"/>
                  </a:lnTo>
                  <a:lnTo>
                    <a:pt x="169099" y="10364"/>
                  </a:lnTo>
                  <a:lnTo>
                    <a:pt x="172554" y="24184"/>
                  </a:lnTo>
                  <a:lnTo>
                    <a:pt x="182918" y="41457"/>
                  </a:lnTo>
                  <a:lnTo>
                    <a:pt x="193283" y="65735"/>
                  </a:lnTo>
                  <a:lnTo>
                    <a:pt x="189828" y="79554"/>
                  </a:lnTo>
                  <a:lnTo>
                    <a:pt x="193283" y="86463"/>
                  </a:lnTo>
                  <a:lnTo>
                    <a:pt x="196737" y="93373"/>
                  </a:lnTo>
                  <a:lnTo>
                    <a:pt x="200192" y="117557"/>
                  </a:lnTo>
                  <a:lnTo>
                    <a:pt x="189828" y="121012"/>
                  </a:lnTo>
                  <a:lnTo>
                    <a:pt x="193283" y="138286"/>
                  </a:lnTo>
                  <a:lnTo>
                    <a:pt x="182918" y="145195"/>
                  </a:lnTo>
                  <a:lnTo>
                    <a:pt x="172554" y="141740"/>
                  </a:lnTo>
                  <a:lnTo>
                    <a:pt x="165737" y="152105"/>
                  </a:lnTo>
                  <a:lnTo>
                    <a:pt x="155373" y="148650"/>
                  </a:lnTo>
                  <a:lnTo>
                    <a:pt x="151918" y="124466"/>
                  </a:lnTo>
                  <a:lnTo>
                    <a:pt x="141554" y="121012"/>
                  </a:lnTo>
                  <a:lnTo>
                    <a:pt x="127734" y="117557"/>
                  </a:lnTo>
                  <a:lnTo>
                    <a:pt x="131190" y="103737"/>
                  </a:lnTo>
                  <a:lnTo>
                    <a:pt x="120825" y="89918"/>
                  </a:lnTo>
                  <a:lnTo>
                    <a:pt x="107006" y="76099"/>
                  </a:lnTo>
                  <a:lnTo>
                    <a:pt x="82822" y="79554"/>
                  </a:lnTo>
                  <a:lnTo>
                    <a:pt x="69003" y="89918"/>
                  </a:lnTo>
                  <a:lnTo>
                    <a:pt x="55184" y="103737"/>
                  </a:lnTo>
                  <a:lnTo>
                    <a:pt x="41364" y="86463"/>
                  </a:lnTo>
                  <a:lnTo>
                    <a:pt x="24184" y="69189"/>
                  </a:lnTo>
                  <a:lnTo>
                    <a:pt x="10365" y="65735"/>
                  </a:lnTo>
                  <a:lnTo>
                    <a:pt x="0" y="48367"/>
                  </a:lnTo>
                  <a:lnTo>
                    <a:pt x="13819" y="34548"/>
                  </a:lnTo>
                  <a:lnTo>
                    <a:pt x="34455" y="27638"/>
                  </a:lnTo>
                  <a:lnTo>
                    <a:pt x="37909" y="17274"/>
                  </a:lnTo>
                  <a:lnTo>
                    <a:pt x="44819" y="0"/>
                  </a:lnTo>
                  <a:lnTo>
                    <a:pt x="55184" y="0"/>
                  </a:lnTo>
                  <a:lnTo>
                    <a:pt x="65548" y="6910"/>
                  </a:lnTo>
                  <a:lnTo>
                    <a:pt x="86277" y="6910"/>
                  </a:lnTo>
                  <a:lnTo>
                    <a:pt x="103551" y="10364"/>
                  </a:lnTo>
                  <a:close/>
                </a:path>
              </a:pathLst>
            </a:custGeom>
            <a:solidFill>
              <a:srgbClr val="CEE3BF"/>
            </a:solidFill>
            <a:ln w="9334" cap="flat">
              <a:noFill/>
              <a:prstDash val="solid"/>
              <a:miter/>
            </a:ln>
          </p:spPr>
          <p:txBody>
            <a:bodyPr rtlCol="0" anchor="ctr"/>
            <a:lstStyle/>
            <a:p>
              <a:endParaRPr lang="en-GB" dirty="0"/>
            </a:p>
          </p:txBody>
        </p:sp>
        <p:sp>
          <p:nvSpPr>
            <p:cNvPr id="1022" name="Freeform: Shape 1021">
              <a:extLst>
                <a:ext uri="{FF2B5EF4-FFF2-40B4-BE49-F238E27FC236}">
                  <a16:creationId xmlns:a16="http://schemas.microsoft.com/office/drawing/2014/main" id="{C31530A2-93A2-4F39-B7C6-9B71D476D82C}"/>
                </a:ext>
              </a:extLst>
            </p:cNvPr>
            <p:cNvSpPr/>
            <p:nvPr/>
          </p:nvSpPr>
          <p:spPr>
            <a:xfrm>
              <a:off x="5519070" y="4291187"/>
              <a:ext cx="113915" cy="114102"/>
            </a:xfrm>
            <a:custGeom>
              <a:avLst/>
              <a:gdLst>
                <a:gd name="connsiteX0" fmla="*/ 86277 w 113915"/>
                <a:gd name="connsiteY0" fmla="*/ 27638 h 114102"/>
                <a:gd name="connsiteX1" fmla="*/ 86277 w 113915"/>
                <a:gd name="connsiteY1" fmla="*/ 44912 h 114102"/>
                <a:gd name="connsiteX2" fmla="*/ 86277 w 113915"/>
                <a:gd name="connsiteY2" fmla="*/ 58732 h 114102"/>
                <a:gd name="connsiteX3" fmla="*/ 100096 w 113915"/>
                <a:gd name="connsiteY3" fmla="*/ 62187 h 114102"/>
                <a:gd name="connsiteX4" fmla="*/ 110460 w 113915"/>
                <a:gd name="connsiteY4" fmla="*/ 69096 h 114102"/>
                <a:gd name="connsiteX5" fmla="*/ 113915 w 113915"/>
                <a:gd name="connsiteY5" fmla="*/ 79460 h 114102"/>
                <a:gd name="connsiteX6" fmla="*/ 113915 w 113915"/>
                <a:gd name="connsiteY6" fmla="*/ 93280 h 114102"/>
                <a:gd name="connsiteX7" fmla="*/ 107006 w 113915"/>
                <a:gd name="connsiteY7" fmla="*/ 114102 h 114102"/>
                <a:gd name="connsiteX8" fmla="*/ 86277 w 113915"/>
                <a:gd name="connsiteY8" fmla="*/ 107192 h 114102"/>
                <a:gd name="connsiteX9" fmla="*/ 65641 w 113915"/>
                <a:gd name="connsiteY9" fmla="*/ 93280 h 114102"/>
                <a:gd name="connsiteX10" fmla="*/ 51822 w 113915"/>
                <a:gd name="connsiteY10" fmla="*/ 76006 h 114102"/>
                <a:gd name="connsiteX11" fmla="*/ 31093 w 113915"/>
                <a:gd name="connsiteY11" fmla="*/ 62187 h 114102"/>
                <a:gd name="connsiteX12" fmla="*/ 13819 w 113915"/>
                <a:gd name="connsiteY12" fmla="*/ 55277 h 114102"/>
                <a:gd name="connsiteX13" fmla="*/ 0 w 113915"/>
                <a:gd name="connsiteY13" fmla="*/ 41458 h 114102"/>
                <a:gd name="connsiteX14" fmla="*/ 27638 w 113915"/>
                <a:gd name="connsiteY14" fmla="*/ 13819 h 114102"/>
                <a:gd name="connsiteX15" fmla="*/ 31093 w 113915"/>
                <a:gd name="connsiteY15" fmla="*/ 0 h 114102"/>
                <a:gd name="connsiteX16" fmla="*/ 41458 w 113915"/>
                <a:gd name="connsiteY16" fmla="*/ 0 h 114102"/>
                <a:gd name="connsiteX17" fmla="*/ 55277 w 113915"/>
                <a:gd name="connsiteY17" fmla="*/ 6910 h 114102"/>
                <a:gd name="connsiteX18" fmla="*/ 58732 w 113915"/>
                <a:gd name="connsiteY18" fmla="*/ 31093 h 114102"/>
                <a:gd name="connsiteX19" fmla="*/ 69096 w 113915"/>
                <a:gd name="connsiteY19" fmla="*/ 34548 h 114102"/>
                <a:gd name="connsiteX20" fmla="*/ 75912 w 113915"/>
                <a:gd name="connsiteY20" fmla="*/ 24184 h 114102"/>
                <a:gd name="connsiteX21" fmla="*/ 86277 w 113915"/>
                <a:gd name="connsiteY21" fmla="*/ 27638 h 11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915" h="114102">
                  <a:moveTo>
                    <a:pt x="86277" y="27638"/>
                  </a:moveTo>
                  <a:lnTo>
                    <a:pt x="86277" y="44912"/>
                  </a:lnTo>
                  <a:lnTo>
                    <a:pt x="86277" y="58732"/>
                  </a:lnTo>
                  <a:lnTo>
                    <a:pt x="100096" y="62187"/>
                  </a:lnTo>
                  <a:lnTo>
                    <a:pt x="110460" y="69096"/>
                  </a:lnTo>
                  <a:lnTo>
                    <a:pt x="113915" y="79460"/>
                  </a:lnTo>
                  <a:lnTo>
                    <a:pt x="113915" y="93280"/>
                  </a:lnTo>
                  <a:lnTo>
                    <a:pt x="107006" y="114102"/>
                  </a:lnTo>
                  <a:lnTo>
                    <a:pt x="86277" y="107192"/>
                  </a:lnTo>
                  <a:lnTo>
                    <a:pt x="65641" y="93280"/>
                  </a:lnTo>
                  <a:lnTo>
                    <a:pt x="51822" y="76006"/>
                  </a:lnTo>
                  <a:lnTo>
                    <a:pt x="31093" y="62187"/>
                  </a:lnTo>
                  <a:lnTo>
                    <a:pt x="13819" y="55277"/>
                  </a:lnTo>
                  <a:lnTo>
                    <a:pt x="0" y="41458"/>
                  </a:lnTo>
                  <a:lnTo>
                    <a:pt x="27638" y="13819"/>
                  </a:lnTo>
                  <a:lnTo>
                    <a:pt x="31093" y="0"/>
                  </a:lnTo>
                  <a:lnTo>
                    <a:pt x="41458" y="0"/>
                  </a:lnTo>
                  <a:lnTo>
                    <a:pt x="55277" y="6910"/>
                  </a:lnTo>
                  <a:lnTo>
                    <a:pt x="58732" y="31093"/>
                  </a:lnTo>
                  <a:lnTo>
                    <a:pt x="69096" y="34548"/>
                  </a:lnTo>
                  <a:lnTo>
                    <a:pt x="75912" y="24184"/>
                  </a:lnTo>
                  <a:lnTo>
                    <a:pt x="86277" y="27638"/>
                  </a:lnTo>
                  <a:close/>
                </a:path>
              </a:pathLst>
            </a:custGeom>
            <a:solidFill>
              <a:srgbClr val="CEE3BF"/>
            </a:solidFill>
            <a:ln w="9334" cap="flat">
              <a:noFill/>
              <a:prstDash val="solid"/>
              <a:miter/>
            </a:ln>
          </p:spPr>
          <p:txBody>
            <a:bodyPr rtlCol="0" anchor="ctr"/>
            <a:lstStyle/>
            <a:p>
              <a:endParaRPr lang="en-GB" dirty="0"/>
            </a:p>
          </p:txBody>
        </p:sp>
        <p:sp>
          <p:nvSpPr>
            <p:cNvPr id="1023" name="Freeform: Shape 1022">
              <a:extLst>
                <a:ext uri="{FF2B5EF4-FFF2-40B4-BE49-F238E27FC236}">
                  <a16:creationId xmlns:a16="http://schemas.microsoft.com/office/drawing/2014/main" id="{E05CA780-7E5B-4AFC-AA23-EE249E1B06D9}"/>
                </a:ext>
              </a:extLst>
            </p:cNvPr>
            <p:cNvSpPr/>
            <p:nvPr/>
          </p:nvSpPr>
          <p:spPr>
            <a:xfrm>
              <a:off x="5519070" y="4291187"/>
              <a:ext cx="113915" cy="114102"/>
            </a:xfrm>
            <a:custGeom>
              <a:avLst/>
              <a:gdLst>
                <a:gd name="connsiteX0" fmla="*/ 86277 w 113915"/>
                <a:gd name="connsiteY0" fmla="*/ 27638 h 114102"/>
                <a:gd name="connsiteX1" fmla="*/ 86277 w 113915"/>
                <a:gd name="connsiteY1" fmla="*/ 44912 h 114102"/>
                <a:gd name="connsiteX2" fmla="*/ 86277 w 113915"/>
                <a:gd name="connsiteY2" fmla="*/ 58732 h 114102"/>
                <a:gd name="connsiteX3" fmla="*/ 100096 w 113915"/>
                <a:gd name="connsiteY3" fmla="*/ 62187 h 114102"/>
                <a:gd name="connsiteX4" fmla="*/ 110460 w 113915"/>
                <a:gd name="connsiteY4" fmla="*/ 69096 h 114102"/>
                <a:gd name="connsiteX5" fmla="*/ 113915 w 113915"/>
                <a:gd name="connsiteY5" fmla="*/ 79460 h 114102"/>
                <a:gd name="connsiteX6" fmla="*/ 113915 w 113915"/>
                <a:gd name="connsiteY6" fmla="*/ 93280 h 114102"/>
                <a:gd name="connsiteX7" fmla="*/ 107006 w 113915"/>
                <a:gd name="connsiteY7" fmla="*/ 114102 h 114102"/>
                <a:gd name="connsiteX8" fmla="*/ 86277 w 113915"/>
                <a:gd name="connsiteY8" fmla="*/ 107192 h 114102"/>
                <a:gd name="connsiteX9" fmla="*/ 65641 w 113915"/>
                <a:gd name="connsiteY9" fmla="*/ 93280 h 114102"/>
                <a:gd name="connsiteX10" fmla="*/ 51822 w 113915"/>
                <a:gd name="connsiteY10" fmla="*/ 76006 h 114102"/>
                <a:gd name="connsiteX11" fmla="*/ 31093 w 113915"/>
                <a:gd name="connsiteY11" fmla="*/ 62187 h 114102"/>
                <a:gd name="connsiteX12" fmla="*/ 13819 w 113915"/>
                <a:gd name="connsiteY12" fmla="*/ 55277 h 114102"/>
                <a:gd name="connsiteX13" fmla="*/ 0 w 113915"/>
                <a:gd name="connsiteY13" fmla="*/ 41458 h 114102"/>
                <a:gd name="connsiteX14" fmla="*/ 27638 w 113915"/>
                <a:gd name="connsiteY14" fmla="*/ 13819 h 114102"/>
                <a:gd name="connsiteX15" fmla="*/ 31093 w 113915"/>
                <a:gd name="connsiteY15" fmla="*/ 0 h 114102"/>
                <a:gd name="connsiteX16" fmla="*/ 41458 w 113915"/>
                <a:gd name="connsiteY16" fmla="*/ 0 h 114102"/>
                <a:gd name="connsiteX17" fmla="*/ 55277 w 113915"/>
                <a:gd name="connsiteY17" fmla="*/ 6910 h 114102"/>
                <a:gd name="connsiteX18" fmla="*/ 58732 w 113915"/>
                <a:gd name="connsiteY18" fmla="*/ 31093 h 114102"/>
                <a:gd name="connsiteX19" fmla="*/ 69096 w 113915"/>
                <a:gd name="connsiteY19" fmla="*/ 34548 h 114102"/>
                <a:gd name="connsiteX20" fmla="*/ 75912 w 113915"/>
                <a:gd name="connsiteY20" fmla="*/ 24184 h 114102"/>
                <a:gd name="connsiteX21" fmla="*/ 86277 w 113915"/>
                <a:gd name="connsiteY21" fmla="*/ 27638 h 11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915" h="114102">
                  <a:moveTo>
                    <a:pt x="86277" y="27638"/>
                  </a:moveTo>
                  <a:lnTo>
                    <a:pt x="86277" y="44912"/>
                  </a:lnTo>
                  <a:lnTo>
                    <a:pt x="86277" y="58732"/>
                  </a:lnTo>
                  <a:lnTo>
                    <a:pt x="100096" y="62187"/>
                  </a:lnTo>
                  <a:lnTo>
                    <a:pt x="110460" y="69096"/>
                  </a:lnTo>
                  <a:lnTo>
                    <a:pt x="113915" y="79460"/>
                  </a:lnTo>
                  <a:lnTo>
                    <a:pt x="113915" y="93280"/>
                  </a:lnTo>
                  <a:lnTo>
                    <a:pt x="107006" y="114102"/>
                  </a:lnTo>
                  <a:lnTo>
                    <a:pt x="86277" y="107192"/>
                  </a:lnTo>
                  <a:lnTo>
                    <a:pt x="65641" y="93280"/>
                  </a:lnTo>
                  <a:lnTo>
                    <a:pt x="51822" y="76006"/>
                  </a:lnTo>
                  <a:lnTo>
                    <a:pt x="31093" y="62187"/>
                  </a:lnTo>
                  <a:lnTo>
                    <a:pt x="13819" y="55277"/>
                  </a:lnTo>
                  <a:lnTo>
                    <a:pt x="0" y="41458"/>
                  </a:lnTo>
                  <a:lnTo>
                    <a:pt x="27638" y="13819"/>
                  </a:lnTo>
                  <a:lnTo>
                    <a:pt x="31093" y="0"/>
                  </a:lnTo>
                  <a:lnTo>
                    <a:pt x="41458" y="0"/>
                  </a:lnTo>
                  <a:lnTo>
                    <a:pt x="55277" y="6910"/>
                  </a:lnTo>
                  <a:lnTo>
                    <a:pt x="58732" y="31093"/>
                  </a:lnTo>
                  <a:lnTo>
                    <a:pt x="69096" y="34548"/>
                  </a:lnTo>
                  <a:lnTo>
                    <a:pt x="75912" y="24184"/>
                  </a:lnTo>
                  <a:lnTo>
                    <a:pt x="86277" y="27638"/>
                  </a:lnTo>
                  <a:close/>
                </a:path>
              </a:pathLst>
            </a:custGeom>
            <a:solidFill>
              <a:srgbClr val="CEE3BF"/>
            </a:solidFill>
            <a:ln w="9334" cap="flat">
              <a:noFill/>
              <a:prstDash val="solid"/>
              <a:miter/>
            </a:ln>
          </p:spPr>
          <p:txBody>
            <a:bodyPr rtlCol="0" anchor="ctr"/>
            <a:lstStyle/>
            <a:p>
              <a:endParaRPr lang="en-GB" dirty="0"/>
            </a:p>
          </p:txBody>
        </p:sp>
        <p:sp>
          <p:nvSpPr>
            <p:cNvPr id="1024" name="Freeform: Shape 1023">
              <a:extLst>
                <a:ext uri="{FF2B5EF4-FFF2-40B4-BE49-F238E27FC236}">
                  <a16:creationId xmlns:a16="http://schemas.microsoft.com/office/drawing/2014/main" id="{7D1739C7-1BF3-42A5-BE20-66A24C28E459}"/>
                </a:ext>
              </a:extLst>
            </p:cNvPr>
            <p:cNvSpPr/>
            <p:nvPr/>
          </p:nvSpPr>
          <p:spPr>
            <a:xfrm>
              <a:off x="6204336" y="3872875"/>
              <a:ext cx="290017" cy="445950"/>
            </a:xfrm>
            <a:custGeom>
              <a:avLst/>
              <a:gdLst>
                <a:gd name="connsiteX0" fmla="*/ 286562 w 290017"/>
                <a:gd name="connsiteY0" fmla="*/ 221295 h 445950"/>
                <a:gd name="connsiteX1" fmla="*/ 262378 w 290017"/>
                <a:gd name="connsiteY1" fmla="*/ 224749 h 445950"/>
                <a:gd name="connsiteX2" fmla="*/ 255469 w 290017"/>
                <a:gd name="connsiteY2" fmla="*/ 245478 h 445950"/>
                <a:gd name="connsiteX3" fmla="*/ 234833 w 290017"/>
                <a:gd name="connsiteY3" fmla="*/ 293845 h 445950"/>
                <a:gd name="connsiteX4" fmla="*/ 248653 w 290017"/>
                <a:gd name="connsiteY4" fmla="*/ 307665 h 445950"/>
                <a:gd name="connsiteX5" fmla="*/ 255469 w 290017"/>
                <a:gd name="connsiteY5" fmla="*/ 352577 h 445950"/>
                <a:gd name="connsiteX6" fmla="*/ 234833 w 290017"/>
                <a:gd name="connsiteY6" fmla="*/ 356032 h 445950"/>
                <a:gd name="connsiteX7" fmla="*/ 193376 w 290017"/>
                <a:gd name="connsiteY7" fmla="*/ 397583 h 445950"/>
                <a:gd name="connsiteX8" fmla="*/ 151918 w 290017"/>
                <a:gd name="connsiteY8" fmla="*/ 404493 h 445950"/>
                <a:gd name="connsiteX9" fmla="*/ 148463 w 290017"/>
                <a:gd name="connsiteY9" fmla="*/ 425222 h 445950"/>
                <a:gd name="connsiteX10" fmla="*/ 69096 w 290017"/>
                <a:gd name="connsiteY10" fmla="*/ 445950 h 445950"/>
                <a:gd name="connsiteX11" fmla="*/ 51822 w 290017"/>
                <a:gd name="connsiteY11" fmla="*/ 425222 h 445950"/>
                <a:gd name="connsiteX12" fmla="*/ 17274 w 290017"/>
                <a:gd name="connsiteY12" fmla="*/ 390673 h 445950"/>
                <a:gd name="connsiteX13" fmla="*/ 20729 w 290017"/>
                <a:gd name="connsiteY13" fmla="*/ 373400 h 445950"/>
                <a:gd name="connsiteX14" fmla="*/ 55277 w 290017"/>
                <a:gd name="connsiteY14" fmla="*/ 373400 h 445950"/>
                <a:gd name="connsiteX15" fmla="*/ 44912 w 290017"/>
                <a:gd name="connsiteY15" fmla="*/ 356032 h 445950"/>
                <a:gd name="connsiteX16" fmla="*/ 41458 w 290017"/>
                <a:gd name="connsiteY16" fmla="*/ 314574 h 445950"/>
                <a:gd name="connsiteX17" fmla="*/ 27638 w 290017"/>
                <a:gd name="connsiteY17" fmla="*/ 293845 h 445950"/>
                <a:gd name="connsiteX18" fmla="*/ 3455 w 290017"/>
                <a:gd name="connsiteY18" fmla="*/ 269662 h 445950"/>
                <a:gd name="connsiteX19" fmla="*/ 0 w 290017"/>
                <a:gd name="connsiteY19" fmla="*/ 248933 h 445950"/>
                <a:gd name="connsiteX20" fmla="*/ 55277 w 290017"/>
                <a:gd name="connsiteY20" fmla="*/ 183198 h 445950"/>
                <a:gd name="connsiteX21" fmla="*/ 62186 w 290017"/>
                <a:gd name="connsiteY21" fmla="*/ 114102 h 445950"/>
                <a:gd name="connsiteX22" fmla="*/ 69096 w 290017"/>
                <a:gd name="connsiteY22" fmla="*/ 86464 h 445950"/>
                <a:gd name="connsiteX23" fmla="*/ 48367 w 290017"/>
                <a:gd name="connsiteY23" fmla="*/ 10365 h 445950"/>
                <a:gd name="connsiteX24" fmla="*/ 58732 w 290017"/>
                <a:gd name="connsiteY24" fmla="*/ 0 h 445950"/>
                <a:gd name="connsiteX25" fmla="*/ 290017 w 290017"/>
                <a:gd name="connsiteY25" fmla="*/ 93373 h 445950"/>
                <a:gd name="connsiteX26" fmla="*/ 286562 w 290017"/>
                <a:gd name="connsiteY26" fmla="*/ 221295 h 4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0017" h="445950">
                  <a:moveTo>
                    <a:pt x="286562" y="221295"/>
                  </a:moveTo>
                  <a:lnTo>
                    <a:pt x="262378" y="224749"/>
                  </a:lnTo>
                  <a:lnTo>
                    <a:pt x="255469" y="245478"/>
                  </a:lnTo>
                  <a:lnTo>
                    <a:pt x="234833" y="293845"/>
                  </a:lnTo>
                  <a:lnTo>
                    <a:pt x="248653" y="307665"/>
                  </a:lnTo>
                  <a:lnTo>
                    <a:pt x="255469" y="352577"/>
                  </a:lnTo>
                  <a:lnTo>
                    <a:pt x="234833" y="356032"/>
                  </a:lnTo>
                  <a:lnTo>
                    <a:pt x="193376" y="397583"/>
                  </a:lnTo>
                  <a:lnTo>
                    <a:pt x="151918" y="404493"/>
                  </a:lnTo>
                  <a:lnTo>
                    <a:pt x="148463" y="425222"/>
                  </a:lnTo>
                  <a:lnTo>
                    <a:pt x="69096" y="445950"/>
                  </a:lnTo>
                  <a:lnTo>
                    <a:pt x="51822" y="425222"/>
                  </a:lnTo>
                  <a:lnTo>
                    <a:pt x="17274" y="390673"/>
                  </a:lnTo>
                  <a:lnTo>
                    <a:pt x="20729" y="373400"/>
                  </a:lnTo>
                  <a:lnTo>
                    <a:pt x="55277" y="373400"/>
                  </a:lnTo>
                  <a:lnTo>
                    <a:pt x="44912" y="356032"/>
                  </a:lnTo>
                  <a:lnTo>
                    <a:pt x="41458" y="314574"/>
                  </a:lnTo>
                  <a:lnTo>
                    <a:pt x="27638" y="293845"/>
                  </a:lnTo>
                  <a:lnTo>
                    <a:pt x="3455" y="269662"/>
                  </a:lnTo>
                  <a:lnTo>
                    <a:pt x="0" y="248933"/>
                  </a:lnTo>
                  <a:lnTo>
                    <a:pt x="55277" y="183198"/>
                  </a:lnTo>
                  <a:lnTo>
                    <a:pt x="62186" y="114102"/>
                  </a:lnTo>
                  <a:lnTo>
                    <a:pt x="69096" y="86464"/>
                  </a:lnTo>
                  <a:lnTo>
                    <a:pt x="48367" y="10365"/>
                  </a:lnTo>
                  <a:lnTo>
                    <a:pt x="58732" y="0"/>
                  </a:lnTo>
                  <a:lnTo>
                    <a:pt x="290017" y="93373"/>
                  </a:lnTo>
                  <a:lnTo>
                    <a:pt x="286562" y="221295"/>
                  </a:lnTo>
                  <a:close/>
                </a:path>
              </a:pathLst>
            </a:custGeom>
            <a:solidFill>
              <a:srgbClr val="CEE3BF"/>
            </a:solidFill>
            <a:ln w="9334" cap="flat">
              <a:noFill/>
              <a:prstDash val="solid"/>
              <a:miter/>
            </a:ln>
          </p:spPr>
          <p:txBody>
            <a:bodyPr rtlCol="0" anchor="ctr"/>
            <a:lstStyle/>
            <a:p>
              <a:endParaRPr lang="en-GB" dirty="0"/>
            </a:p>
          </p:txBody>
        </p:sp>
        <p:sp>
          <p:nvSpPr>
            <p:cNvPr id="1025" name="Freeform: Shape 1024">
              <a:extLst>
                <a:ext uri="{FF2B5EF4-FFF2-40B4-BE49-F238E27FC236}">
                  <a16:creationId xmlns:a16="http://schemas.microsoft.com/office/drawing/2014/main" id="{58F6328C-6C68-40C2-B923-B39E78BBD237}"/>
                </a:ext>
              </a:extLst>
            </p:cNvPr>
            <p:cNvSpPr/>
            <p:nvPr/>
          </p:nvSpPr>
          <p:spPr>
            <a:xfrm>
              <a:off x="5840180" y="3865966"/>
              <a:ext cx="433251" cy="335303"/>
            </a:xfrm>
            <a:custGeom>
              <a:avLst/>
              <a:gdLst>
                <a:gd name="connsiteX0" fmla="*/ 6910 w 433251"/>
                <a:gd name="connsiteY0" fmla="*/ 245478 h 335303"/>
                <a:gd name="connsiteX1" fmla="*/ 31000 w 433251"/>
                <a:gd name="connsiteY1" fmla="*/ 245478 h 335303"/>
                <a:gd name="connsiteX2" fmla="*/ 89732 w 433251"/>
                <a:gd name="connsiteY2" fmla="*/ 235114 h 335303"/>
                <a:gd name="connsiteX3" fmla="*/ 110460 w 433251"/>
                <a:gd name="connsiteY3" fmla="*/ 204021 h 335303"/>
                <a:gd name="connsiteX4" fmla="*/ 113915 w 433251"/>
                <a:gd name="connsiteY4" fmla="*/ 131376 h 335303"/>
                <a:gd name="connsiteX5" fmla="*/ 148463 w 433251"/>
                <a:gd name="connsiteY5" fmla="*/ 124466 h 335303"/>
                <a:gd name="connsiteX6" fmla="*/ 214011 w 433251"/>
                <a:gd name="connsiteY6" fmla="*/ 69190 h 335303"/>
                <a:gd name="connsiteX7" fmla="*/ 329701 w 433251"/>
                <a:gd name="connsiteY7" fmla="*/ 0 h 335303"/>
                <a:gd name="connsiteX8" fmla="*/ 343520 w 433251"/>
                <a:gd name="connsiteY8" fmla="*/ 3455 h 335303"/>
                <a:gd name="connsiteX9" fmla="*/ 357246 w 433251"/>
                <a:gd name="connsiteY9" fmla="*/ 6910 h 335303"/>
                <a:gd name="connsiteX10" fmla="*/ 374520 w 433251"/>
                <a:gd name="connsiteY10" fmla="*/ 13819 h 335303"/>
                <a:gd name="connsiteX11" fmla="*/ 391794 w 433251"/>
                <a:gd name="connsiteY11" fmla="*/ 27638 h 335303"/>
                <a:gd name="connsiteX12" fmla="*/ 412523 w 433251"/>
                <a:gd name="connsiteY12" fmla="*/ 17274 h 335303"/>
                <a:gd name="connsiteX13" fmla="*/ 433251 w 433251"/>
                <a:gd name="connsiteY13" fmla="*/ 93373 h 335303"/>
                <a:gd name="connsiteX14" fmla="*/ 426342 w 433251"/>
                <a:gd name="connsiteY14" fmla="*/ 121012 h 335303"/>
                <a:gd name="connsiteX15" fmla="*/ 419432 w 433251"/>
                <a:gd name="connsiteY15" fmla="*/ 190108 h 335303"/>
                <a:gd name="connsiteX16" fmla="*/ 364156 w 433251"/>
                <a:gd name="connsiteY16" fmla="*/ 255843 h 335303"/>
                <a:gd name="connsiteX17" fmla="*/ 367610 w 433251"/>
                <a:gd name="connsiteY17" fmla="*/ 276571 h 335303"/>
                <a:gd name="connsiteX18" fmla="*/ 329701 w 433251"/>
                <a:gd name="connsiteY18" fmla="*/ 300755 h 335303"/>
                <a:gd name="connsiteX19" fmla="*/ 269288 w 433251"/>
                <a:gd name="connsiteY19" fmla="*/ 293845 h 335303"/>
                <a:gd name="connsiteX20" fmla="*/ 258924 w 433251"/>
                <a:gd name="connsiteY20" fmla="*/ 307665 h 335303"/>
                <a:gd name="connsiteX21" fmla="*/ 210556 w 433251"/>
                <a:gd name="connsiteY21" fmla="*/ 290391 h 335303"/>
                <a:gd name="connsiteX22" fmla="*/ 193283 w 433251"/>
                <a:gd name="connsiteY22" fmla="*/ 300755 h 335303"/>
                <a:gd name="connsiteX23" fmla="*/ 165644 w 433251"/>
                <a:gd name="connsiteY23" fmla="*/ 280026 h 335303"/>
                <a:gd name="connsiteX24" fmla="*/ 113915 w 433251"/>
                <a:gd name="connsiteY24" fmla="*/ 280026 h 335303"/>
                <a:gd name="connsiteX25" fmla="*/ 93186 w 433251"/>
                <a:gd name="connsiteY25" fmla="*/ 335303 h 335303"/>
                <a:gd name="connsiteX26" fmla="*/ 75912 w 433251"/>
                <a:gd name="connsiteY26" fmla="*/ 318029 h 335303"/>
                <a:gd name="connsiteX27" fmla="*/ 51729 w 433251"/>
                <a:gd name="connsiteY27" fmla="*/ 321484 h 335303"/>
                <a:gd name="connsiteX28" fmla="*/ 27545 w 433251"/>
                <a:gd name="connsiteY28" fmla="*/ 307665 h 335303"/>
                <a:gd name="connsiteX29" fmla="*/ 20729 w 433251"/>
                <a:gd name="connsiteY29" fmla="*/ 304210 h 335303"/>
                <a:gd name="connsiteX30" fmla="*/ 24090 w 433251"/>
                <a:gd name="connsiteY30" fmla="*/ 293845 h 335303"/>
                <a:gd name="connsiteX31" fmla="*/ 6910 w 433251"/>
                <a:gd name="connsiteY31" fmla="*/ 273117 h 335303"/>
                <a:gd name="connsiteX32" fmla="*/ 0 w 433251"/>
                <a:gd name="connsiteY32" fmla="*/ 259297 h 335303"/>
                <a:gd name="connsiteX33" fmla="*/ 6910 w 433251"/>
                <a:gd name="connsiteY33" fmla="*/ 245478 h 33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3251" h="335303">
                  <a:moveTo>
                    <a:pt x="6910" y="245478"/>
                  </a:moveTo>
                  <a:lnTo>
                    <a:pt x="31000" y="245478"/>
                  </a:lnTo>
                  <a:lnTo>
                    <a:pt x="89732" y="235114"/>
                  </a:lnTo>
                  <a:lnTo>
                    <a:pt x="110460" y="204021"/>
                  </a:lnTo>
                  <a:lnTo>
                    <a:pt x="113915" y="131376"/>
                  </a:lnTo>
                  <a:lnTo>
                    <a:pt x="148463" y="124466"/>
                  </a:lnTo>
                  <a:lnTo>
                    <a:pt x="214011" y="69190"/>
                  </a:lnTo>
                  <a:lnTo>
                    <a:pt x="329701" y="0"/>
                  </a:lnTo>
                  <a:lnTo>
                    <a:pt x="343520" y="3455"/>
                  </a:lnTo>
                  <a:lnTo>
                    <a:pt x="357246" y="6910"/>
                  </a:lnTo>
                  <a:lnTo>
                    <a:pt x="374520" y="13819"/>
                  </a:lnTo>
                  <a:lnTo>
                    <a:pt x="391794" y="27638"/>
                  </a:lnTo>
                  <a:lnTo>
                    <a:pt x="412523" y="17274"/>
                  </a:lnTo>
                  <a:lnTo>
                    <a:pt x="433251" y="93373"/>
                  </a:lnTo>
                  <a:lnTo>
                    <a:pt x="426342" y="121012"/>
                  </a:lnTo>
                  <a:lnTo>
                    <a:pt x="419432" y="190108"/>
                  </a:lnTo>
                  <a:lnTo>
                    <a:pt x="364156" y="255843"/>
                  </a:lnTo>
                  <a:lnTo>
                    <a:pt x="367610" y="276571"/>
                  </a:lnTo>
                  <a:lnTo>
                    <a:pt x="329701" y="300755"/>
                  </a:lnTo>
                  <a:lnTo>
                    <a:pt x="269288" y="293845"/>
                  </a:lnTo>
                  <a:lnTo>
                    <a:pt x="258924" y="307665"/>
                  </a:lnTo>
                  <a:lnTo>
                    <a:pt x="210556" y="290391"/>
                  </a:lnTo>
                  <a:lnTo>
                    <a:pt x="193283" y="300755"/>
                  </a:lnTo>
                  <a:lnTo>
                    <a:pt x="165644" y="280026"/>
                  </a:lnTo>
                  <a:lnTo>
                    <a:pt x="113915" y="280026"/>
                  </a:lnTo>
                  <a:lnTo>
                    <a:pt x="93186" y="335303"/>
                  </a:lnTo>
                  <a:lnTo>
                    <a:pt x="75912" y="318029"/>
                  </a:lnTo>
                  <a:lnTo>
                    <a:pt x="51729" y="321484"/>
                  </a:lnTo>
                  <a:lnTo>
                    <a:pt x="27545" y="307665"/>
                  </a:lnTo>
                  <a:lnTo>
                    <a:pt x="20729" y="304210"/>
                  </a:lnTo>
                  <a:lnTo>
                    <a:pt x="24090" y="293845"/>
                  </a:lnTo>
                  <a:lnTo>
                    <a:pt x="6910" y="273117"/>
                  </a:lnTo>
                  <a:lnTo>
                    <a:pt x="0" y="259297"/>
                  </a:lnTo>
                  <a:lnTo>
                    <a:pt x="6910" y="245478"/>
                  </a:lnTo>
                  <a:close/>
                </a:path>
              </a:pathLst>
            </a:custGeom>
            <a:solidFill>
              <a:srgbClr val="CEE3BF"/>
            </a:solidFill>
            <a:ln w="9334" cap="flat">
              <a:noFill/>
              <a:prstDash val="solid"/>
              <a:miter/>
            </a:ln>
          </p:spPr>
          <p:txBody>
            <a:bodyPr rtlCol="0" anchor="ctr"/>
            <a:lstStyle/>
            <a:p>
              <a:endParaRPr lang="en-GB" dirty="0"/>
            </a:p>
          </p:txBody>
        </p:sp>
        <p:sp>
          <p:nvSpPr>
            <p:cNvPr id="1026" name="Freeform: Shape 1025">
              <a:extLst>
                <a:ext uri="{FF2B5EF4-FFF2-40B4-BE49-F238E27FC236}">
                  <a16:creationId xmlns:a16="http://schemas.microsoft.com/office/drawing/2014/main" id="{CEEE08A6-8EDD-4614-966B-6584E2F1ABC9}"/>
                </a:ext>
              </a:extLst>
            </p:cNvPr>
            <p:cNvSpPr/>
            <p:nvPr/>
          </p:nvSpPr>
          <p:spPr>
            <a:xfrm>
              <a:off x="6238884" y="4225453"/>
              <a:ext cx="348748" cy="221294"/>
            </a:xfrm>
            <a:custGeom>
              <a:avLst/>
              <a:gdLst>
                <a:gd name="connsiteX0" fmla="*/ 34548 w 348748"/>
                <a:gd name="connsiteY0" fmla="*/ 93373 h 221294"/>
                <a:gd name="connsiteX1" fmla="*/ 113915 w 348748"/>
                <a:gd name="connsiteY1" fmla="*/ 72644 h 221294"/>
                <a:gd name="connsiteX2" fmla="*/ 117370 w 348748"/>
                <a:gd name="connsiteY2" fmla="*/ 51915 h 221294"/>
                <a:gd name="connsiteX3" fmla="*/ 158827 w 348748"/>
                <a:gd name="connsiteY3" fmla="*/ 45006 h 221294"/>
                <a:gd name="connsiteX4" fmla="*/ 200285 w 348748"/>
                <a:gd name="connsiteY4" fmla="*/ 3455 h 221294"/>
                <a:gd name="connsiteX5" fmla="*/ 220921 w 348748"/>
                <a:gd name="connsiteY5" fmla="*/ 0 h 221294"/>
                <a:gd name="connsiteX6" fmla="*/ 241649 w 348748"/>
                <a:gd name="connsiteY6" fmla="*/ 13913 h 221294"/>
                <a:gd name="connsiteX7" fmla="*/ 245105 w 348748"/>
                <a:gd name="connsiteY7" fmla="*/ 38096 h 221294"/>
                <a:gd name="connsiteX8" fmla="*/ 245105 w 348748"/>
                <a:gd name="connsiteY8" fmla="*/ 58825 h 221294"/>
                <a:gd name="connsiteX9" fmla="*/ 310746 w 348748"/>
                <a:gd name="connsiteY9" fmla="*/ 103737 h 221294"/>
                <a:gd name="connsiteX10" fmla="*/ 348749 w 348748"/>
                <a:gd name="connsiteY10" fmla="*/ 159015 h 221294"/>
                <a:gd name="connsiteX11" fmla="*/ 296927 w 348748"/>
                <a:gd name="connsiteY11" fmla="*/ 155560 h 221294"/>
                <a:gd name="connsiteX12" fmla="*/ 238195 w 348748"/>
                <a:gd name="connsiteY12" fmla="*/ 172927 h 221294"/>
                <a:gd name="connsiteX13" fmla="*/ 217466 w 348748"/>
                <a:gd name="connsiteY13" fmla="*/ 186746 h 221294"/>
                <a:gd name="connsiteX14" fmla="*/ 179556 w 348748"/>
                <a:gd name="connsiteY14" fmla="*/ 183292 h 221294"/>
                <a:gd name="connsiteX15" fmla="*/ 158827 w 348748"/>
                <a:gd name="connsiteY15" fmla="*/ 176382 h 221294"/>
                <a:gd name="connsiteX16" fmla="*/ 134644 w 348748"/>
                <a:gd name="connsiteY16" fmla="*/ 152105 h 221294"/>
                <a:gd name="connsiteX17" fmla="*/ 110460 w 348748"/>
                <a:gd name="connsiteY17" fmla="*/ 179837 h 221294"/>
                <a:gd name="connsiteX18" fmla="*/ 107005 w 348748"/>
                <a:gd name="connsiteY18" fmla="*/ 204021 h 221294"/>
                <a:gd name="connsiteX19" fmla="*/ 55277 w 348748"/>
                <a:gd name="connsiteY19" fmla="*/ 200566 h 221294"/>
                <a:gd name="connsiteX20" fmla="*/ 41458 w 348748"/>
                <a:gd name="connsiteY20" fmla="*/ 221295 h 221294"/>
                <a:gd name="connsiteX21" fmla="*/ 17274 w 348748"/>
                <a:gd name="connsiteY21" fmla="*/ 193656 h 221294"/>
                <a:gd name="connsiteX22" fmla="*/ 0 w 348748"/>
                <a:gd name="connsiteY22" fmla="*/ 148650 h 221294"/>
                <a:gd name="connsiteX23" fmla="*/ 0 w 348748"/>
                <a:gd name="connsiteY23" fmla="*/ 121012 h 221294"/>
                <a:gd name="connsiteX24" fmla="*/ 34548 w 348748"/>
                <a:gd name="connsiteY24" fmla="*/ 93373 h 22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8748" h="221294">
                  <a:moveTo>
                    <a:pt x="34548" y="93373"/>
                  </a:moveTo>
                  <a:lnTo>
                    <a:pt x="113915" y="72644"/>
                  </a:lnTo>
                  <a:lnTo>
                    <a:pt x="117370" y="51915"/>
                  </a:lnTo>
                  <a:lnTo>
                    <a:pt x="158827" y="45006"/>
                  </a:lnTo>
                  <a:lnTo>
                    <a:pt x="200285" y="3455"/>
                  </a:lnTo>
                  <a:lnTo>
                    <a:pt x="220921" y="0"/>
                  </a:lnTo>
                  <a:lnTo>
                    <a:pt x="241649" y="13913"/>
                  </a:lnTo>
                  <a:lnTo>
                    <a:pt x="245105" y="38096"/>
                  </a:lnTo>
                  <a:lnTo>
                    <a:pt x="245105" y="58825"/>
                  </a:lnTo>
                  <a:lnTo>
                    <a:pt x="310746" y="103737"/>
                  </a:lnTo>
                  <a:lnTo>
                    <a:pt x="348749" y="159015"/>
                  </a:lnTo>
                  <a:lnTo>
                    <a:pt x="296927" y="155560"/>
                  </a:lnTo>
                  <a:lnTo>
                    <a:pt x="238195" y="172927"/>
                  </a:lnTo>
                  <a:lnTo>
                    <a:pt x="217466" y="186746"/>
                  </a:lnTo>
                  <a:lnTo>
                    <a:pt x="179556" y="183292"/>
                  </a:lnTo>
                  <a:lnTo>
                    <a:pt x="158827" y="176382"/>
                  </a:lnTo>
                  <a:lnTo>
                    <a:pt x="134644" y="152105"/>
                  </a:lnTo>
                  <a:lnTo>
                    <a:pt x="110460" y="179837"/>
                  </a:lnTo>
                  <a:lnTo>
                    <a:pt x="107005" y="204021"/>
                  </a:lnTo>
                  <a:lnTo>
                    <a:pt x="55277" y="200566"/>
                  </a:lnTo>
                  <a:lnTo>
                    <a:pt x="41458" y="221295"/>
                  </a:lnTo>
                  <a:lnTo>
                    <a:pt x="17274" y="193656"/>
                  </a:lnTo>
                  <a:lnTo>
                    <a:pt x="0" y="148650"/>
                  </a:lnTo>
                  <a:lnTo>
                    <a:pt x="0" y="121012"/>
                  </a:lnTo>
                  <a:lnTo>
                    <a:pt x="34548" y="93373"/>
                  </a:lnTo>
                  <a:close/>
                </a:path>
              </a:pathLst>
            </a:custGeom>
            <a:solidFill>
              <a:srgbClr val="CEE3BF"/>
            </a:solidFill>
            <a:ln w="9334" cap="flat">
              <a:noFill/>
              <a:prstDash val="solid"/>
              <a:miter/>
            </a:ln>
          </p:spPr>
          <p:txBody>
            <a:bodyPr rtlCol="0" anchor="ctr"/>
            <a:lstStyle/>
            <a:p>
              <a:endParaRPr lang="en-GB" dirty="0"/>
            </a:p>
          </p:txBody>
        </p:sp>
        <p:sp>
          <p:nvSpPr>
            <p:cNvPr id="1027" name="Freeform: Shape 1026">
              <a:extLst>
                <a:ext uri="{FF2B5EF4-FFF2-40B4-BE49-F238E27FC236}">
                  <a16:creationId xmlns:a16="http://schemas.microsoft.com/office/drawing/2014/main" id="{3B260842-A5DF-4C1B-AF6E-60AAE08AA9AF}"/>
                </a:ext>
              </a:extLst>
            </p:cNvPr>
            <p:cNvSpPr/>
            <p:nvPr/>
          </p:nvSpPr>
          <p:spPr>
            <a:xfrm>
              <a:off x="6439169" y="3886695"/>
              <a:ext cx="455661" cy="532413"/>
            </a:xfrm>
            <a:custGeom>
              <a:avLst/>
              <a:gdLst>
                <a:gd name="connsiteX0" fmla="*/ 324472 w 455661"/>
                <a:gd name="connsiteY0" fmla="*/ 34641 h 532413"/>
                <a:gd name="connsiteX1" fmla="*/ 359020 w 455661"/>
                <a:gd name="connsiteY1" fmla="*/ 0 h 532413"/>
                <a:gd name="connsiteX2" fmla="*/ 372839 w 455661"/>
                <a:gd name="connsiteY2" fmla="*/ 0 h 532413"/>
                <a:gd name="connsiteX3" fmla="*/ 410842 w 455661"/>
                <a:gd name="connsiteY3" fmla="*/ 31187 h 532413"/>
                <a:gd name="connsiteX4" fmla="*/ 417752 w 455661"/>
                <a:gd name="connsiteY4" fmla="*/ 55370 h 532413"/>
                <a:gd name="connsiteX5" fmla="*/ 414297 w 455661"/>
                <a:gd name="connsiteY5" fmla="*/ 103737 h 532413"/>
                <a:gd name="connsiteX6" fmla="*/ 455662 w 455661"/>
                <a:gd name="connsiteY6" fmla="*/ 148650 h 532413"/>
                <a:gd name="connsiteX7" fmla="*/ 407387 w 455661"/>
                <a:gd name="connsiteY7" fmla="*/ 169379 h 532413"/>
                <a:gd name="connsiteX8" fmla="*/ 397023 w 455661"/>
                <a:gd name="connsiteY8" fmla="*/ 221295 h 532413"/>
                <a:gd name="connsiteX9" fmla="*/ 397023 w 455661"/>
                <a:gd name="connsiteY9" fmla="*/ 245478 h 532413"/>
                <a:gd name="connsiteX10" fmla="*/ 355565 w 455661"/>
                <a:gd name="connsiteY10" fmla="*/ 311120 h 532413"/>
                <a:gd name="connsiteX11" fmla="*/ 355565 w 455661"/>
                <a:gd name="connsiteY11" fmla="*/ 338758 h 532413"/>
                <a:gd name="connsiteX12" fmla="*/ 334837 w 455661"/>
                <a:gd name="connsiteY12" fmla="*/ 342213 h 532413"/>
                <a:gd name="connsiteX13" fmla="*/ 334837 w 455661"/>
                <a:gd name="connsiteY13" fmla="*/ 404493 h 532413"/>
                <a:gd name="connsiteX14" fmla="*/ 300289 w 455661"/>
                <a:gd name="connsiteY14" fmla="*/ 404493 h 532413"/>
                <a:gd name="connsiteX15" fmla="*/ 307198 w 455661"/>
                <a:gd name="connsiteY15" fmla="*/ 428676 h 532413"/>
                <a:gd name="connsiteX16" fmla="*/ 324472 w 455661"/>
                <a:gd name="connsiteY16" fmla="*/ 432131 h 532413"/>
                <a:gd name="connsiteX17" fmla="*/ 365930 w 455661"/>
                <a:gd name="connsiteY17" fmla="*/ 487408 h 532413"/>
                <a:gd name="connsiteX18" fmla="*/ 376294 w 455661"/>
                <a:gd name="connsiteY18" fmla="*/ 487408 h 532413"/>
                <a:gd name="connsiteX19" fmla="*/ 376294 w 455661"/>
                <a:gd name="connsiteY19" fmla="*/ 511685 h 532413"/>
                <a:gd name="connsiteX20" fmla="*/ 341746 w 455661"/>
                <a:gd name="connsiteY20" fmla="*/ 511685 h 532413"/>
                <a:gd name="connsiteX21" fmla="*/ 327927 w 455661"/>
                <a:gd name="connsiteY21" fmla="*/ 525504 h 532413"/>
                <a:gd name="connsiteX22" fmla="*/ 238195 w 455661"/>
                <a:gd name="connsiteY22" fmla="*/ 532414 h 532413"/>
                <a:gd name="connsiteX23" fmla="*/ 210557 w 455661"/>
                <a:gd name="connsiteY23" fmla="*/ 511685 h 532413"/>
                <a:gd name="connsiteX24" fmla="*/ 162283 w 455661"/>
                <a:gd name="connsiteY24" fmla="*/ 515140 h 532413"/>
                <a:gd name="connsiteX25" fmla="*/ 148464 w 455661"/>
                <a:gd name="connsiteY25" fmla="*/ 497773 h 532413"/>
                <a:gd name="connsiteX26" fmla="*/ 110461 w 455661"/>
                <a:gd name="connsiteY26" fmla="*/ 442495 h 532413"/>
                <a:gd name="connsiteX27" fmla="*/ 44820 w 455661"/>
                <a:gd name="connsiteY27" fmla="*/ 397583 h 532413"/>
                <a:gd name="connsiteX28" fmla="*/ 41364 w 455661"/>
                <a:gd name="connsiteY28" fmla="*/ 352670 h 532413"/>
                <a:gd name="connsiteX29" fmla="*/ 20636 w 455661"/>
                <a:gd name="connsiteY29" fmla="*/ 338758 h 532413"/>
                <a:gd name="connsiteX30" fmla="*/ 13820 w 455661"/>
                <a:gd name="connsiteY30" fmla="*/ 293845 h 532413"/>
                <a:gd name="connsiteX31" fmla="*/ 0 w 455661"/>
                <a:gd name="connsiteY31" fmla="*/ 280026 h 532413"/>
                <a:gd name="connsiteX32" fmla="*/ 27545 w 455661"/>
                <a:gd name="connsiteY32" fmla="*/ 210930 h 532413"/>
                <a:gd name="connsiteX33" fmla="*/ 51729 w 455661"/>
                <a:gd name="connsiteY33" fmla="*/ 207475 h 532413"/>
                <a:gd name="connsiteX34" fmla="*/ 55184 w 455661"/>
                <a:gd name="connsiteY34" fmla="*/ 79554 h 532413"/>
                <a:gd name="connsiteX35" fmla="*/ 86277 w 455661"/>
                <a:gd name="connsiteY35" fmla="*/ 79554 h 532413"/>
                <a:gd name="connsiteX36" fmla="*/ 86277 w 455661"/>
                <a:gd name="connsiteY36" fmla="*/ 20822 h 532413"/>
                <a:gd name="connsiteX37" fmla="*/ 307198 w 455661"/>
                <a:gd name="connsiteY37" fmla="*/ 24277 h 532413"/>
                <a:gd name="connsiteX38" fmla="*/ 324472 w 455661"/>
                <a:gd name="connsiteY38" fmla="*/ 34641 h 53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55661" h="532413">
                  <a:moveTo>
                    <a:pt x="324472" y="34641"/>
                  </a:moveTo>
                  <a:lnTo>
                    <a:pt x="359020" y="0"/>
                  </a:lnTo>
                  <a:lnTo>
                    <a:pt x="372839" y="0"/>
                  </a:lnTo>
                  <a:lnTo>
                    <a:pt x="410842" y="31187"/>
                  </a:lnTo>
                  <a:lnTo>
                    <a:pt x="417752" y="55370"/>
                  </a:lnTo>
                  <a:lnTo>
                    <a:pt x="414297" y="103737"/>
                  </a:lnTo>
                  <a:lnTo>
                    <a:pt x="455662" y="148650"/>
                  </a:lnTo>
                  <a:lnTo>
                    <a:pt x="407387" y="169379"/>
                  </a:lnTo>
                  <a:lnTo>
                    <a:pt x="397023" y="221295"/>
                  </a:lnTo>
                  <a:lnTo>
                    <a:pt x="397023" y="245478"/>
                  </a:lnTo>
                  <a:lnTo>
                    <a:pt x="355565" y="311120"/>
                  </a:lnTo>
                  <a:lnTo>
                    <a:pt x="355565" y="338758"/>
                  </a:lnTo>
                  <a:lnTo>
                    <a:pt x="334837" y="342213"/>
                  </a:lnTo>
                  <a:lnTo>
                    <a:pt x="334837" y="404493"/>
                  </a:lnTo>
                  <a:lnTo>
                    <a:pt x="300289" y="404493"/>
                  </a:lnTo>
                  <a:lnTo>
                    <a:pt x="307198" y="428676"/>
                  </a:lnTo>
                  <a:lnTo>
                    <a:pt x="324472" y="432131"/>
                  </a:lnTo>
                  <a:lnTo>
                    <a:pt x="365930" y="487408"/>
                  </a:lnTo>
                  <a:lnTo>
                    <a:pt x="376294" y="487408"/>
                  </a:lnTo>
                  <a:lnTo>
                    <a:pt x="376294" y="511685"/>
                  </a:lnTo>
                  <a:lnTo>
                    <a:pt x="341746" y="511685"/>
                  </a:lnTo>
                  <a:lnTo>
                    <a:pt x="327927" y="525504"/>
                  </a:lnTo>
                  <a:lnTo>
                    <a:pt x="238195" y="532414"/>
                  </a:lnTo>
                  <a:lnTo>
                    <a:pt x="210557" y="511685"/>
                  </a:lnTo>
                  <a:lnTo>
                    <a:pt x="162283" y="515140"/>
                  </a:lnTo>
                  <a:lnTo>
                    <a:pt x="148464" y="497773"/>
                  </a:lnTo>
                  <a:lnTo>
                    <a:pt x="110461" y="442495"/>
                  </a:lnTo>
                  <a:lnTo>
                    <a:pt x="44820" y="397583"/>
                  </a:lnTo>
                  <a:lnTo>
                    <a:pt x="41364" y="352670"/>
                  </a:lnTo>
                  <a:lnTo>
                    <a:pt x="20636" y="338758"/>
                  </a:lnTo>
                  <a:lnTo>
                    <a:pt x="13820" y="293845"/>
                  </a:lnTo>
                  <a:lnTo>
                    <a:pt x="0" y="280026"/>
                  </a:lnTo>
                  <a:lnTo>
                    <a:pt x="27545" y="210930"/>
                  </a:lnTo>
                  <a:lnTo>
                    <a:pt x="51729" y="207475"/>
                  </a:lnTo>
                  <a:lnTo>
                    <a:pt x="55184" y="79554"/>
                  </a:lnTo>
                  <a:lnTo>
                    <a:pt x="86277" y="79554"/>
                  </a:lnTo>
                  <a:lnTo>
                    <a:pt x="86277" y="20822"/>
                  </a:lnTo>
                  <a:lnTo>
                    <a:pt x="307198" y="24277"/>
                  </a:lnTo>
                  <a:lnTo>
                    <a:pt x="324472" y="34641"/>
                  </a:lnTo>
                  <a:close/>
                </a:path>
              </a:pathLst>
            </a:custGeom>
            <a:solidFill>
              <a:srgbClr val="CEE3BF"/>
            </a:solidFill>
            <a:ln w="9334" cap="flat">
              <a:noFill/>
              <a:prstDash val="solid"/>
              <a:miter/>
            </a:ln>
          </p:spPr>
          <p:txBody>
            <a:bodyPr rtlCol="0" anchor="ctr"/>
            <a:lstStyle/>
            <a:p>
              <a:endParaRPr lang="en-GB" dirty="0"/>
            </a:p>
          </p:txBody>
        </p:sp>
        <p:sp>
          <p:nvSpPr>
            <p:cNvPr id="1028" name="Freeform: Shape 1027">
              <a:extLst>
                <a:ext uri="{FF2B5EF4-FFF2-40B4-BE49-F238E27FC236}">
                  <a16:creationId xmlns:a16="http://schemas.microsoft.com/office/drawing/2014/main" id="{19891A0C-3E33-404B-BEC2-2B71831EBD3B}"/>
                </a:ext>
              </a:extLst>
            </p:cNvPr>
            <p:cNvSpPr/>
            <p:nvPr/>
          </p:nvSpPr>
          <p:spPr>
            <a:xfrm>
              <a:off x="6836192" y="4035345"/>
              <a:ext cx="172553" cy="148650"/>
            </a:xfrm>
            <a:custGeom>
              <a:avLst/>
              <a:gdLst>
                <a:gd name="connsiteX0" fmla="*/ 58639 w 172553"/>
                <a:gd name="connsiteY0" fmla="*/ 0 h 148650"/>
                <a:gd name="connsiteX1" fmla="*/ 72458 w 172553"/>
                <a:gd name="connsiteY1" fmla="*/ 20729 h 148650"/>
                <a:gd name="connsiteX2" fmla="*/ 82822 w 172553"/>
                <a:gd name="connsiteY2" fmla="*/ 45006 h 148650"/>
                <a:gd name="connsiteX3" fmla="*/ 86277 w 172553"/>
                <a:gd name="connsiteY3" fmla="*/ 76099 h 148650"/>
                <a:gd name="connsiteX4" fmla="*/ 110461 w 172553"/>
                <a:gd name="connsiteY4" fmla="*/ 76099 h 148650"/>
                <a:gd name="connsiteX5" fmla="*/ 172554 w 172553"/>
                <a:gd name="connsiteY5" fmla="*/ 131376 h 148650"/>
                <a:gd name="connsiteX6" fmla="*/ 162189 w 172553"/>
                <a:gd name="connsiteY6" fmla="*/ 148650 h 148650"/>
                <a:gd name="connsiteX7" fmla="*/ 131189 w 172553"/>
                <a:gd name="connsiteY7" fmla="*/ 117557 h 148650"/>
                <a:gd name="connsiteX8" fmla="*/ 100096 w 172553"/>
                <a:gd name="connsiteY8" fmla="*/ 89918 h 148650"/>
                <a:gd name="connsiteX9" fmla="*/ 41364 w 172553"/>
                <a:gd name="connsiteY9" fmla="*/ 86464 h 148650"/>
                <a:gd name="connsiteX10" fmla="*/ 37909 w 172553"/>
                <a:gd name="connsiteY10" fmla="*/ 96828 h 148650"/>
                <a:gd name="connsiteX11" fmla="*/ 0 w 172553"/>
                <a:gd name="connsiteY11" fmla="*/ 96828 h 148650"/>
                <a:gd name="connsiteX12" fmla="*/ 0 w 172553"/>
                <a:gd name="connsiteY12" fmla="*/ 72645 h 148650"/>
                <a:gd name="connsiteX13" fmla="*/ 6910 w 172553"/>
                <a:gd name="connsiteY13" fmla="*/ 48461 h 148650"/>
                <a:gd name="connsiteX14" fmla="*/ 10364 w 172553"/>
                <a:gd name="connsiteY14" fmla="*/ 20729 h 148650"/>
                <a:gd name="connsiteX15" fmla="*/ 58639 w 172553"/>
                <a:gd name="connsiteY15" fmla="*/ 0 h 14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553" h="148650">
                  <a:moveTo>
                    <a:pt x="58639" y="0"/>
                  </a:moveTo>
                  <a:lnTo>
                    <a:pt x="72458" y="20729"/>
                  </a:lnTo>
                  <a:lnTo>
                    <a:pt x="82822" y="45006"/>
                  </a:lnTo>
                  <a:lnTo>
                    <a:pt x="86277" y="76099"/>
                  </a:lnTo>
                  <a:lnTo>
                    <a:pt x="110461" y="76099"/>
                  </a:lnTo>
                  <a:lnTo>
                    <a:pt x="172554" y="131376"/>
                  </a:lnTo>
                  <a:lnTo>
                    <a:pt x="162189" y="148650"/>
                  </a:lnTo>
                  <a:lnTo>
                    <a:pt x="131189" y="117557"/>
                  </a:lnTo>
                  <a:lnTo>
                    <a:pt x="100096" y="89918"/>
                  </a:lnTo>
                  <a:lnTo>
                    <a:pt x="41364" y="86464"/>
                  </a:lnTo>
                  <a:lnTo>
                    <a:pt x="37909" y="96828"/>
                  </a:lnTo>
                  <a:lnTo>
                    <a:pt x="0" y="96828"/>
                  </a:lnTo>
                  <a:lnTo>
                    <a:pt x="0" y="72645"/>
                  </a:lnTo>
                  <a:lnTo>
                    <a:pt x="6910" y="48461"/>
                  </a:lnTo>
                  <a:lnTo>
                    <a:pt x="10364" y="20729"/>
                  </a:lnTo>
                  <a:lnTo>
                    <a:pt x="58639" y="0"/>
                  </a:lnTo>
                  <a:close/>
                </a:path>
              </a:pathLst>
            </a:custGeom>
            <a:solidFill>
              <a:srgbClr val="CEE3BF"/>
            </a:solidFill>
            <a:ln w="9334" cap="flat">
              <a:noFill/>
              <a:prstDash val="solid"/>
              <a:miter/>
            </a:ln>
          </p:spPr>
          <p:txBody>
            <a:bodyPr rtlCol="0" anchor="ctr"/>
            <a:lstStyle/>
            <a:p>
              <a:endParaRPr lang="en-GB" dirty="0"/>
            </a:p>
          </p:txBody>
        </p:sp>
        <p:sp>
          <p:nvSpPr>
            <p:cNvPr id="1029" name="Freeform: Shape 1028">
              <a:extLst>
                <a:ext uri="{FF2B5EF4-FFF2-40B4-BE49-F238E27FC236}">
                  <a16:creationId xmlns:a16="http://schemas.microsoft.com/office/drawing/2014/main" id="{CE56FBC9-9D29-41C7-9689-39514BFDAB3F}"/>
                </a:ext>
              </a:extLst>
            </p:cNvPr>
            <p:cNvSpPr/>
            <p:nvPr/>
          </p:nvSpPr>
          <p:spPr>
            <a:xfrm>
              <a:off x="6836192" y="4035345"/>
              <a:ext cx="172553" cy="148650"/>
            </a:xfrm>
            <a:custGeom>
              <a:avLst/>
              <a:gdLst>
                <a:gd name="connsiteX0" fmla="*/ 58639 w 172553"/>
                <a:gd name="connsiteY0" fmla="*/ 0 h 148650"/>
                <a:gd name="connsiteX1" fmla="*/ 72458 w 172553"/>
                <a:gd name="connsiteY1" fmla="*/ 20729 h 148650"/>
                <a:gd name="connsiteX2" fmla="*/ 82822 w 172553"/>
                <a:gd name="connsiteY2" fmla="*/ 45006 h 148650"/>
                <a:gd name="connsiteX3" fmla="*/ 86277 w 172553"/>
                <a:gd name="connsiteY3" fmla="*/ 76099 h 148650"/>
                <a:gd name="connsiteX4" fmla="*/ 110461 w 172553"/>
                <a:gd name="connsiteY4" fmla="*/ 76099 h 148650"/>
                <a:gd name="connsiteX5" fmla="*/ 172554 w 172553"/>
                <a:gd name="connsiteY5" fmla="*/ 131376 h 148650"/>
                <a:gd name="connsiteX6" fmla="*/ 162189 w 172553"/>
                <a:gd name="connsiteY6" fmla="*/ 148650 h 148650"/>
                <a:gd name="connsiteX7" fmla="*/ 131189 w 172553"/>
                <a:gd name="connsiteY7" fmla="*/ 117557 h 148650"/>
                <a:gd name="connsiteX8" fmla="*/ 100096 w 172553"/>
                <a:gd name="connsiteY8" fmla="*/ 89918 h 148650"/>
                <a:gd name="connsiteX9" fmla="*/ 41364 w 172553"/>
                <a:gd name="connsiteY9" fmla="*/ 86464 h 148650"/>
                <a:gd name="connsiteX10" fmla="*/ 37909 w 172553"/>
                <a:gd name="connsiteY10" fmla="*/ 96828 h 148650"/>
                <a:gd name="connsiteX11" fmla="*/ 0 w 172553"/>
                <a:gd name="connsiteY11" fmla="*/ 96828 h 148650"/>
                <a:gd name="connsiteX12" fmla="*/ 0 w 172553"/>
                <a:gd name="connsiteY12" fmla="*/ 72645 h 148650"/>
                <a:gd name="connsiteX13" fmla="*/ 6910 w 172553"/>
                <a:gd name="connsiteY13" fmla="*/ 48461 h 148650"/>
                <a:gd name="connsiteX14" fmla="*/ 10364 w 172553"/>
                <a:gd name="connsiteY14" fmla="*/ 20729 h 148650"/>
                <a:gd name="connsiteX15" fmla="*/ 58639 w 172553"/>
                <a:gd name="connsiteY15" fmla="*/ 0 h 14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553" h="148650">
                  <a:moveTo>
                    <a:pt x="58639" y="0"/>
                  </a:moveTo>
                  <a:lnTo>
                    <a:pt x="72458" y="20729"/>
                  </a:lnTo>
                  <a:lnTo>
                    <a:pt x="82822" y="45006"/>
                  </a:lnTo>
                  <a:lnTo>
                    <a:pt x="86277" y="76099"/>
                  </a:lnTo>
                  <a:lnTo>
                    <a:pt x="110461" y="76099"/>
                  </a:lnTo>
                  <a:lnTo>
                    <a:pt x="172554" y="131376"/>
                  </a:lnTo>
                  <a:lnTo>
                    <a:pt x="162189" y="148650"/>
                  </a:lnTo>
                  <a:lnTo>
                    <a:pt x="131189" y="117557"/>
                  </a:lnTo>
                  <a:lnTo>
                    <a:pt x="100096" y="89918"/>
                  </a:lnTo>
                  <a:lnTo>
                    <a:pt x="41364" y="86464"/>
                  </a:lnTo>
                  <a:lnTo>
                    <a:pt x="37909" y="96828"/>
                  </a:lnTo>
                  <a:lnTo>
                    <a:pt x="0" y="96828"/>
                  </a:lnTo>
                  <a:lnTo>
                    <a:pt x="0" y="72645"/>
                  </a:lnTo>
                  <a:lnTo>
                    <a:pt x="6910" y="48461"/>
                  </a:lnTo>
                  <a:lnTo>
                    <a:pt x="10364" y="20729"/>
                  </a:lnTo>
                  <a:lnTo>
                    <a:pt x="58639" y="0"/>
                  </a:lnTo>
                  <a:close/>
                </a:path>
              </a:pathLst>
            </a:custGeom>
            <a:solidFill>
              <a:srgbClr val="CEE3BF"/>
            </a:solidFill>
            <a:ln w="9334" cap="flat">
              <a:noFill/>
              <a:prstDash val="solid"/>
              <a:miter/>
            </a:ln>
          </p:spPr>
          <p:txBody>
            <a:bodyPr rtlCol="0" anchor="ctr"/>
            <a:lstStyle/>
            <a:p>
              <a:endParaRPr lang="en-GB" dirty="0"/>
            </a:p>
          </p:txBody>
        </p:sp>
        <p:sp>
          <p:nvSpPr>
            <p:cNvPr id="1030" name="Freeform: Shape 1029">
              <a:extLst>
                <a:ext uri="{FF2B5EF4-FFF2-40B4-BE49-F238E27FC236}">
                  <a16:creationId xmlns:a16="http://schemas.microsoft.com/office/drawing/2014/main" id="{A4BB14CB-8754-4D72-8264-21769B6CD6FB}"/>
                </a:ext>
              </a:extLst>
            </p:cNvPr>
            <p:cNvSpPr/>
            <p:nvPr/>
          </p:nvSpPr>
          <p:spPr>
            <a:xfrm>
              <a:off x="6984656" y="4166721"/>
              <a:ext cx="37909" cy="58731"/>
            </a:xfrm>
            <a:custGeom>
              <a:avLst/>
              <a:gdLst>
                <a:gd name="connsiteX0" fmla="*/ 37909 w 37909"/>
                <a:gd name="connsiteY0" fmla="*/ 27639 h 58731"/>
                <a:gd name="connsiteX1" fmla="*/ 24090 w 37909"/>
                <a:gd name="connsiteY1" fmla="*/ 38003 h 58731"/>
                <a:gd name="connsiteX2" fmla="*/ 27545 w 37909"/>
                <a:gd name="connsiteY2" fmla="*/ 58732 h 58731"/>
                <a:gd name="connsiteX3" fmla="*/ 0 w 37909"/>
                <a:gd name="connsiteY3" fmla="*/ 55277 h 58731"/>
                <a:gd name="connsiteX4" fmla="*/ 0 w 37909"/>
                <a:gd name="connsiteY4" fmla="*/ 34548 h 58731"/>
                <a:gd name="connsiteX5" fmla="*/ 13726 w 37909"/>
                <a:gd name="connsiteY5" fmla="*/ 17274 h 58731"/>
                <a:gd name="connsiteX6" fmla="*/ 24090 w 37909"/>
                <a:gd name="connsiteY6" fmla="*/ 0 h 58731"/>
                <a:gd name="connsiteX7" fmla="*/ 37909 w 37909"/>
                <a:gd name="connsiteY7" fmla="*/ 27639 h 5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09" h="58731">
                  <a:moveTo>
                    <a:pt x="37909" y="27639"/>
                  </a:moveTo>
                  <a:lnTo>
                    <a:pt x="24090" y="38003"/>
                  </a:lnTo>
                  <a:lnTo>
                    <a:pt x="27545" y="58732"/>
                  </a:lnTo>
                  <a:lnTo>
                    <a:pt x="0" y="55277"/>
                  </a:lnTo>
                  <a:lnTo>
                    <a:pt x="0" y="34548"/>
                  </a:lnTo>
                  <a:lnTo>
                    <a:pt x="13726" y="17274"/>
                  </a:lnTo>
                  <a:lnTo>
                    <a:pt x="24090" y="0"/>
                  </a:lnTo>
                  <a:lnTo>
                    <a:pt x="37909" y="27639"/>
                  </a:lnTo>
                  <a:close/>
                </a:path>
              </a:pathLst>
            </a:custGeom>
            <a:solidFill>
              <a:srgbClr val="CEE3BF"/>
            </a:solidFill>
            <a:ln w="9334" cap="flat">
              <a:noFill/>
              <a:prstDash val="solid"/>
              <a:miter/>
            </a:ln>
          </p:spPr>
          <p:txBody>
            <a:bodyPr rtlCol="0" anchor="ctr"/>
            <a:lstStyle/>
            <a:p>
              <a:endParaRPr lang="en-GB" dirty="0"/>
            </a:p>
          </p:txBody>
        </p:sp>
        <p:sp>
          <p:nvSpPr>
            <p:cNvPr id="1031" name="Freeform: Shape 1030">
              <a:extLst>
                <a:ext uri="{FF2B5EF4-FFF2-40B4-BE49-F238E27FC236}">
                  <a16:creationId xmlns:a16="http://schemas.microsoft.com/office/drawing/2014/main" id="{3B1A03BF-5ADE-4382-81F5-69241BBAFF39}"/>
                </a:ext>
              </a:extLst>
            </p:cNvPr>
            <p:cNvSpPr/>
            <p:nvPr/>
          </p:nvSpPr>
          <p:spPr>
            <a:xfrm>
              <a:off x="6984656" y="4166721"/>
              <a:ext cx="37909" cy="58731"/>
            </a:xfrm>
            <a:custGeom>
              <a:avLst/>
              <a:gdLst>
                <a:gd name="connsiteX0" fmla="*/ 37909 w 37909"/>
                <a:gd name="connsiteY0" fmla="*/ 27639 h 58731"/>
                <a:gd name="connsiteX1" fmla="*/ 24090 w 37909"/>
                <a:gd name="connsiteY1" fmla="*/ 38003 h 58731"/>
                <a:gd name="connsiteX2" fmla="*/ 27545 w 37909"/>
                <a:gd name="connsiteY2" fmla="*/ 58732 h 58731"/>
                <a:gd name="connsiteX3" fmla="*/ 0 w 37909"/>
                <a:gd name="connsiteY3" fmla="*/ 55277 h 58731"/>
                <a:gd name="connsiteX4" fmla="*/ 0 w 37909"/>
                <a:gd name="connsiteY4" fmla="*/ 34548 h 58731"/>
                <a:gd name="connsiteX5" fmla="*/ 13726 w 37909"/>
                <a:gd name="connsiteY5" fmla="*/ 17274 h 58731"/>
                <a:gd name="connsiteX6" fmla="*/ 24090 w 37909"/>
                <a:gd name="connsiteY6" fmla="*/ 0 h 58731"/>
                <a:gd name="connsiteX7" fmla="*/ 37909 w 37909"/>
                <a:gd name="connsiteY7" fmla="*/ 27639 h 5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09" h="58731">
                  <a:moveTo>
                    <a:pt x="37909" y="27639"/>
                  </a:moveTo>
                  <a:lnTo>
                    <a:pt x="24090" y="38003"/>
                  </a:lnTo>
                  <a:lnTo>
                    <a:pt x="27545" y="58732"/>
                  </a:lnTo>
                  <a:lnTo>
                    <a:pt x="0" y="55277"/>
                  </a:lnTo>
                  <a:lnTo>
                    <a:pt x="0" y="34548"/>
                  </a:lnTo>
                  <a:lnTo>
                    <a:pt x="13726" y="17274"/>
                  </a:lnTo>
                  <a:lnTo>
                    <a:pt x="24090" y="0"/>
                  </a:lnTo>
                  <a:lnTo>
                    <a:pt x="37909" y="27639"/>
                  </a:lnTo>
                  <a:close/>
                </a:path>
              </a:pathLst>
            </a:custGeom>
            <a:solidFill>
              <a:srgbClr val="CEE3BF"/>
            </a:solidFill>
            <a:ln w="9334" cap="flat">
              <a:noFill/>
              <a:prstDash val="solid"/>
              <a:miter/>
            </a:ln>
          </p:spPr>
          <p:txBody>
            <a:bodyPr rtlCol="0" anchor="ctr"/>
            <a:lstStyle/>
            <a:p>
              <a:endParaRPr lang="en-GB" dirty="0"/>
            </a:p>
          </p:txBody>
        </p:sp>
        <p:sp>
          <p:nvSpPr>
            <p:cNvPr id="1032" name="Freeform: Shape 1031">
              <a:extLst>
                <a:ext uri="{FF2B5EF4-FFF2-40B4-BE49-F238E27FC236}">
                  <a16:creationId xmlns:a16="http://schemas.microsoft.com/office/drawing/2014/main" id="{87846E24-FBFA-475F-817A-1004367E59DD}"/>
                </a:ext>
              </a:extLst>
            </p:cNvPr>
            <p:cNvSpPr/>
            <p:nvPr/>
          </p:nvSpPr>
          <p:spPr>
            <a:xfrm>
              <a:off x="6957017" y="4197814"/>
              <a:ext cx="286562" cy="373399"/>
            </a:xfrm>
            <a:custGeom>
              <a:avLst/>
              <a:gdLst>
                <a:gd name="connsiteX0" fmla="*/ 103551 w 286562"/>
                <a:gd name="connsiteY0" fmla="*/ 45006 h 373399"/>
                <a:gd name="connsiteX1" fmla="*/ 134644 w 286562"/>
                <a:gd name="connsiteY1" fmla="*/ 31093 h 373399"/>
                <a:gd name="connsiteX2" fmla="*/ 252014 w 286562"/>
                <a:gd name="connsiteY2" fmla="*/ 13819 h 373399"/>
                <a:gd name="connsiteX3" fmla="*/ 283108 w 286562"/>
                <a:gd name="connsiteY3" fmla="*/ 0 h 373399"/>
                <a:gd name="connsiteX4" fmla="*/ 286562 w 286562"/>
                <a:gd name="connsiteY4" fmla="*/ 38096 h 373399"/>
                <a:gd name="connsiteX5" fmla="*/ 272743 w 286562"/>
                <a:gd name="connsiteY5" fmla="*/ 51915 h 373399"/>
                <a:gd name="connsiteX6" fmla="*/ 227831 w 286562"/>
                <a:gd name="connsiteY6" fmla="*/ 138286 h 373399"/>
                <a:gd name="connsiteX7" fmla="*/ 138099 w 286562"/>
                <a:gd name="connsiteY7" fmla="*/ 262752 h 373399"/>
                <a:gd name="connsiteX8" fmla="*/ 20729 w 286562"/>
                <a:gd name="connsiteY8" fmla="*/ 373399 h 373399"/>
                <a:gd name="connsiteX9" fmla="*/ 3455 w 286562"/>
                <a:gd name="connsiteY9" fmla="*/ 349216 h 373399"/>
                <a:gd name="connsiteX10" fmla="*/ 0 w 286562"/>
                <a:gd name="connsiteY10" fmla="*/ 252388 h 373399"/>
                <a:gd name="connsiteX11" fmla="*/ 27639 w 286562"/>
                <a:gd name="connsiteY11" fmla="*/ 235114 h 373399"/>
                <a:gd name="connsiteX12" fmla="*/ 27639 w 286562"/>
                <a:gd name="connsiteY12" fmla="*/ 217840 h 373399"/>
                <a:gd name="connsiteX13" fmla="*/ 69003 w 286562"/>
                <a:gd name="connsiteY13" fmla="*/ 193656 h 373399"/>
                <a:gd name="connsiteX14" fmla="*/ 113915 w 286562"/>
                <a:gd name="connsiteY14" fmla="*/ 186653 h 373399"/>
                <a:gd name="connsiteX15" fmla="*/ 186373 w 286562"/>
                <a:gd name="connsiteY15" fmla="*/ 107192 h 373399"/>
                <a:gd name="connsiteX16" fmla="*/ 89732 w 286562"/>
                <a:gd name="connsiteY16" fmla="*/ 83009 h 373399"/>
                <a:gd name="connsiteX17" fmla="*/ 55183 w 286562"/>
                <a:gd name="connsiteY17" fmla="*/ 45006 h 373399"/>
                <a:gd name="connsiteX18" fmla="*/ 55183 w 286562"/>
                <a:gd name="connsiteY18" fmla="*/ 27638 h 373399"/>
                <a:gd name="connsiteX19" fmla="*/ 69003 w 286562"/>
                <a:gd name="connsiteY19" fmla="*/ 13819 h 373399"/>
                <a:gd name="connsiteX20" fmla="*/ 103551 w 286562"/>
                <a:gd name="connsiteY20" fmla="*/ 45006 h 37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6562" h="373399">
                  <a:moveTo>
                    <a:pt x="103551" y="45006"/>
                  </a:moveTo>
                  <a:lnTo>
                    <a:pt x="134644" y="31093"/>
                  </a:lnTo>
                  <a:lnTo>
                    <a:pt x="252014" y="13819"/>
                  </a:lnTo>
                  <a:lnTo>
                    <a:pt x="283108" y="0"/>
                  </a:lnTo>
                  <a:lnTo>
                    <a:pt x="286562" y="38096"/>
                  </a:lnTo>
                  <a:lnTo>
                    <a:pt x="272743" y="51915"/>
                  </a:lnTo>
                  <a:lnTo>
                    <a:pt x="227831" y="138286"/>
                  </a:lnTo>
                  <a:lnTo>
                    <a:pt x="138099" y="262752"/>
                  </a:lnTo>
                  <a:lnTo>
                    <a:pt x="20729" y="373399"/>
                  </a:lnTo>
                  <a:lnTo>
                    <a:pt x="3455" y="349216"/>
                  </a:lnTo>
                  <a:lnTo>
                    <a:pt x="0" y="252388"/>
                  </a:lnTo>
                  <a:lnTo>
                    <a:pt x="27639" y="235114"/>
                  </a:lnTo>
                  <a:lnTo>
                    <a:pt x="27639" y="217840"/>
                  </a:lnTo>
                  <a:lnTo>
                    <a:pt x="69003" y="193656"/>
                  </a:lnTo>
                  <a:lnTo>
                    <a:pt x="113915" y="186653"/>
                  </a:lnTo>
                  <a:lnTo>
                    <a:pt x="186373" y="107192"/>
                  </a:lnTo>
                  <a:lnTo>
                    <a:pt x="89732" y="83009"/>
                  </a:lnTo>
                  <a:lnTo>
                    <a:pt x="55183" y="45006"/>
                  </a:lnTo>
                  <a:lnTo>
                    <a:pt x="55183" y="27638"/>
                  </a:lnTo>
                  <a:lnTo>
                    <a:pt x="69003" y="13819"/>
                  </a:lnTo>
                  <a:lnTo>
                    <a:pt x="103551" y="45006"/>
                  </a:lnTo>
                  <a:close/>
                </a:path>
              </a:pathLst>
            </a:custGeom>
            <a:solidFill>
              <a:srgbClr val="CEE3BF"/>
            </a:solidFill>
            <a:ln w="9334" cap="flat">
              <a:noFill/>
              <a:prstDash val="solid"/>
              <a:miter/>
            </a:ln>
          </p:spPr>
          <p:txBody>
            <a:bodyPr rtlCol="0" anchor="ctr"/>
            <a:lstStyle/>
            <a:p>
              <a:endParaRPr lang="en-GB" dirty="0"/>
            </a:p>
          </p:txBody>
        </p:sp>
        <p:sp>
          <p:nvSpPr>
            <p:cNvPr id="1033" name="Freeform: Shape 1032">
              <a:extLst>
                <a:ext uri="{FF2B5EF4-FFF2-40B4-BE49-F238E27FC236}">
                  <a16:creationId xmlns:a16="http://schemas.microsoft.com/office/drawing/2014/main" id="{417EE3EB-3BBB-445B-9721-91FFFA206654}"/>
                </a:ext>
              </a:extLst>
            </p:cNvPr>
            <p:cNvSpPr/>
            <p:nvPr/>
          </p:nvSpPr>
          <p:spPr>
            <a:xfrm>
              <a:off x="6739458" y="4121808"/>
              <a:ext cx="403932" cy="307664"/>
            </a:xfrm>
            <a:custGeom>
              <a:avLst/>
              <a:gdLst>
                <a:gd name="connsiteX0" fmla="*/ 96735 w 403932"/>
                <a:gd name="connsiteY0" fmla="*/ 10365 h 307664"/>
                <a:gd name="connsiteX1" fmla="*/ 134644 w 403932"/>
                <a:gd name="connsiteY1" fmla="*/ 10365 h 307664"/>
                <a:gd name="connsiteX2" fmla="*/ 138099 w 403932"/>
                <a:gd name="connsiteY2" fmla="*/ 0 h 307664"/>
                <a:gd name="connsiteX3" fmla="*/ 196831 w 403932"/>
                <a:gd name="connsiteY3" fmla="*/ 3455 h 307664"/>
                <a:gd name="connsiteX4" fmla="*/ 258924 w 403932"/>
                <a:gd name="connsiteY4" fmla="*/ 62187 h 307664"/>
                <a:gd name="connsiteX5" fmla="*/ 245198 w 403932"/>
                <a:gd name="connsiteY5" fmla="*/ 79461 h 307664"/>
                <a:gd name="connsiteX6" fmla="*/ 245198 w 403932"/>
                <a:gd name="connsiteY6" fmla="*/ 100190 h 307664"/>
                <a:gd name="connsiteX7" fmla="*/ 272743 w 403932"/>
                <a:gd name="connsiteY7" fmla="*/ 103644 h 307664"/>
                <a:gd name="connsiteX8" fmla="*/ 272743 w 403932"/>
                <a:gd name="connsiteY8" fmla="*/ 121012 h 307664"/>
                <a:gd name="connsiteX9" fmla="*/ 307291 w 403932"/>
                <a:gd name="connsiteY9" fmla="*/ 159015 h 307664"/>
                <a:gd name="connsiteX10" fmla="*/ 403933 w 403932"/>
                <a:gd name="connsiteY10" fmla="*/ 183198 h 307664"/>
                <a:gd name="connsiteX11" fmla="*/ 331475 w 403932"/>
                <a:gd name="connsiteY11" fmla="*/ 262659 h 307664"/>
                <a:gd name="connsiteX12" fmla="*/ 286562 w 403932"/>
                <a:gd name="connsiteY12" fmla="*/ 269662 h 307664"/>
                <a:gd name="connsiteX13" fmla="*/ 245198 w 403932"/>
                <a:gd name="connsiteY13" fmla="*/ 293845 h 307664"/>
                <a:gd name="connsiteX14" fmla="*/ 224469 w 403932"/>
                <a:gd name="connsiteY14" fmla="*/ 300755 h 307664"/>
                <a:gd name="connsiteX15" fmla="*/ 214105 w 403932"/>
                <a:gd name="connsiteY15" fmla="*/ 286936 h 307664"/>
                <a:gd name="connsiteX16" fmla="*/ 179556 w 403932"/>
                <a:gd name="connsiteY16" fmla="*/ 307665 h 307664"/>
                <a:gd name="connsiteX17" fmla="*/ 138099 w 403932"/>
                <a:gd name="connsiteY17" fmla="*/ 304210 h 307664"/>
                <a:gd name="connsiteX18" fmla="*/ 76006 w 403932"/>
                <a:gd name="connsiteY18" fmla="*/ 276571 h 307664"/>
                <a:gd name="connsiteX19" fmla="*/ 76006 w 403932"/>
                <a:gd name="connsiteY19" fmla="*/ 252295 h 307664"/>
                <a:gd name="connsiteX20" fmla="*/ 65641 w 403932"/>
                <a:gd name="connsiteY20" fmla="*/ 252295 h 307664"/>
                <a:gd name="connsiteX21" fmla="*/ 24183 w 403932"/>
                <a:gd name="connsiteY21" fmla="*/ 197018 h 307664"/>
                <a:gd name="connsiteX22" fmla="*/ 6910 w 403932"/>
                <a:gd name="connsiteY22" fmla="*/ 193563 h 307664"/>
                <a:gd name="connsiteX23" fmla="*/ 0 w 403932"/>
                <a:gd name="connsiteY23" fmla="*/ 169379 h 307664"/>
                <a:gd name="connsiteX24" fmla="*/ 34548 w 403932"/>
                <a:gd name="connsiteY24" fmla="*/ 169379 h 307664"/>
                <a:gd name="connsiteX25" fmla="*/ 34548 w 403932"/>
                <a:gd name="connsiteY25" fmla="*/ 107099 h 307664"/>
                <a:gd name="connsiteX26" fmla="*/ 55277 w 403932"/>
                <a:gd name="connsiteY26" fmla="*/ 103644 h 307664"/>
                <a:gd name="connsiteX27" fmla="*/ 55277 w 403932"/>
                <a:gd name="connsiteY27" fmla="*/ 76006 h 307664"/>
                <a:gd name="connsiteX28" fmla="*/ 96735 w 403932"/>
                <a:gd name="connsiteY28" fmla="*/ 10365 h 30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3932" h="307664">
                  <a:moveTo>
                    <a:pt x="96735" y="10365"/>
                  </a:moveTo>
                  <a:lnTo>
                    <a:pt x="134644" y="10365"/>
                  </a:lnTo>
                  <a:lnTo>
                    <a:pt x="138099" y="0"/>
                  </a:lnTo>
                  <a:lnTo>
                    <a:pt x="196831" y="3455"/>
                  </a:lnTo>
                  <a:lnTo>
                    <a:pt x="258924" y="62187"/>
                  </a:lnTo>
                  <a:lnTo>
                    <a:pt x="245198" y="79461"/>
                  </a:lnTo>
                  <a:lnTo>
                    <a:pt x="245198" y="100190"/>
                  </a:lnTo>
                  <a:lnTo>
                    <a:pt x="272743" y="103644"/>
                  </a:lnTo>
                  <a:lnTo>
                    <a:pt x="272743" y="121012"/>
                  </a:lnTo>
                  <a:lnTo>
                    <a:pt x="307291" y="159015"/>
                  </a:lnTo>
                  <a:lnTo>
                    <a:pt x="403933" y="183198"/>
                  </a:lnTo>
                  <a:lnTo>
                    <a:pt x="331475" y="262659"/>
                  </a:lnTo>
                  <a:lnTo>
                    <a:pt x="286562" y="269662"/>
                  </a:lnTo>
                  <a:lnTo>
                    <a:pt x="245198" y="293845"/>
                  </a:lnTo>
                  <a:lnTo>
                    <a:pt x="224469" y="300755"/>
                  </a:lnTo>
                  <a:lnTo>
                    <a:pt x="214105" y="286936"/>
                  </a:lnTo>
                  <a:lnTo>
                    <a:pt x="179556" y="307665"/>
                  </a:lnTo>
                  <a:lnTo>
                    <a:pt x="138099" y="304210"/>
                  </a:lnTo>
                  <a:lnTo>
                    <a:pt x="76006" y="276571"/>
                  </a:lnTo>
                  <a:lnTo>
                    <a:pt x="76006" y="252295"/>
                  </a:lnTo>
                  <a:lnTo>
                    <a:pt x="65641" y="252295"/>
                  </a:lnTo>
                  <a:lnTo>
                    <a:pt x="24183" y="197018"/>
                  </a:lnTo>
                  <a:lnTo>
                    <a:pt x="6910" y="193563"/>
                  </a:lnTo>
                  <a:lnTo>
                    <a:pt x="0" y="169379"/>
                  </a:lnTo>
                  <a:lnTo>
                    <a:pt x="34548" y="169379"/>
                  </a:lnTo>
                  <a:lnTo>
                    <a:pt x="34548" y="107099"/>
                  </a:lnTo>
                  <a:lnTo>
                    <a:pt x="55277" y="103644"/>
                  </a:lnTo>
                  <a:lnTo>
                    <a:pt x="55277" y="76006"/>
                  </a:lnTo>
                  <a:lnTo>
                    <a:pt x="96735" y="10365"/>
                  </a:lnTo>
                  <a:close/>
                </a:path>
              </a:pathLst>
            </a:custGeom>
            <a:solidFill>
              <a:srgbClr val="CEE3BF"/>
            </a:solidFill>
            <a:ln w="9334" cap="flat">
              <a:noFill/>
              <a:prstDash val="solid"/>
              <a:miter/>
            </a:ln>
          </p:spPr>
          <p:txBody>
            <a:bodyPr rtlCol="0" anchor="ctr"/>
            <a:lstStyle/>
            <a:p>
              <a:endParaRPr lang="en-GB" dirty="0"/>
            </a:p>
          </p:txBody>
        </p:sp>
        <p:sp>
          <p:nvSpPr>
            <p:cNvPr id="1034" name="Freeform: Shape 1033">
              <a:extLst>
                <a:ext uri="{FF2B5EF4-FFF2-40B4-BE49-F238E27FC236}">
                  <a16:creationId xmlns:a16="http://schemas.microsoft.com/office/drawing/2014/main" id="{384971E5-1663-4130-ABBE-714DED854232}"/>
                </a:ext>
              </a:extLst>
            </p:cNvPr>
            <p:cNvSpPr/>
            <p:nvPr/>
          </p:nvSpPr>
          <p:spPr>
            <a:xfrm>
              <a:off x="6074921" y="4166721"/>
              <a:ext cx="205421" cy="307664"/>
            </a:xfrm>
            <a:custGeom>
              <a:avLst/>
              <a:gdLst>
                <a:gd name="connsiteX0" fmla="*/ 157053 w 205421"/>
                <a:gd name="connsiteY0" fmla="*/ 0 h 307664"/>
                <a:gd name="connsiteX1" fmla="*/ 170873 w 205421"/>
                <a:gd name="connsiteY1" fmla="*/ 20729 h 307664"/>
                <a:gd name="connsiteX2" fmla="*/ 174328 w 205421"/>
                <a:gd name="connsiteY2" fmla="*/ 62187 h 307664"/>
                <a:gd name="connsiteX3" fmla="*/ 184692 w 205421"/>
                <a:gd name="connsiteY3" fmla="*/ 79554 h 307664"/>
                <a:gd name="connsiteX4" fmla="*/ 150144 w 205421"/>
                <a:gd name="connsiteY4" fmla="*/ 79554 h 307664"/>
                <a:gd name="connsiteX5" fmla="*/ 146689 w 205421"/>
                <a:gd name="connsiteY5" fmla="*/ 96828 h 307664"/>
                <a:gd name="connsiteX6" fmla="*/ 198511 w 205421"/>
                <a:gd name="connsiteY6" fmla="*/ 152105 h 307664"/>
                <a:gd name="connsiteX7" fmla="*/ 163963 w 205421"/>
                <a:gd name="connsiteY7" fmla="*/ 179743 h 307664"/>
                <a:gd name="connsiteX8" fmla="*/ 163963 w 205421"/>
                <a:gd name="connsiteY8" fmla="*/ 207382 h 307664"/>
                <a:gd name="connsiteX9" fmla="*/ 181237 w 205421"/>
                <a:gd name="connsiteY9" fmla="*/ 252388 h 307664"/>
                <a:gd name="connsiteX10" fmla="*/ 205421 w 205421"/>
                <a:gd name="connsiteY10" fmla="*/ 280026 h 307664"/>
                <a:gd name="connsiteX11" fmla="*/ 201966 w 205421"/>
                <a:gd name="connsiteY11" fmla="*/ 304210 h 307664"/>
                <a:gd name="connsiteX12" fmla="*/ 170873 w 205421"/>
                <a:gd name="connsiteY12" fmla="*/ 307665 h 307664"/>
                <a:gd name="connsiteX13" fmla="*/ 170873 w 205421"/>
                <a:gd name="connsiteY13" fmla="*/ 293845 h 307664"/>
                <a:gd name="connsiteX14" fmla="*/ 31093 w 205421"/>
                <a:gd name="connsiteY14" fmla="*/ 293845 h 307664"/>
                <a:gd name="connsiteX15" fmla="*/ 31093 w 205421"/>
                <a:gd name="connsiteY15" fmla="*/ 252388 h 307664"/>
                <a:gd name="connsiteX16" fmla="*/ 17274 w 205421"/>
                <a:gd name="connsiteY16" fmla="*/ 238569 h 307664"/>
                <a:gd name="connsiteX17" fmla="*/ 0 w 205421"/>
                <a:gd name="connsiteY17" fmla="*/ 228204 h 307664"/>
                <a:gd name="connsiteX18" fmla="*/ 3455 w 205421"/>
                <a:gd name="connsiteY18" fmla="*/ 197018 h 307664"/>
                <a:gd name="connsiteX19" fmla="*/ 38002 w 205421"/>
                <a:gd name="connsiteY19" fmla="*/ 165924 h 307664"/>
                <a:gd name="connsiteX20" fmla="*/ 55277 w 205421"/>
                <a:gd name="connsiteY20" fmla="*/ 165924 h 307664"/>
                <a:gd name="connsiteX21" fmla="*/ 74231 w 205421"/>
                <a:gd name="connsiteY21" fmla="*/ 179743 h 307664"/>
                <a:gd name="connsiteX22" fmla="*/ 143234 w 205421"/>
                <a:gd name="connsiteY22" fmla="*/ 48367 h 307664"/>
                <a:gd name="connsiteX23" fmla="*/ 160508 w 205421"/>
                <a:gd name="connsiteY23" fmla="*/ 44912 h 307664"/>
                <a:gd name="connsiteX24" fmla="*/ 157053 w 205421"/>
                <a:gd name="connsiteY24" fmla="*/ 20729 h 307664"/>
                <a:gd name="connsiteX25" fmla="*/ 157053 w 205421"/>
                <a:gd name="connsiteY25" fmla="*/ 0 h 30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5421" h="307664">
                  <a:moveTo>
                    <a:pt x="157053" y="0"/>
                  </a:moveTo>
                  <a:lnTo>
                    <a:pt x="170873" y="20729"/>
                  </a:lnTo>
                  <a:lnTo>
                    <a:pt x="174328" y="62187"/>
                  </a:lnTo>
                  <a:lnTo>
                    <a:pt x="184692" y="79554"/>
                  </a:lnTo>
                  <a:lnTo>
                    <a:pt x="150144" y="79554"/>
                  </a:lnTo>
                  <a:lnTo>
                    <a:pt x="146689" y="96828"/>
                  </a:lnTo>
                  <a:lnTo>
                    <a:pt x="198511" y="152105"/>
                  </a:lnTo>
                  <a:lnTo>
                    <a:pt x="163963" y="179743"/>
                  </a:lnTo>
                  <a:lnTo>
                    <a:pt x="163963" y="207382"/>
                  </a:lnTo>
                  <a:lnTo>
                    <a:pt x="181237" y="252388"/>
                  </a:lnTo>
                  <a:lnTo>
                    <a:pt x="205421" y="280026"/>
                  </a:lnTo>
                  <a:lnTo>
                    <a:pt x="201966" y="304210"/>
                  </a:lnTo>
                  <a:lnTo>
                    <a:pt x="170873" y="307665"/>
                  </a:lnTo>
                  <a:lnTo>
                    <a:pt x="170873" y="293845"/>
                  </a:lnTo>
                  <a:lnTo>
                    <a:pt x="31093" y="293845"/>
                  </a:lnTo>
                  <a:lnTo>
                    <a:pt x="31093" y="252388"/>
                  </a:lnTo>
                  <a:lnTo>
                    <a:pt x="17274" y="238569"/>
                  </a:lnTo>
                  <a:lnTo>
                    <a:pt x="0" y="228204"/>
                  </a:lnTo>
                  <a:lnTo>
                    <a:pt x="3455" y="197018"/>
                  </a:lnTo>
                  <a:lnTo>
                    <a:pt x="38002" y="165924"/>
                  </a:lnTo>
                  <a:lnTo>
                    <a:pt x="55277" y="165924"/>
                  </a:lnTo>
                  <a:lnTo>
                    <a:pt x="74231" y="179743"/>
                  </a:lnTo>
                  <a:lnTo>
                    <a:pt x="143234" y="48367"/>
                  </a:lnTo>
                  <a:lnTo>
                    <a:pt x="160508" y="44912"/>
                  </a:lnTo>
                  <a:lnTo>
                    <a:pt x="157053" y="20729"/>
                  </a:lnTo>
                  <a:lnTo>
                    <a:pt x="157053" y="0"/>
                  </a:lnTo>
                  <a:close/>
                </a:path>
              </a:pathLst>
            </a:custGeom>
            <a:solidFill>
              <a:srgbClr val="CEE3BF"/>
            </a:solidFill>
            <a:ln w="9334" cap="flat">
              <a:noFill/>
              <a:prstDash val="solid"/>
              <a:miter/>
            </a:ln>
          </p:spPr>
          <p:txBody>
            <a:bodyPr rtlCol="0" anchor="ctr"/>
            <a:lstStyle/>
            <a:p>
              <a:endParaRPr lang="en-GB" dirty="0"/>
            </a:p>
          </p:txBody>
        </p:sp>
        <p:sp>
          <p:nvSpPr>
            <p:cNvPr id="1035" name="Freeform: Shape 1034">
              <a:extLst>
                <a:ext uri="{FF2B5EF4-FFF2-40B4-BE49-F238E27FC236}">
                  <a16:creationId xmlns:a16="http://schemas.microsoft.com/office/drawing/2014/main" id="{A22B172A-45AF-4396-A569-11BA7CD55FEC}"/>
                </a:ext>
              </a:extLst>
            </p:cNvPr>
            <p:cNvSpPr/>
            <p:nvPr/>
          </p:nvSpPr>
          <p:spPr>
            <a:xfrm>
              <a:off x="6074921" y="4166721"/>
              <a:ext cx="205421" cy="307664"/>
            </a:xfrm>
            <a:custGeom>
              <a:avLst/>
              <a:gdLst>
                <a:gd name="connsiteX0" fmla="*/ 157053 w 205421"/>
                <a:gd name="connsiteY0" fmla="*/ 0 h 307664"/>
                <a:gd name="connsiteX1" fmla="*/ 170873 w 205421"/>
                <a:gd name="connsiteY1" fmla="*/ 20729 h 307664"/>
                <a:gd name="connsiteX2" fmla="*/ 174328 w 205421"/>
                <a:gd name="connsiteY2" fmla="*/ 62187 h 307664"/>
                <a:gd name="connsiteX3" fmla="*/ 184692 w 205421"/>
                <a:gd name="connsiteY3" fmla="*/ 79554 h 307664"/>
                <a:gd name="connsiteX4" fmla="*/ 150144 w 205421"/>
                <a:gd name="connsiteY4" fmla="*/ 79554 h 307664"/>
                <a:gd name="connsiteX5" fmla="*/ 146689 w 205421"/>
                <a:gd name="connsiteY5" fmla="*/ 96828 h 307664"/>
                <a:gd name="connsiteX6" fmla="*/ 198511 w 205421"/>
                <a:gd name="connsiteY6" fmla="*/ 152105 h 307664"/>
                <a:gd name="connsiteX7" fmla="*/ 163963 w 205421"/>
                <a:gd name="connsiteY7" fmla="*/ 179743 h 307664"/>
                <a:gd name="connsiteX8" fmla="*/ 163963 w 205421"/>
                <a:gd name="connsiteY8" fmla="*/ 207382 h 307664"/>
                <a:gd name="connsiteX9" fmla="*/ 181237 w 205421"/>
                <a:gd name="connsiteY9" fmla="*/ 252388 h 307664"/>
                <a:gd name="connsiteX10" fmla="*/ 205421 w 205421"/>
                <a:gd name="connsiteY10" fmla="*/ 280026 h 307664"/>
                <a:gd name="connsiteX11" fmla="*/ 201966 w 205421"/>
                <a:gd name="connsiteY11" fmla="*/ 304210 h 307664"/>
                <a:gd name="connsiteX12" fmla="*/ 170873 w 205421"/>
                <a:gd name="connsiteY12" fmla="*/ 307665 h 307664"/>
                <a:gd name="connsiteX13" fmla="*/ 170873 w 205421"/>
                <a:gd name="connsiteY13" fmla="*/ 293845 h 307664"/>
                <a:gd name="connsiteX14" fmla="*/ 31093 w 205421"/>
                <a:gd name="connsiteY14" fmla="*/ 293845 h 307664"/>
                <a:gd name="connsiteX15" fmla="*/ 31093 w 205421"/>
                <a:gd name="connsiteY15" fmla="*/ 252388 h 307664"/>
                <a:gd name="connsiteX16" fmla="*/ 17274 w 205421"/>
                <a:gd name="connsiteY16" fmla="*/ 238569 h 307664"/>
                <a:gd name="connsiteX17" fmla="*/ 0 w 205421"/>
                <a:gd name="connsiteY17" fmla="*/ 228204 h 307664"/>
                <a:gd name="connsiteX18" fmla="*/ 3455 w 205421"/>
                <a:gd name="connsiteY18" fmla="*/ 197018 h 307664"/>
                <a:gd name="connsiteX19" fmla="*/ 38002 w 205421"/>
                <a:gd name="connsiteY19" fmla="*/ 165924 h 307664"/>
                <a:gd name="connsiteX20" fmla="*/ 55277 w 205421"/>
                <a:gd name="connsiteY20" fmla="*/ 165924 h 307664"/>
                <a:gd name="connsiteX21" fmla="*/ 74231 w 205421"/>
                <a:gd name="connsiteY21" fmla="*/ 179743 h 307664"/>
                <a:gd name="connsiteX22" fmla="*/ 143234 w 205421"/>
                <a:gd name="connsiteY22" fmla="*/ 48367 h 307664"/>
                <a:gd name="connsiteX23" fmla="*/ 160508 w 205421"/>
                <a:gd name="connsiteY23" fmla="*/ 44912 h 307664"/>
                <a:gd name="connsiteX24" fmla="*/ 157053 w 205421"/>
                <a:gd name="connsiteY24" fmla="*/ 20729 h 307664"/>
                <a:gd name="connsiteX25" fmla="*/ 157053 w 205421"/>
                <a:gd name="connsiteY25" fmla="*/ 0 h 30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5421" h="307664">
                  <a:moveTo>
                    <a:pt x="157053" y="0"/>
                  </a:moveTo>
                  <a:lnTo>
                    <a:pt x="170873" y="20729"/>
                  </a:lnTo>
                  <a:lnTo>
                    <a:pt x="174328" y="62187"/>
                  </a:lnTo>
                  <a:lnTo>
                    <a:pt x="184692" y="79554"/>
                  </a:lnTo>
                  <a:lnTo>
                    <a:pt x="150144" y="79554"/>
                  </a:lnTo>
                  <a:lnTo>
                    <a:pt x="146689" y="96828"/>
                  </a:lnTo>
                  <a:lnTo>
                    <a:pt x="198511" y="152105"/>
                  </a:lnTo>
                  <a:lnTo>
                    <a:pt x="163963" y="179743"/>
                  </a:lnTo>
                  <a:lnTo>
                    <a:pt x="163963" y="207382"/>
                  </a:lnTo>
                  <a:lnTo>
                    <a:pt x="181237" y="252388"/>
                  </a:lnTo>
                  <a:lnTo>
                    <a:pt x="205421" y="280026"/>
                  </a:lnTo>
                  <a:lnTo>
                    <a:pt x="201966" y="304210"/>
                  </a:lnTo>
                  <a:lnTo>
                    <a:pt x="170873" y="307665"/>
                  </a:lnTo>
                  <a:lnTo>
                    <a:pt x="170873" y="293845"/>
                  </a:lnTo>
                  <a:lnTo>
                    <a:pt x="31093" y="293845"/>
                  </a:lnTo>
                  <a:lnTo>
                    <a:pt x="31093" y="252388"/>
                  </a:lnTo>
                  <a:lnTo>
                    <a:pt x="17274" y="238569"/>
                  </a:lnTo>
                  <a:lnTo>
                    <a:pt x="0" y="228204"/>
                  </a:lnTo>
                  <a:lnTo>
                    <a:pt x="3455" y="197018"/>
                  </a:lnTo>
                  <a:lnTo>
                    <a:pt x="38002" y="165924"/>
                  </a:lnTo>
                  <a:lnTo>
                    <a:pt x="55277" y="165924"/>
                  </a:lnTo>
                  <a:lnTo>
                    <a:pt x="74231" y="179743"/>
                  </a:lnTo>
                  <a:lnTo>
                    <a:pt x="143234" y="48367"/>
                  </a:lnTo>
                  <a:lnTo>
                    <a:pt x="160508" y="44912"/>
                  </a:lnTo>
                  <a:lnTo>
                    <a:pt x="157053" y="20729"/>
                  </a:lnTo>
                  <a:lnTo>
                    <a:pt x="157053" y="0"/>
                  </a:lnTo>
                  <a:close/>
                </a:path>
              </a:pathLst>
            </a:custGeom>
            <a:solidFill>
              <a:srgbClr val="CEE3BF"/>
            </a:solidFill>
            <a:ln w="9334" cap="flat">
              <a:noFill/>
              <a:prstDash val="solid"/>
              <a:miter/>
            </a:ln>
          </p:spPr>
          <p:txBody>
            <a:bodyPr rtlCol="0" anchor="ctr"/>
            <a:lstStyle/>
            <a:p>
              <a:endParaRPr lang="en-GB" dirty="0"/>
            </a:p>
          </p:txBody>
        </p:sp>
        <p:sp>
          <p:nvSpPr>
            <p:cNvPr id="1036" name="Freeform: Shape 1035">
              <a:extLst>
                <a:ext uri="{FF2B5EF4-FFF2-40B4-BE49-F238E27FC236}">
                  <a16:creationId xmlns:a16="http://schemas.microsoft.com/office/drawing/2014/main" id="{FD315460-8C8D-47C9-836C-1F6FBD8E95B6}"/>
                </a:ext>
              </a:extLst>
            </p:cNvPr>
            <p:cNvSpPr/>
            <p:nvPr/>
          </p:nvSpPr>
          <p:spPr>
            <a:xfrm>
              <a:off x="5912638" y="4142537"/>
              <a:ext cx="322790" cy="259297"/>
            </a:xfrm>
            <a:custGeom>
              <a:avLst/>
              <a:gdLst>
                <a:gd name="connsiteX0" fmla="*/ 162283 w 322790"/>
                <a:gd name="connsiteY0" fmla="*/ 252388 h 259297"/>
                <a:gd name="connsiteX1" fmla="*/ 110461 w 322790"/>
                <a:gd name="connsiteY1" fmla="*/ 259297 h 259297"/>
                <a:gd name="connsiteX2" fmla="*/ 76006 w 322790"/>
                <a:gd name="connsiteY2" fmla="*/ 255843 h 259297"/>
                <a:gd name="connsiteX3" fmla="*/ 79367 w 322790"/>
                <a:gd name="connsiteY3" fmla="*/ 228111 h 259297"/>
                <a:gd name="connsiteX4" fmla="*/ 38003 w 322790"/>
                <a:gd name="connsiteY4" fmla="*/ 203927 h 259297"/>
                <a:gd name="connsiteX5" fmla="*/ 3455 w 322790"/>
                <a:gd name="connsiteY5" fmla="*/ 200472 h 259297"/>
                <a:gd name="connsiteX6" fmla="*/ 0 w 322790"/>
                <a:gd name="connsiteY6" fmla="*/ 134831 h 259297"/>
                <a:gd name="connsiteX7" fmla="*/ 38003 w 322790"/>
                <a:gd name="connsiteY7" fmla="*/ 89825 h 259297"/>
                <a:gd name="connsiteX8" fmla="*/ 17274 w 322790"/>
                <a:gd name="connsiteY8" fmla="*/ 72551 h 259297"/>
                <a:gd name="connsiteX9" fmla="*/ 20729 w 322790"/>
                <a:gd name="connsiteY9" fmla="*/ 58732 h 259297"/>
                <a:gd name="connsiteX10" fmla="*/ 41458 w 322790"/>
                <a:gd name="connsiteY10" fmla="*/ 3455 h 259297"/>
                <a:gd name="connsiteX11" fmla="*/ 93187 w 322790"/>
                <a:gd name="connsiteY11" fmla="*/ 3455 h 259297"/>
                <a:gd name="connsiteX12" fmla="*/ 120825 w 322790"/>
                <a:gd name="connsiteY12" fmla="*/ 24184 h 259297"/>
                <a:gd name="connsiteX13" fmla="*/ 138099 w 322790"/>
                <a:gd name="connsiteY13" fmla="*/ 13819 h 259297"/>
                <a:gd name="connsiteX14" fmla="*/ 186466 w 322790"/>
                <a:gd name="connsiteY14" fmla="*/ 31093 h 259297"/>
                <a:gd name="connsiteX15" fmla="*/ 196831 w 322790"/>
                <a:gd name="connsiteY15" fmla="*/ 17274 h 259297"/>
                <a:gd name="connsiteX16" fmla="*/ 257243 w 322790"/>
                <a:gd name="connsiteY16" fmla="*/ 24184 h 259297"/>
                <a:gd name="connsiteX17" fmla="*/ 295153 w 322790"/>
                <a:gd name="connsiteY17" fmla="*/ 0 h 259297"/>
                <a:gd name="connsiteX18" fmla="*/ 319336 w 322790"/>
                <a:gd name="connsiteY18" fmla="*/ 24184 h 259297"/>
                <a:gd name="connsiteX19" fmla="*/ 322791 w 322790"/>
                <a:gd name="connsiteY19" fmla="*/ 69096 h 259297"/>
                <a:gd name="connsiteX20" fmla="*/ 305517 w 322790"/>
                <a:gd name="connsiteY20" fmla="*/ 72551 h 259297"/>
                <a:gd name="connsiteX21" fmla="*/ 236514 w 322790"/>
                <a:gd name="connsiteY21" fmla="*/ 203927 h 259297"/>
                <a:gd name="connsiteX22" fmla="*/ 217560 w 322790"/>
                <a:gd name="connsiteY22" fmla="*/ 190108 h 259297"/>
                <a:gd name="connsiteX23" fmla="*/ 200285 w 322790"/>
                <a:gd name="connsiteY23" fmla="*/ 190108 h 259297"/>
                <a:gd name="connsiteX24" fmla="*/ 165738 w 322790"/>
                <a:gd name="connsiteY24" fmla="*/ 221201 h 259297"/>
                <a:gd name="connsiteX25" fmla="*/ 162283 w 322790"/>
                <a:gd name="connsiteY25" fmla="*/ 252388 h 259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2790" h="259297">
                  <a:moveTo>
                    <a:pt x="162283" y="252388"/>
                  </a:moveTo>
                  <a:lnTo>
                    <a:pt x="110461" y="259297"/>
                  </a:lnTo>
                  <a:lnTo>
                    <a:pt x="76006" y="255843"/>
                  </a:lnTo>
                  <a:lnTo>
                    <a:pt x="79367" y="228111"/>
                  </a:lnTo>
                  <a:lnTo>
                    <a:pt x="38003" y="203927"/>
                  </a:lnTo>
                  <a:lnTo>
                    <a:pt x="3455" y="200472"/>
                  </a:lnTo>
                  <a:lnTo>
                    <a:pt x="0" y="134831"/>
                  </a:lnTo>
                  <a:lnTo>
                    <a:pt x="38003" y="89825"/>
                  </a:lnTo>
                  <a:lnTo>
                    <a:pt x="17274" y="72551"/>
                  </a:lnTo>
                  <a:lnTo>
                    <a:pt x="20729" y="58732"/>
                  </a:lnTo>
                  <a:lnTo>
                    <a:pt x="41458" y="3455"/>
                  </a:lnTo>
                  <a:lnTo>
                    <a:pt x="93187" y="3455"/>
                  </a:lnTo>
                  <a:lnTo>
                    <a:pt x="120825" y="24184"/>
                  </a:lnTo>
                  <a:lnTo>
                    <a:pt x="138099" y="13819"/>
                  </a:lnTo>
                  <a:lnTo>
                    <a:pt x="186466" y="31093"/>
                  </a:lnTo>
                  <a:lnTo>
                    <a:pt x="196831" y="17274"/>
                  </a:lnTo>
                  <a:lnTo>
                    <a:pt x="257243" y="24184"/>
                  </a:lnTo>
                  <a:lnTo>
                    <a:pt x="295153" y="0"/>
                  </a:lnTo>
                  <a:lnTo>
                    <a:pt x="319336" y="24184"/>
                  </a:lnTo>
                  <a:lnTo>
                    <a:pt x="322791" y="69096"/>
                  </a:lnTo>
                  <a:lnTo>
                    <a:pt x="305517" y="72551"/>
                  </a:lnTo>
                  <a:lnTo>
                    <a:pt x="236514" y="203927"/>
                  </a:lnTo>
                  <a:lnTo>
                    <a:pt x="217560" y="190108"/>
                  </a:lnTo>
                  <a:lnTo>
                    <a:pt x="200285" y="190108"/>
                  </a:lnTo>
                  <a:lnTo>
                    <a:pt x="165738" y="221201"/>
                  </a:lnTo>
                  <a:lnTo>
                    <a:pt x="162283" y="252388"/>
                  </a:lnTo>
                  <a:close/>
                </a:path>
              </a:pathLst>
            </a:custGeom>
            <a:solidFill>
              <a:srgbClr val="CEE3BF"/>
            </a:solidFill>
            <a:ln w="9334" cap="flat">
              <a:noFill/>
              <a:prstDash val="solid"/>
              <a:miter/>
            </a:ln>
          </p:spPr>
          <p:txBody>
            <a:bodyPr rtlCol="0" anchor="ctr"/>
            <a:lstStyle/>
            <a:p>
              <a:endParaRPr lang="en-GB" dirty="0"/>
            </a:p>
          </p:txBody>
        </p:sp>
        <p:sp>
          <p:nvSpPr>
            <p:cNvPr id="1037" name="Freeform: Shape 1036">
              <a:extLst>
                <a:ext uri="{FF2B5EF4-FFF2-40B4-BE49-F238E27FC236}">
                  <a16:creationId xmlns:a16="http://schemas.microsoft.com/office/drawing/2014/main" id="{2AE21128-4A90-49B9-98F3-040F1690E86D}"/>
                </a:ext>
              </a:extLst>
            </p:cNvPr>
            <p:cNvSpPr/>
            <p:nvPr/>
          </p:nvSpPr>
          <p:spPr>
            <a:xfrm>
              <a:off x="5912638" y="4142537"/>
              <a:ext cx="322790" cy="259297"/>
            </a:xfrm>
            <a:custGeom>
              <a:avLst/>
              <a:gdLst>
                <a:gd name="connsiteX0" fmla="*/ 162283 w 322790"/>
                <a:gd name="connsiteY0" fmla="*/ 252388 h 259297"/>
                <a:gd name="connsiteX1" fmla="*/ 110461 w 322790"/>
                <a:gd name="connsiteY1" fmla="*/ 259297 h 259297"/>
                <a:gd name="connsiteX2" fmla="*/ 76006 w 322790"/>
                <a:gd name="connsiteY2" fmla="*/ 255843 h 259297"/>
                <a:gd name="connsiteX3" fmla="*/ 79367 w 322790"/>
                <a:gd name="connsiteY3" fmla="*/ 228111 h 259297"/>
                <a:gd name="connsiteX4" fmla="*/ 38003 w 322790"/>
                <a:gd name="connsiteY4" fmla="*/ 203927 h 259297"/>
                <a:gd name="connsiteX5" fmla="*/ 3455 w 322790"/>
                <a:gd name="connsiteY5" fmla="*/ 200472 h 259297"/>
                <a:gd name="connsiteX6" fmla="*/ 0 w 322790"/>
                <a:gd name="connsiteY6" fmla="*/ 134831 h 259297"/>
                <a:gd name="connsiteX7" fmla="*/ 38003 w 322790"/>
                <a:gd name="connsiteY7" fmla="*/ 89825 h 259297"/>
                <a:gd name="connsiteX8" fmla="*/ 17274 w 322790"/>
                <a:gd name="connsiteY8" fmla="*/ 72551 h 259297"/>
                <a:gd name="connsiteX9" fmla="*/ 20729 w 322790"/>
                <a:gd name="connsiteY9" fmla="*/ 58732 h 259297"/>
                <a:gd name="connsiteX10" fmla="*/ 41458 w 322790"/>
                <a:gd name="connsiteY10" fmla="*/ 3455 h 259297"/>
                <a:gd name="connsiteX11" fmla="*/ 93187 w 322790"/>
                <a:gd name="connsiteY11" fmla="*/ 3455 h 259297"/>
                <a:gd name="connsiteX12" fmla="*/ 120825 w 322790"/>
                <a:gd name="connsiteY12" fmla="*/ 24184 h 259297"/>
                <a:gd name="connsiteX13" fmla="*/ 138099 w 322790"/>
                <a:gd name="connsiteY13" fmla="*/ 13819 h 259297"/>
                <a:gd name="connsiteX14" fmla="*/ 186466 w 322790"/>
                <a:gd name="connsiteY14" fmla="*/ 31093 h 259297"/>
                <a:gd name="connsiteX15" fmla="*/ 196831 w 322790"/>
                <a:gd name="connsiteY15" fmla="*/ 17274 h 259297"/>
                <a:gd name="connsiteX16" fmla="*/ 257243 w 322790"/>
                <a:gd name="connsiteY16" fmla="*/ 24184 h 259297"/>
                <a:gd name="connsiteX17" fmla="*/ 295153 w 322790"/>
                <a:gd name="connsiteY17" fmla="*/ 0 h 259297"/>
                <a:gd name="connsiteX18" fmla="*/ 319336 w 322790"/>
                <a:gd name="connsiteY18" fmla="*/ 24184 h 259297"/>
                <a:gd name="connsiteX19" fmla="*/ 322791 w 322790"/>
                <a:gd name="connsiteY19" fmla="*/ 69096 h 259297"/>
                <a:gd name="connsiteX20" fmla="*/ 305517 w 322790"/>
                <a:gd name="connsiteY20" fmla="*/ 72551 h 259297"/>
                <a:gd name="connsiteX21" fmla="*/ 236514 w 322790"/>
                <a:gd name="connsiteY21" fmla="*/ 203927 h 259297"/>
                <a:gd name="connsiteX22" fmla="*/ 217560 w 322790"/>
                <a:gd name="connsiteY22" fmla="*/ 190108 h 259297"/>
                <a:gd name="connsiteX23" fmla="*/ 200285 w 322790"/>
                <a:gd name="connsiteY23" fmla="*/ 190108 h 259297"/>
                <a:gd name="connsiteX24" fmla="*/ 165738 w 322790"/>
                <a:gd name="connsiteY24" fmla="*/ 221201 h 259297"/>
                <a:gd name="connsiteX25" fmla="*/ 162283 w 322790"/>
                <a:gd name="connsiteY25" fmla="*/ 252388 h 259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2790" h="259297">
                  <a:moveTo>
                    <a:pt x="162283" y="252388"/>
                  </a:moveTo>
                  <a:lnTo>
                    <a:pt x="110461" y="259297"/>
                  </a:lnTo>
                  <a:lnTo>
                    <a:pt x="76006" y="255843"/>
                  </a:lnTo>
                  <a:lnTo>
                    <a:pt x="79367" y="228111"/>
                  </a:lnTo>
                  <a:lnTo>
                    <a:pt x="38003" y="203927"/>
                  </a:lnTo>
                  <a:lnTo>
                    <a:pt x="3455" y="200472"/>
                  </a:lnTo>
                  <a:lnTo>
                    <a:pt x="0" y="134831"/>
                  </a:lnTo>
                  <a:lnTo>
                    <a:pt x="38003" y="89825"/>
                  </a:lnTo>
                  <a:lnTo>
                    <a:pt x="17274" y="72551"/>
                  </a:lnTo>
                  <a:lnTo>
                    <a:pt x="20729" y="58732"/>
                  </a:lnTo>
                  <a:lnTo>
                    <a:pt x="41458" y="3455"/>
                  </a:lnTo>
                  <a:lnTo>
                    <a:pt x="93187" y="3455"/>
                  </a:lnTo>
                  <a:lnTo>
                    <a:pt x="120825" y="24184"/>
                  </a:lnTo>
                  <a:lnTo>
                    <a:pt x="138099" y="13819"/>
                  </a:lnTo>
                  <a:lnTo>
                    <a:pt x="186466" y="31093"/>
                  </a:lnTo>
                  <a:lnTo>
                    <a:pt x="196831" y="17274"/>
                  </a:lnTo>
                  <a:lnTo>
                    <a:pt x="257243" y="24184"/>
                  </a:lnTo>
                  <a:lnTo>
                    <a:pt x="295153" y="0"/>
                  </a:lnTo>
                  <a:lnTo>
                    <a:pt x="319336" y="24184"/>
                  </a:lnTo>
                  <a:lnTo>
                    <a:pt x="322791" y="69096"/>
                  </a:lnTo>
                  <a:lnTo>
                    <a:pt x="305517" y="72551"/>
                  </a:lnTo>
                  <a:lnTo>
                    <a:pt x="236514" y="203927"/>
                  </a:lnTo>
                  <a:lnTo>
                    <a:pt x="217560" y="190108"/>
                  </a:lnTo>
                  <a:lnTo>
                    <a:pt x="200285" y="190108"/>
                  </a:lnTo>
                  <a:lnTo>
                    <a:pt x="165738" y="221201"/>
                  </a:lnTo>
                  <a:lnTo>
                    <a:pt x="162283" y="252388"/>
                  </a:lnTo>
                  <a:close/>
                </a:path>
              </a:pathLst>
            </a:custGeom>
            <a:solidFill>
              <a:srgbClr val="CEE3BF"/>
            </a:solidFill>
            <a:ln w="9334" cap="flat">
              <a:noFill/>
              <a:prstDash val="solid"/>
              <a:miter/>
            </a:ln>
          </p:spPr>
          <p:txBody>
            <a:bodyPr rtlCol="0" anchor="ctr"/>
            <a:lstStyle/>
            <a:p>
              <a:endParaRPr lang="en-GB" dirty="0"/>
            </a:p>
          </p:txBody>
        </p:sp>
        <p:sp>
          <p:nvSpPr>
            <p:cNvPr id="1038" name="Freeform: Shape 1037">
              <a:extLst>
                <a:ext uri="{FF2B5EF4-FFF2-40B4-BE49-F238E27FC236}">
                  <a16:creationId xmlns:a16="http://schemas.microsoft.com/office/drawing/2014/main" id="{2B6B2B93-2AB0-4905-BF8C-D52AD3ED9BBB}"/>
                </a:ext>
              </a:extLst>
            </p:cNvPr>
            <p:cNvSpPr/>
            <p:nvPr/>
          </p:nvSpPr>
          <p:spPr>
            <a:xfrm>
              <a:off x="5857361" y="4183995"/>
              <a:ext cx="93279" cy="165924"/>
            </a:xfrm>
            <a:custGeom>
              <a:avLst/>
              <a:gdLst>
                <a:gd name="connsiteX0" fmla="*/ 34548 w 93279"/>
                <a:gd name="connsiteY0" fmla="*/ 3455 h 165924"/>
                <a:gd name="connsiteX1" fmla="*/ 58732 w 93279"/>
                <a:gd name="connsiteY1" fmla="*/ 0 h 165924"/>
                <a:gd name="connsiteX2" fmla="*/ 76006 w 93279"/>
                <a:gd name="connsiteY2" fmla="*/ 17274 h 165924"/>
                <a:gd name="connsiteX3" fmla="*/ 72551 w 93279"/>
                <a:gd name="connsiteY3" fmla="*/ 31093 h 165924"/>
                <a:gd name="connsiteX4" fmla="*/ 93280 w 93279"/>
                <a:gd name="connsiteY4" fmla="*/ 48367 h 165924"/>
                <a:gd name="connsiteX5" fmla="*/ 55277 w 93279"/>
                <a:gd name="connsiteY5" fmla="*/ 93373 h 165924"/>
                <a:gd name="connsiteX6" fmla="*/ 58732 w 93279"/>
                <a:gd name="connsiteY6" fmla="*/ 159015 h 165924"/>
                <a:gd name="connsiteX7" fmla="*/ 20729 w 93279"/>
                <a:gd name="connsiteY7" fmla="*/ 165924 h 165924"/>
                <a:gd name="connsiteX8" fmla="*/ 20729 w 93279"/>
                <a:gd name="connsiteY8" fmla="*/ 83009 h 165924"/>
                <a:gd name="connsiteX9" fmla="*/ 0 w 93279"/>
                <a:gd name="connsiteY9" fmla="*/ 55370 h 165924"/>
                <a:gd name="connsiteX10" fmla="*/ 6910 w 93279"/>
                <a:gd name="connsiteY10" fmla="*/ 34548 h 165924"/>
                <a:gd name="connsiteX11" fmla="*/ 34548 w 93279"/>
                <a:gd name="connsiteY11" fmla="*/ 27638 h 165924"/>
                <a:gd name="connsiteX12" fmla="*/ 34548 w 93279"/>
                <a:gd name="connsiteY12" fmla="*/ 3455 h 16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279" h="165924">
                  <a:moveTo>
                    <a:pt x="34548" y="3455"/>
                  </a:moveTo>
                  <a:lnTo>
                    <a:pt x="58732" y="0"/>
                  </a:lnTo>
                  <a:lnTo>
                    <a:pt x="76006" y="17274"/>
                  </a:lnTo>
                  <a:lnTo>
                    <a:pt x="72551" y="31093"/>
                  </a:lnTo>
                  <a:lnTo>
                    <a:pt x="93280" y="48367"/>
                  </a:lnTo>
                  <a:lnTo>
                    <a:pt x="55277" y="93373"/>
                  </a:lnTo>
                  <a:lnTo>
                    <a:pt x="58732" y="159015"/>
                  </a:lnTo>
                  <a:lnTo>
                    <a:pt x="20729" y="165924"/>
                  </a:lnTo>
                  <a:lnTo>
                    <a:pt x="20729" y="83009"/>
                  </a:lnTo>
                  <a:lnTo>
                    <a:pt x="0" y="55370"/>
                  </a:lnTo>
                  <a:lnTo>
                    <a:pt x="6910" y="34548"/>
                  </a:lnTo>
                  <a:lnTo>
                    <a:pt x="34548" y="27638"/>
                  </a:lnTo>
                  <a:lnTo>
                    <a:pt x="34548" y="3455"/>
                  </a:lnTo>
                  <a:close/>
                </a:path>
              </a:pathLst>
            </a:custGeom>
            <a:solidFill>
              <a:srgbClr val="CEE3BF"/>
            </a:solidFill>
            <a:ln w="9334" cap="flat">
              <a:noFill/>
              <a:prstDash val="solid"/>
              <a:miter/>
            </a:ln>
          </p:spPr>
          <p:txBody>
            <a:bodyPr rtlCol="0" anchor="ctr"/>
            <a:lstStyle/>
            <a:p>
              <a:endParaRPr lang="en-GB" dirty="0"/>
            </a:p>
          </p:txBody>
        </p:sp>
        <p:sp>
          <p:nvSpPr>
            <p:cNvPr id="1039" name="Freeform: Shape 1038">
              <a:extLst>
                <a:ext uri="{FF2B5EF4-FFF2-40B4-BE49-F238E27FC236}">
                  <a16:creationId xmlns:a16="http://schemas.microsoft.com/office/drawing/2014/main" id="{2834C7D3-B053-42BC-B352-113EF79ED885}"/>
                </a:ext>
              </a:extLst>
            </p:cNvPr>
            <p:cNvSpPr/>
            <p:nvPr/>
          </p:nvSpPr>
          <p:spPr>
            <a:xfrm>
              <a:off x="5857361" y="4183995"/>
              <a:ext cx="93279" cy="165924"/>
            </a:xfrm>
            <a:custGeom>
              <a:avLst/>
              <a:gdLst>
                <a:gd name="connsiteX0" fmla="*/ 34548 w 93279"/>
                <a:gd name="connsiteY0" fmla="*/ 3455 h 165924"/>
                <a:gd name="connsiteX1" fmla="*/ 58732 w 93279"/>
                <a:gd name="connsiteY1" fmla="*/ 0 h 165924"/>
                <a:gd name="connsiteX2" fmla="*/ 76006 w 93279"/>
                <a:gd name="connsiteY2" fmla="*/ 17274 h 165924"/>
                <a:gd name="connsiteX3" fmla="*/ 72551 w 93279"/>
                <a:gd name="connsiteY3" fmla="*/ 31093 h 165924"/>
                <a:gd name="connsiteX4" fmla="*/ 93280 w 93279"/>
                <a:gd name="connsiteY4" fmla="*/ 48367 h 165924"/>
                <a:gd name="connsiteX5" fmla="*/ 55277 w 93279"/>
                <a:gd name="connsiteY5" fmla="*/ 93373 h 165924"/>
                <a:gd name="connsiteX6" fmla="*/ 58732 w 93279"/>
                <a:gd name="connsiteY6" fmla="*/ 159015 h 165924"/>
                <a:gd name="connsiteX7" fmla="*/ 20729 w 93279"/>
                <a:gd name="connsiteY7" fmla="*/ 165924 h 165924"/>
                <a:gd name="connsiteX8" fmla="*/ 20729 w 93279"/>
                <a:gd name="connsiteY8" fmla="*/ 83009 h 165924"/>
                <a:gd name="connsiteX9" fmla="*/ 0 w 93279"/>
                <a:gd name="connsiteY9" fmla="*/ 55370 h 165924"/>
                <a:gd name="connsiteX10" fmla="*/ 6910 w 93279"/>
                <a:gd name="connsiteY10" fmla="*/ 34548 h 165924"/>
                <a:gd name="connsiteX11" fmla="*/ 34548 w 93279"/>
                <a:gd name="connsiteY11" fmla="*/ 27638 h 165924"/>
                <a:gd name="connsiteX12" fmla="*/ 34548 w 93279"/>
                <a:gd name="connsiteY12" fmla="*/ 3455 h 16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279" h="165924">
                  <a:moveTo>
                    <a:pt x="34548" y="3455"/>
                  </a:moveTo>
                  <a:lnTo>
                    <a:pt x="58732" y="0"/>
                  </a:lnTo>
                  <a:lnTo>
                    <a:pt x="76006" y="17274"/>
                  </a:lnTo>
                  <a:lnTo>
                    <a:pt x="72551" y="31093"/>
                  </a:lnTo>
                  <a:lnTo>
                    <a:pt x="93280" y="48367"/>
                  </a:lnTo>
                  <a:lnTo>
                    <a:pt x="55277" y="93373"/>
                  </a:lnTo>
                  <a:lnTo>
                    <a:pt x="58732" y="159015"/>
                  </a:lnTo>
                  <a:lnTo>
                    <a:pt x="20729" y="165924"/>
                  </a:lnTo>
                  <a:lnTo>
                    <a:pt x="20729" y="83009"/>
                  </a:lnTo>
                  <a:lnTo>
                    <a:pt x="0" y="55370"/>
                  </a:lnTo>
                  <a:lnTo>
                    <a:pt x="6910" y="34548"/>
                  </a:lnTo>
                  <a:lnTo>
                    <a:pt x="34548" y="27638"/>
                  </a:lnTo>
                  <a:lnTo>
                    <a:pt x="34548" y="3455"/>
                  </a:lnTo>
                  <a:close/>
                </a:path>
              </a:pathLst>
            </a:custGeom>
            <a:solidFill>
              <a:srgbClr val="CEE3BF"/>
            </a:solidFill>
            <a:ln w="9334" cap="flat">
              <a:noFill/>
              <a:prstDash val="solid"/>
              <a:miter/>
            </a:ln>
          </p:spPr>
          <p:txBody>
            <a:bodyPr rtlCol="0" anchor="ctr"/>
            <a:lstStyle/>
            <a:p>
              <a:endParaRPr lang="en-GB" dirty="0"/>
            </a:p>
          </p:txBody>
        </p:sp>
        <p:sp>
          <p:nvSpPr>
            <p:cNvPr id="1040" name="Freeform: Shape 1039">
              <a:extLst>
                <a:ext uri="{FF2B5EF4-FFF2-40B4-BE49-F238E27FC236}">
                  <a16:creationId xmlns:a16="http://schemas.microsoft.com/office/drawing/2014/main" id="{1E2EFAE7-E275-4356-9A6E-4623F0C0D41E}"/>
                </a:ext>
              </a:extLst>
            </p:cNvPr>
            <p:cNvSpPr/>
            <p:nvPr/>
          </p:nvSpPr>
          <p:spPr>
            <a:xfrm>
              <a:off x="5826361" y="4218543"/>
              <a:ext cx="51728" cy="138285"/>
            </a:xfrm>
            <a:custGeom>
              <a:avLst/>
              <a:gdLst>
                <a:gd name="connsiteX0" fmla="*/ 51729 w 51728"/>
                <a:gd name="connsiteY0" fmla="*/ 131376 h 138285"/>
                <a:gd name="connsiteX1" fmla="*/ 27638 w 51728"/>
                <a:gd name="connsiteY1" fmla="*/ 138286 h 138285"/>
                <a:gd name="connsiteX2" fmla="*/ 20729 w 51728"/>
                <a:gd name="connsiteY2" fmla="*/ 83009 h 138285"/>
                <a:gd name="connsiteX3" fmla="*/ 13819 w 51728"/>
                <a:gd name="connsiteY3" fmla="*/ 58825 h 138285"/>
                <a:gd name="connsiteX4" fmla="*/ 20729 w 51728"/>
                <a:gd name="connsiteY4" fmla="*/ 31187 h 138285"/>
                <a:gd name="connsiteX5" fmla="*/ 0 w 51728"/>
                <a:gd name="connsiteY5" fmla="*/ 0 h 138285"/>
                <a:gd name="connsiteX6" fmla="*/ 37909 w 51728"/>
                <a:gd name="connsiteY6" fmla="*/ 0 h 138285"/>
                <a:gd name="connsiteX7" fmla="*/ 31000 w 51728"/>
                <a:gd name="connsiteY7" fmla="*/ 20822 h 138285"/>
                <a:gd name="connsiteX8" fmla="*/ 51729 w 51728"/>
                <a:gd name="connsiteY8" fmla="*/ 48461 h 138285"/>
                <a:gd name="connsiteX9" fmla="*/ 51729 w 51728"/>
                <a:gd name="connsiteY9" fmla="*/ 131376 h 13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28" h="138285">
                  <a:moveTo>
                    <a:pt x="51729" y="131376"/>
                  </a:moveTo>
                  <a:lnTo>
                    <a:pt x="27638" y="138286"/>
                  </a:lnTo>
                  <a:lnTo>
                    <a:pt x="20729" y="83009"/>
                  </a:lnTo>
                  <a:lnTo>
                    <a:pt x="13819" y="58825"/>
                  </a:lnTo>
                  <a:lnTo>
                    <a:pt x="20729" y="31187"/>
                  </a:lnTo>
                  <a:lnTo>
                    <a:pt x="0" y="0"/>
                  </a:lnTo>
                  <a:lnTo>
                    <a:pt x="37909" y="0"/>
                  </a:lnTo>
                  <a:lnTo>
                    <a:pt x="31000" y="20822"/>
                  </a:lnTo>
                  <a:lnTo>
                    <a:pt x="51729" y="48461"/>
                  </a:lnTo>
                  <a:lnTo>
                    <a:pt x="51729" y="131376"/>
                  </a:lnTo>
                  <a:close/>
                </a:path>
              </a:pathLst>
            </a:custGeom>
            <a:solidFill>
              <a:srgbClr val="CEE3BF"/>
            </a:solidFill>
            <a:ln w="9334" cap="flat">
              <a:noFill/>
              <a:prstDash val="solid"/>
              <a:miter/>
            </a:ln>
          </p:spPr>
          <p:txBody>
            <a:bodyPr rtlCol="0" anchor="ctr"/>
            <a:lstStyle/>
            <a:p>
              <a:endParaRPr lang="en-GB" dirty="0"/>
            </a:p>
          </p:txBody>
        </p:sp>
        <p:sp>
          <p:nvSpPr>
            <p:cNvPr id="1041" name="Freeform: Shape 1040">
              <a:extLst>
                <a:ext uri="{FF2B5EF4-FFF2-40B4-BE49-F238E27FC236}">
                  <a16:creationId xmlns:a16="http://schemas.microsoft.com/office/drawing/2014/main" id="{8B55D198-B84D-4E8C-B86E-4397420F02E5}"/>
                </a:ext>
              </a:extLst>
            </p:cNvPr>
            <p:cNvSpPr/>
            <p:nvPr/>
          </p:nvSpPr>
          <p:spPr>
            <a:xfrm>
              <a:off x="5826361" y="4218543"/>
              <a:ext cx="51728" cy="138285"/>
            </a:xfrm>
            <a:custGeom>
              <a:avLst/>
              <a:gdLst>
                <a:gd name="connsiteX0" fmla="*/ 51729 w 51728"/>
                <a:gd name="connsiteY0" fmla="*/ 131376 h 138285"/>
                <a:gd name="connsiteX1" fmla="*/ 27638 w 51728"/>
                <a:gd name="connsiteY1" fmla="*/ 138286 h 138285"/>
                <a:gd name="connsiteX2" fmla="*/ 20729 w 51728"/>
                <a:gd name="connsiteY2" fmla="*/ 83009 h 138285"/>
                <a:gd name="connsiteX3" fmla="*/ 13819 w 51728"/>
                <a:gd name="connsiteY3" fmla="*/ 58825 h 138285"/>
                <a:gd name="connsiteX4" fmla="*/ 20729 w 51728"/>
                <a:gd name="connsiteY4" fmla="*/ 31187 h 138285"/>
                <a:gd name="connsiteX5" fmla="*/ 0 w 51728"/>
                <a:gd name="connsiteY5" fmla="*/ 0 h 138285"/>
                <a:gd name="connsiteX6" fmla="*/ 37909 w 51728"/>
                <a:gd name="connsiteY6" fmla="*/ 0 h 138285"/>
                <a:gd name="connsiteX7" fmla="*/ 31000 w 51728"/>
                <a:gd name="connsiteY7" fmla="*/ 20822 h 138285"/>
                <a:gd name="connsiteX8" fmla="*/ 51729 w 51728"/>
                <a:gd name="connsiteY8" fmla="*/ 48461 h 138285"/>
                <a:gd name="connsiteX9" fmla="*/ 51729 w 51728"/>
                <a:gd name="connsiteY9" fmla="*/ 131376 h 13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28" h="138285">
                  <a:moveTo>
                    <a:pt x="51729" y="131376"/>
                  </a:moveTo>
                  <a:lnTo>
                    <a:pt x="27638" y="138286"/>
                  </a:lnTo>
                  <a:lnTo>
                    <a:pt x="20729" y="83009"/>
                  </a:lnTo>
                  <a:lnTo>
                    <a:pt x="13819" y="58825"/>
                  </a:lnTo>
                  <a:lnTo>
                    <a:pt x="20729" y="31187"/>
                  </a:lnTo>
                  <a:lnTo>
                    <a:pt x="0" y="0"/>
                  </a:lnTo>
                  <a:lnTo>
                    <a:pt x="37909" y="0"/>
                  </a:lnTo>
                  <a:lnTo>
                    <a:pt x="31000" y="20822"/>
                  </a:lnTo>
                  <a:lnTo>
                    <a:pt x="51729" y="48461"/>
                  </a:lnTo>
                  <a:lnTo>
                    <a:pt x="51729" y="131376"/>
                  </a:lnTo>
                  <a:close/>
                </a:path>
              </a:pathLst>
            </a:custGeom>
            <a:solidFill>
              <a:srgbClr val="CEE3BF"/>
            </a:solidFill>
            <a:ln w="9334" cap="flat">
              <a:noFill/>
              <a:prstDash val="solid"/>
              <a:miter/>
            </a:ln>
          </p:spPr>
          <p:txBody>
            <a:bodyPr rtlCol="0" anchor="ctr"/>
            <a:lstStyle/>
            <a:p>
              <a:endParaRPr lang="en-GB" dirty="0"/>
            </a:p>
          </p:txBody>
        </p:sp>
        <p:sp>
          <p:nvSpPr>
            <p:cNvPr id="1042" name="Freeform: Shape 1041">
              <a:extLst>
                <a:ext uri="{FF2B5EF4-FFF2-40B4-BE49-F238E27FC236}">
                  <a16:creationId xmlns:a16="http://schemas.microsoft.com/office/drawing/2014/main" id="{6E84FD82-A336-43F0-A631-6D5F48ACE248}"/>
                </a:ext>
              </a:extLst>
            </p:cNvPr>
            <p:cNvSpPr/>
            <p:nvPr/>
          </p:nvSpPr>
          <p:spPr>
            <a:xfrm>
              <a:off x="5505251" y="3831418"/>
              <a:ext cx="445390" cy="407947"/>
            </a:xfrm>
            <a:custGeom>
              <a:avLst/>
              <a:gdLst>
                <a:gd name="connsiteX0" fmla="*/ 207195 w 445390"/>
                <a:gd name="connsiteY0" fmla="*/ 0 h 407947"/>
                <a:gd name="connsiteX1" fmla="*/ 362475 w 445390"/>
                <a:gd name="connsiteY1" fmla="*/ 103738 h 407947"/>
                <a:gd name="connsiteX2" fmla="*/ 386658 w 445390"/>
                <a:gd name="connsiteY2" fmla="*/ 127921 h 407947"/>
                <a:gd name="connsiteX3" fmla="*/ 421207 w 445390"/>
                <a:gd name="connsiteY3" fmla="*/ 141741 h 407947"/>
                <a:gd name="connsiteX4" fmla="*/ 417752 w 445390"/>
                <a:gd name="connsiteY4" fmla="*/ 169379 h 407947"/>
                <a:gd name="connsiteX5" fmla="*/ 445390 w 445390"/>
                <a:gd name="connsiteY5" fmla="*/ 165924 h 407947"/>
                <a:gd name="connsiteX6" fmla="*/ 445390 w 445390"/>
                <a:gd name="connsiteY6" fmla="*/ 238569 h 407947"/>
                <a:gd name="connsiteX7" fmla="*/ 424661 w 445390"/>
                <a:gd name="connsiteY7" fmla="*/ 269662 h 407947"/>
                <a:gd name="connsiteX8" fmla="*/ 365930 w 445390"/>
                <a:gd name="connsiteY8" fmla="*/ 280026 h 407947"/>
                <a:gd name="connsiteX9" fmla="*/ 341839 w 445390"/>
                <a:gd name="connsiteY9" fmla="*/ 280026 h 407947"/>
                <a:gd name="connsiteX10" fmla="*/ 307291 w 445390"/>
                <a:gd name="connsiteY10" fmla="*/ 280026 h 407947"/>
                <a:gd name="connsiteX11" fmla="*/ 265834 w 445390"/>
                <a:gd name="connsiteY11" fmla="*/ 297300 h 407947"/>
                <a:gd name="connsiteX12" fmla="*/ 234740 w 445390"/>
                <a:gd name="connsiteY12" fmla="*/ 328394 h 407947"/>
                <a:gd name="connsiteX13" fmla="*/ 221015 w 445390"/>
                <a:gd name="connsiteY13" fmla="*/ 321484 h 407947"/>
                <a:gd name="connsiteX14" fmla="*/ 203740 w 445390"/>
                <a:gd name="connsiteY14" fmla="*/ 362942 h 407947"/>
                <a:gd name="connsiteX15" fmla="*/ 186466 w 445390"/>
                <a:gd name="connsiteY15" fmla="*/ 366397 h 407947"/>
                <a:gd name="connsiteX16" fmla="*/ 179557 w 445390"/>
                <a:gd name="connsiteY16" fmla="*/ 404493 h 407947"/>
                <a:gd name="connsiteX17" fmla="*/ 110461 w 445390"/>
                <a:gd name="connsiteY17" fmla="*/ 407948 h 407947"/>
                <a:gd name="connsiteX18" fmla="*/ 96641 w 445390"/>
                <a:gd name="connsiteY18" fmla="*/ 376761 h 407947"/>
                <a:gd name="connsiteX19" fmla="*/ 86370 w 445390"/>
                <a:gd name="connsiteY19" fmla="*/ 352577 h 407947"/>
                <a:gd name="connsiteX20" fmla="*/ 41458 w 445390"/>
                <a:gd name="connsiteY20" fmla="*/ 362942 h 407947"/>
                <a:gd name="connsiteX21" fmla="*/ 20729 w 445390"/>
                <a:gd name="connsiteY21" fmla="*/ 356032 h 407947"/>
                <a:gd name="connsiteX22" fmla="*/ 20729 w 445390"/>
                <a:gd name="connsiteY22" fmla="*/ 352577 h 407947"/>
                <a:gd name="connsiteX23" fmla="*/ 20729 w 445390"/>
                <a:gd name="connsiteY23" fmla="*/ 345668 h 407947"/>
                <a:gd name="connsiteX24" fmla="*/ 17274 w 445390"/>
                <a:gd name="connsiteY24" fmla="*/ 331848 h 407947"/>
                <a:gd name="connsiteX25" fmla="*/ 6910 w 445390"/>
                <a:gd name="connsiteY25" fmla="*/ 318029 h 407947"/>
                <a:gd name="connsiteX26" fmla="*/ 3455 w 445390"/>
                <a:gd name="connsiteY26" fmla="*/ 297300 h 407947"/>
                <a:gd name="connsiteX27" fmla="*/ 0 w 445390"/>
                <a:gd name="connsiteY27" fmla="*/ 286936 h 407947"/>
                <a:gd name="connsiteX28" fmla="*/ 10365 w 445390"/>
                <a:gd name="connsiteY28" fmla="*/ 262752 h 407947"/>
                <a:gd name="connsiteX29" fmla="*/ 183012 w 445390"/>
                <a:gd name="connsiteY29" fmla="*/ 266207 h 407947"/>
                <a:gd name="connsiteX30" fmla="*/ 186466 w 445390"/>
                <a:gd name="connsiteY30" fmla="*/ 248933 h 407947"/>
                <a:gd name="connsiteX31" fmla="*/ 176102 w 445390"/>
                <a:gd name="connsiteY31" fmla="*/ 235114 h 407947"/>
                <a:gd name="connsiteX32" fmla="*/ 155373 w 445390"/>
                <a:gd name="connsiteY32" fmla="*/ 0 h 407947"/>
                <a:gd name="connsiteX33" fmla="*/ 207195 w 445390"/>
                <a:gd name="connsiteY33" fmla="*/ 0 h 40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45390" h="407947">
                  <a:moveTo>
                    <a:pt x="207195" y="0"/>
                  </a:moveTo>
                  <a:lnTo>
                    <a:pt x="362475" y="103738"/>
                  </a:lnTo>
                  <a:lnTo>
                    <a:pt x="386658" y="127921"/>
                  </a:lnTo>
                  <a:lnTo>
                    <a:pt x="421207" y="141741"/>
                  </a:lnTo>
                  <a:lnTo>
                    <a:pt x="417752" y="169379"/>
                  </a:lnTo>
                  <a:lnTo>
                    <a:pt x="445390" y="165924"/>
                  </a:lnTo>
                  <a:lnTo>
                    <a:pt x="445390" y="238569"/>
                  </a:lnTo>
                  <a:lnTo>
                    <a:pt x="424661" y="269662"/>
                  </a:lnTo>
                  <a:lnTo>
                    <a:pt x="365930" y="280026"/>
                  </a:lnTo>
                  <a:lnTo>
                    <a:pt x="341839" y="280026"/>
                  </a:lnTo>
                  <a:lnTo>
                    <a:pt x="307291" y="280026"/>
                  </a:lnTo>
                  <a:lnTo>
                    <a:pt x="265834" y="297300"/>
                  </a:lnTo>
                  <a:lnTo>
                    <a:pt x="234740" y="328394"/>
                  </a:lnTo>
                  <a:lnTo>
                    <a:pt x="221015" y="321484"/>
                  </a:lnTo>
                  <a:lnTo>
                    <a:pt x="203740" y="362942"/>
                  </a:lnTo>
                  <a:lnTo>
                    <a:pt x="186466" y="366397"/>
                  </a:lnTo>
                  <a:lnTo>
                    <a:pt x="179557" y="404493"/>
                  </a:lnTo>
                  <a:lnTo>
                    <a:pt x="110461" y="407948"/>
                  </a:lnTo>
                  <a:lnTo>
                    <a:pt x="96641" y="376761"/>
                  </a:lnTo>
                  <a:lnTo>
                    <a:pt x="86370" y="352577"/>
                  </a:lnTo>
                  <a:lnTo>
                    <a:pt x="41458" y="362942"/>
                  </a:lnTo>
                  <a:lnTo>
                    <a:pt x="20729" y="356032"/>
                  </a:lnTo>
                  <a:lnTo>
                    <a:pt x="20729" y="352577"/>
                  </a:lnTo>
                  <a:lnTo>
                    <a:pt x="20729" y="345668"/>
                  </a:lnTo>
                  <a:lnTo>
                    <a:pt x="17274" y="331848"/>
                  </a:lnTo>
                  <a:lnTo>
                    <a:pt x="6910" y="318029"/>
                  </a:lnTo>
                  <a:lnTo>
                    <a:pt x="3455" y="297300"/>
                  </a:lnTo>
                  <a:lnTo>
                    <a:pt x="0" y="286936"/>
                  </a:lnTo>
                  <a:lnTo>
                    <a:pt x="10365" y="262752"/>
                  </a:lnTo>
                  <a:lnTo>
                    <a:pt x="183012" y="266207"/>
                  </a:lnTo>
                  <a:lnTo>
                    <a:pt x="186466" y="248933"/>
                  </a:lnTo>
                  <a:lnTo>
                    <a:pt x="176102" y="235114"/>
                  </a:lnTo>
                  <a:lnTo>
                    <a:pt x="155373" y="0"/>
                  </a:lnTo>
                  <a:lnTo>
                    <a:pt x="207195" y="0"/>
                  </a:lnTo>
                  <a:close/>
                </a:path>
              </a:pathLst>
            </a:custGeom>
            <a:solidFill>
              <a:srgbClr val="CEE3BF"/>
            </a:solidFill>
            <a:ln w="9334" cap="flat">
              <a:noFill/>
              <a:prstDash val="solid"/>
              <a:miter/>
            </a:ln>
          </p:spPr>
          <p:txBody>
            <a:bodyPr rtlCol="0" anchor="ctr"/>
            <a:lstStyle/>
            <a:p>
              <a:endParaRPr lang="en-GB" dirty="0"/>
            </a:p>
          </p:txBody>
        </p:sp>
        <p:sp>
          <p:nvSpPr>
            <p:cNvPr id="1043" name="Freeform: Shape 1042">
              <a:extLst>
                <a:ext uri="{FF2B5EF4-FFF2-40B4-BE49-F238E27FC236}">
                  <a16:creationId xmlns:a16="http://schemas.microsoft.com/office/drawing/2014/main" id="{74DFFB46-5896-4BC7-9996-16DF0D3797A9}"/>
                </a:ext>
              </a:extLst>
            </p:cNvPr>
            <p:cNvSpPr/>
            <p:nvPr/>
          </p:nvSpPr>
          <p:spPr>
            <a:xfrm>
              <a:off x="5684807" y="4111444"/>
              <a:ext cx="207101" cy="148649"/>
            </a:xfrm>
            <a:custGeom>
              <a:avLst/>
              <a:gdLst>
                <a:gd name="connsiteX0" fmla="*/ 75912 w 207101"/>
                <a:gd name="connsiteY0" fmla="*/ 107099 h 148649"/>
                <a:gd name="connsiteX1" fmla="*/ 75912 w 207101"/>
                <a:gd name="connsiteY1" fmla="*/ 145195 h 148649"/>
                <a:gd name="connsiteX2" fmla="*/ 51729 w 207101"/>
                <a:gd name="connsiteY2" fmla="*/ 134831 h 148649"/>
                <a:gd name="connsiteX3" fmla="*/ 34548 w 207101"/>
                <a:gd name="connsiteY3" fmla="*/ 148650 h 148649"/>
                <a:gd name="connsiteX4" fmla="*/ 0 w 207101"/>
                <a:gd name="connsiteY4" fmla="*/ 124466 h 148649"/>
                <a:gd name="connsiteX5" fmla="*/ 6910 w 207101"/>
                <a:gd name="connsiteY5" fmla="*/ 86370 h 148649"/>
                <a:gd name="connsiteX6" fmla="*/ 24184 w 207101"/>
                <a:gd name="connsiteY6" fmla="*/ 82915 h 148649"/>
                <a:gd name="connsiteX7" fmla="*/ 41458 w 207101"/>
                <a:gd name="connsiteY7" fmla="*/ 41458 h 148649"/>
                <a:gd name="connsiteX8" fmla="*/ 55184 w 207101"/>
                <a:gd name="connsiteY8" fmla="*/ 48367 h 148649"/>
                <a:gd name="connsiteX9" fmla="*/ 86277 w 207101"/>
                <a:gd name="connsiteY9" fmla="*/ 17274 h 148649"/>
                <a:gd name="connsiteX10" fmla="*/ 127734 w 207101"/>
                <a:gd name="connsiteY10" fmla="*/ 0 h 148649"/>
                <a:gd name="connsiteX11" fmla="*/ 162283 w 207101"/>
                <a:gd name="connsiteY11" fmla="*/ 0 h 148649"/>
                <a:gd name="connsiteX12" fmla="*/ 155373 w 207101"/>
                <a:gd name="connsiteY12" fmla="*/ 13819 h 148649"/>
                <a:gd name="connsiteX13" fmla="*/ 158828 w 207101"/>
                <a:gd name="connsiteY13" fmla="*/ 24184 h 148649"/>
                <a:gd name="connsiteX14" fmla="*/ 179463 w 207101"/>
                <a:gd name="connsiteY14" fmla="*/ 48367 h 148649"/>
                <a:gd name="connsiteX15" fmla="*/ 176102 w 207101"/>
                <a:gd name="connsiteY15" fmla="*/ 58732 h 148649"/>
                <a:gd name="connsiteX16" fmla="*/ 207102 w 207101"/>
                <a:gd name="connsiteY16" fmla="*/ 76006 h 148649"/>
                <a:gd name="connsiteX17" fmla="*/ 207102 w 207101"/>
                <a:gd name="connsiteY17" fmla="*/ 100189 h 148649"/>
                <a:gd name="connsiteX18" fmla="*/ 179463 w 207101"/>
                <a:gd name="connsiteY18" fmla="*/ 107099 h 148649"/>
                <a:gd name="connsiteX19" fmla="*/ 141554 w 207101"/>
                <a:gd name="connsiteY19" fmla="*/ 107099 h 148649"/>
                <a:gd name="connsiteX20" fmla="*/ 75912 w 207101"/>
                <a:gd name="connsiteY20" fmla="*/ 107099 h 148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7101" h="148649">
                  <a:moveTo>
                    <a:pt x="75912" y="107099"/>
                  </a:moveTo>
                  <a:lnTo>
                    <a:pt x="75912" y="145195"/>
                  </a:lnTo>
                  <a:lnTo>
                    <a:pt x="51729" y="134831"/>
                  </a:lnTo>
                  <a:lnTo>
                    <a:pt x="34548" y="148650"/>
                  </a:lnTo>
                  <a:lnTo>
                    <a:pt x="0" y="124466"/>
                  </a:lnTo>
                  <a:lnTo>
                    <a:pt x="6910" y="86370"/>
                  </a:lnTo>
                  <a:lnTo>
                    <a:pt x="24184" y="82915"/>
                  </a:lnTo>
                  <a:lnTo>
                    <a:pt x="41458" y="41458"/>
                  </a:lnTo>
                  <a:lnTo>
                    <a:pt x="55184" y="48367"/>
                  </a:lnTo>
                  <a:lnTo>
                    <a:pt x="86277" y="17274"/>
                  </a:lnTo>
                  <a:lnTo>
                    <a:pt x="127734" y="0"/>
                  </a:lnTo>
                  <a:lnTo>
                    <a:pt x="162283" y="0"/>
                  </a:lnTo>
                  <a:lnTo>
                    <a:pt x="155373" y="13819"/>
                  </a:lnTo>
                  <a:lnTo>
                    <a:pt x="158828" y="24184"/>
                  </a:lnTo>
                  <a:lnTo>
                    <a:pt x="179463" y="48367"/>
                  </a:lnTo>
                  <a:lnTo>
                    <a:pt x="176102" y="58732"/>
                  </a:lnTo>
                  <a:lnTo>
                    <a:pt x="207102" y="76006"/>
                  </a:lnTo>
                  <a:lnTo>
                    <a:pt x="207102" y="100189"/>
                  </a:lnTo>
                  <a:lnTo>
                    <a:pt x="179463" y="107099"/>
                  </a:lnTo>
                  <a:lnTo>
                    <a:pt x="141554" y="107099"/>
                  </a:lnTo>
                  <a:lnTo>
                    <a:pt x="75912" y="107099"/>
                  </a:lnTo>
                  <a:close/>
                </a:path>
              </a:pathLst>
            </a:custGeom>
            <a:solidFill>
              <a:srgbClr val="CEE3BF"/>
            </a:solidFill>
            <a:ln w="9334" cap="flat">
              <a:noFill/>
              <a:prstDash val="solid"/>
              <a:miter/>
            </a:ln>
          </p:spPr>
          <p:txBody>
            <a:bodyPr rtlCol="0" anchor="ctr"/>
            <a:lstStyle/>
            <a:p>
              <a:endParaRPr lang="en-GB" dirty="0"/>
            </a:p>
          </p:txBody>
        </p:sp>
        <p:sp>
          <p:nvSpPr>
            <p:cNvPr id="1044" name="Freeform: Shape 1043">
              <a:extLst>
                <a:ext uri="{FF2B5EF4-FFF2-40B4-BE49-F238E27FC236}">
                  <a16:creationId xmlns:a16="http://schemas.microsoft.com/office/drawing/2014/main" id="{C900E398-DEDF-44A3-831F-CFCBAA93B063}"/>
                </a:ext>
              </a:extLst>
            </p:cNvPr>
            <p:cNvSpPr/>
            <p:nvPr/>
          </p:nvSpPr>
          <p:spPr>
            <a:xfrm>
              <a:off x="5684807" y="4111444"/>
              <a:ext cx="207101" cy="148649"/>
            </a:xfrm>
            <a:custGeom>
              <a:avLst/>
              <a:gdLst>
                <a:gd name="connsiteX0" fmla="*/ 75912 w 207101"/>
                <a:gd name="connsiteY0" fmla="*/ 107099 h 148649"/>
                <a:gd name="connsiteX1" fmla="*/ 75912 w 207101"/>
                <a:gd name="connsiteY1" fmla="*/ 145195 h 148649"/>
                <a:gd name="connsiteX2" fmla="*/ 51729 w 207101"/>
                <a:gd name="connsiteY2" fmla="*/ 134831 h 148649"/>
                <a:gd name="connsiteX3" fmla="*/ 34548 w 207101"/>
                <a:gd name="connsiteY3" fmla="*/ 148650 h 148649"/>
                <a:gd name="connsiteX4" fmla="*/ 0 w 207101"/>
                <a:gd name="connsiteY4" fmla="*/ 124466 h 148649"/>
                <a:gd name="connsiteX5" fmla="*/ 6910 w 207101"/>
                <a:gd name="connsiteY5" fmla="*/ 86370 h 148649"/>
                <a:gd name="connsiteX6" fmla="*/ 24184 w 207101"/>
                <a:gd name="connsiteY6" fmla="*/ 82915 h 148649"/>
                <a:gd name="connsiteX7" fmla="*/ 41458 w 207101"/>
                <a:gd name="connsiteY7" fmla="*/ 41458 h 148649"/>
                <a:gd name="connsiteX8" fmla="*/ 55184 w 207101"/>
                <a:gd name="connsiteY8" fmla="*/ 48367 h 148649"/>
                <a:gd name="connsiteX9" fmla="*/ 86277 w 207101"/>
                <a:gd name="connsiteY9" fmla="*/ 17274 h 148649"/>
                <a:gd name="connsiteX10" fmla="*/ 127734 w 207101"/>
                <a:gd name="connsiteY10" fmla="*/ 0 h 148649"/>
                <a:gd name="connsiteX11" fmla="*/ 162283 w 207101"/>
                <a:gd name="connsiteY11" fmla="*/ 0 h 148649"/>
                <a:gd name="connsiteX12" fmla="*/ 155373 w 207101"/>
                <a:gd name="connsiteY12" fmla="*/ 13819 h 148649"/>
                <a:gd name="connsiteX13" fmla="*/ 158828 w 207101"/>
                <a:gd name="connsiteY13" fmla="*/ 24184 h 148649"/>
                <a:gd name="connsiteX14" fmla="*/ 179463 w 207101"/>
                <a:gd name="connsiteY14" fmla="*/ 48367 h 148649"/>
                <a:gd name="connsiteX15" fmla="*/ 176102 w 207101"/>
                <a:gd name="connsiteY15" fmla="*/ 58732 h 148649"/>
                <a:gd name="connsiteX16" fmla="*/ 207102 w 207101"/>
                <a:gd name="connsiteY16" fmla="*/ 76006 h 148649"/>
                <a:gd name="connsiteX17" fmla="*/ 207102 w 207101"/>
                <a:gd name="connsiteY17" fmla="*/ 100189 h 148649"/>
                <a:gd name="connsiteX18" fmla="*/ 179463 w 207101"/>
                <a:gd name="connsiteY18" fmla="*/ 107099 h 148649"/>
                <a:gd name="connsiteX19" fmla="*/ 141554 w 207101"/>
                <a:gd name="connsiteY19" fmla="*/ 107099 h 148649"/>
                <a:gd name="connsiteX20" fmla="*/ 75912 w 207101"/>
                <a:gd name="connsiteY20" fmla="*/ 107099 h 148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7101" h="148649">
                  <a:moveTo>
                    <a:pt x="75912" y="107099"/>
                  </a:moveTo>
                  <a:lnTo>
                    <a:pt x="75912" y="145195"/>
                  </a:lnTo>
                  <a:lnTo>
                    <a:pt x="51729" y="134831"/>
                  </a:lnTo>
                  <a:lnTo>
                    <a:pt x="34548" y="148650"/>
                  </a:lnTo>
                  <a:lnTo>
                    <a:pt x="0" y="124466"/>
                  </a:lnTo>
                  <a:lnTo>
                    <a:pt x="6910" y="86370"/>
                  </a:lnTo>
                  <a:lnTo>
                    <a:pt x="24184" y="82915"/>
                  </a:lnTo>
                  <a:lnTo>
                    <a:pt x="41458" y="41458"/>
                  </a:lnTo>
                  <a:lnTo>
                    <a:pt x="55184" y="48367"/>
                  </a:lnTo>
                  <a:lnTo>
                    <a:pt x="86277" y="17274"/>
                  </a:lnTo>
                  <a:lnTo>
                    <a:pt x="127734" y="0"/>
                  </a:lnTo>
                  <a:lnTo>
                    <a:pt x="162283" y="0"/>
                  </a:lnTo>
                  <a:lnTo>
                    <a:pt x="155373" y="13819"/>
                  </a:lnTo>
                  <a:lnTo>
                    <a:pt x="158828" y="24184"/>
                  </a:lnTo>
                  <a:lnTo>
                    <a:pt x="179463" y="48367"/>
                  </a:lnTo>
                  <a:lnTo>
                    <a:pt x="176102" y="58732"/>
                  </a:lnTo>
                  <a:lnTo>
                    <a:pt x="207102" y="76006"/>
                  </a:lnTo>
                  <a:lnTo>
                    <a:pt x="207102" y="100189"/>
                  </a:lnTo>
                  <a:lnTo>
                    <a:pt x="179463" y="107099"/>
                  </a:lnTo>
                  <a:lnTo>
                    <a:pt x="141554" y="107099"/>
                  </a:lnTo>
                  <a:lnTo>
                    <a:pt x="75912" y="107099"/>
                  </a:lnTo>
                  <a:close/>
                </a:path>
              </a:pathLst>
            </a:custGeom>
            <a:solidFill>
              <a:srgbClr val="CEE3BF"/>
            </a:solidFill>
            <a:ln w="9334" cap="flat">
              <a:noFill/>
              <a:prstDash val="solid"/>
              <a:miter/>
            </a:ln>
          </p:spPr>
          <p:txBody>
            <a:bodyPr rtlCol="0" anchor="ctr"/>
            <a:lstStyle/>
            <a:p>
              <a:endParaRPr lang="en-GB" dirty="0"/>
            </a:p>
          </p:txBody>
        </p:sp>
        <p:sp>
          <p:nvSpPr>
            <p:cNvPr id="1045" name="Freeform: Shape 1044">
              <a:extLst>
                <a:ext uri="{FF2B5EF4-FFF2-40B4-BE49-F238E27FC236}">
                  <a16:creationId xmlns:a16="http://schemas.microsoft.com/office/drawing/2014/main" id="{E2C238A4-9363-4460-8487-F3869DDC69B0}"/>
                </a:ext>
              </a:extLst>
            </p:cNvPr>
            <p:cNvSpPr/>
            <p:nvPr/>
          </p:nvSpPr>
          <p:spPr>
            <a:xfrm>
              <a:off x="5750355" y="4218543"/>
              <a:ext cx="103644" cy="172927"/>
            </a:xfrm>
            <a:custGeom>
              <a:avLst/>
              <a:gdLst>
                <a:gd name="connsiteX0" fmla="*/ 103644 w 103644"/>
                <a:gd name="connsiteY0" fmla="*/ 138286 h 172927"/>
                <a:gd name="connsiteX1" fmla="*/ 82915 w 103644"/>
                <a:gd name="connsiteY1" fmla="*/ 148650 h 172927"/>
                <a:gd name="connsiteX2" fmla="*/ 62187 w 103644"/>
                <a:gd name="connsiteY2" fmla="*/ 165924 h 172927"/>
                <a:gd name="connsiteX3" fmla="*/ 34548 w 103644"/>
                <a:gd name="connsiteY3" fmla="*/ 172927 h 172927"/>
                <a:gd name="connsiteX4" fmla="*/ 13819 w 103644"/>
                <a:gd name="connsiteY4" fmla="*/ 162469 h 172927"/>
                <a:gd name="connsiteX5" fmla="*/ 0 w 103644"/>
                <a:gd name="connsiteY5" fmla="*/ 124466 h 172927"/>
                <a:gd name="connsiteX6" fmla="*/ 17274 w 103644"/>
                <a:gd name="connsiteY6" fmla="*/ 86463 h 172927"/>
                <a:gd name="connsiteX7" fmla="*/ 10365 w 103644"/>
                <a:gd name="connsiteY7" fmla="*/ 38096 h 172927"/>
                <a:gd name="connsiteX8" fmla="*/ 10365 w 103644"/>
                <a:gd name="connsiteY8" fmla="*/ 0 h 172927"/>
                <a:gd name="connsiteX9" fmla="*/ 76006 w 103644"/>
                <a:gd name="connsiteY9" fmla="*/ 0 h 172927"/>
                <a:gd name="connsiteX10" fmla="*/ 96735 w 103644"/>
                <a:gd name="connsiteY10" fmla="*/ 31187 h 172927"/>
                <a:gd name="connsiteX11" fmla="*/ 89825 w 103644"/>
                <a:gd name="connsiteY11" fmla="*/ 51915 h 172927"/>
                <a:gd name="connsiteX12" fmla="*/ 93280 w 103644"/>
                <a:gd name="connsiteY12" fmla="*/ 69190 h 172927"/>
                <a:gd name="connsiteX13" fmla="*/ 96735 w 103644"/>
                <a:gd name="connsiteY13" fmla="*/ 83009 h 172927"/>
                <a:gd name="connsiteX14" fmla="*/ 103644 w 103644"/>
                <a:gd name="connsiteY14" fmla="*/ 138286 h 1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644" h="172927">
                  <a:moveTo>
                    <a:pt x="103644" y="138286"/>
                  </a:moveTo>
                  <a:lnTo>
                    <a:pt x="82915" y="148650"/>
                  </a:lnTo>
                  <a:lnTo>
                    <a:pt x="62187" y="165924"/>
                  </a:lnTo>
                  <a:lnTo>
                    <a:pt x="34548" y="172927"/>
                  </a:lnTo>
                  <a:lnTo>
                    <a:pt x="13819" y="162469"/>
                  </a:lnTo>
                  <a:lnTo>
                    <a:pt x="0" y="124466"/>
                  </a:lnTo>
                  <a:lnTo>
                    <a:pt x="17274" y="86463"/>
                  </a:lnTo>
                  <a:lnTo>
                    <a:pt x="10365" y="38096"/>
                  </a:lnTo>
                  <a:lnTo>
                    <a:pt x="10365" y="0"/>
                  </a:lnTo>
                  <a:lnTo>
                    <a:pt x="76006" y="0"/>
                  </a:lnTo>
                  <a:lnTo>
                    <a:pt x="96735" y="31187"/>
                  </a:lnTo>
                  <a:lnTo>
                    <a:pt x="89825" y="51915"/>
                  </a:lnTo>
                  <a:lnTo>
                    <a:pt x="93280" y="69190"/>
                  </a:lnTo>
                  <a:lnTo>
                    <a:pt x="96735" y="83009"/>
                  </a:lnTo>
                  <a:lnTo>
                    <a:pt x="103644" y="138286"/>
                  </a:lnTo>
                  <a:close/>
                </a:path>
              </a:pathLst>
            </a:custGeom>
            <a:solidFill>
              <a:srgbClr val="CEE3BF"/>
            </a:solidFill>
            <a:ln w="9334" cap="flat">
              <a:noFill/>
              <a:prstDash val="solid"/>
              <a:miter/>
            </a:ln>
          </p:spPr>
          <p:txBody>
            <a:bodyPr rtlCol="0" anchor="ctr"/>
            <a:lstStyle/>
            <a:p>
              <a:endParaRPr lang="en-GB" dirty="0"/>
            </a:p>
          </p:txBody>
        </p:sp>
        <p:sp>
          <p:nvSpPr>
            <p:cNvPr id="1046" name="Freeform: Shape 1045">
              <a:extLst>
                <a:ext uri="{FF2B5EF4-FFF2-40B4-BE49-F238E27FC236}">
                  <a16:creationId xmlns:a16="http://schemas.microsoft.com/office/drawing/2014/main" id="{2C3CF8F2-BFAF-4E56-BE82-C2C859F78896}"/>
                </a:ext>
              </a:extLst>
            </p:cNvPr>
            <p:cNvSpPr/>
            <p:nvPr/>
          </p:nvSpPr>
          <p:spPr>
            <a:xfrm>
              <a:off x="5750355" y="4218543"/>
              <a:ext cx="103644" cy="172927"/>
            </a:xfrm>
            <a:custGeom>
              <a:avLst/>
              <a:gdLst>
                <a:gd name="connsiteX0" fmla="*/ 103644 w 103644"/>
                <a:gd name="connsiteY0" fmla="*/ 138286 h 172927"/>
                <a:gd name="connsiteX1" fmla="*/ 82915 w 103644"/>
                <a:gd name="connsiteY1" fmla="*/ 148650 h 172927"/>
                <a:gd name="connsiteX2" fmla="*/ 62187 w 103644"/>
                <a:gd name="connsiteY2" fmla="*/ 165924 h 172927"/>
                <a:gd name="connsiteX3" fmla="*/ 34548 w 103644"/>
                <a:gd name="connsiteY3" fmla="*/ 172927 h 172927"/>
                <a:gd name="connsiteX4" fmla="*/ 13819 w 103644"/>
                <a:gd name="connsiteY4" fmla="*/ 162469 h 172927"/>
                <a:gd name="connsiteX5" fmla="*/ 0 w 103644"/>
                <a:gd name="connsiteY5" fmla="*/ 124466 h 172927"/>
                <a:gd name="connsiteX6" fmla="*/ 17274 w 103644"/>
                <a:gd name="connsiteY6" fmla="*/ 86463 h 172927"/>
                <a:gd name="connsiteX7" fmla="*/ 10365 w 103644"/>
                <a:gd name="connsiteY7" fmla="*/ 38096 h 172927"/>
                <a:gd name="connsiteX8" fmla="*/ 10365 w 103644"/>
                <a:gd name="connsiteY8" fmla="*/ 0 h 172927"/>
                <a:gd name="connsiteX9" fmla="*/ 76006 w 103644"/>
                <a:gd name="connsiteY9" fmla="*/ 0 h 172927"/>
                <a:gd name="connsiteX10" fmla="*/ 96735 w 103644"/>
                <a:gd name="connsiteY10" fmla="*/ 31187 h 172927"/>
                <a:gd name="connsiteX11" fmla="*/ 89825 w 103644"/>
                <a:gd name="connsiteY11" fmla="*/ 51915 h 172927"/>
                <a:gd name="connsiteX12" fmla="*/ 93280 w 103644"/>
                <a:gd name="connsiteY12" fmla="*/ 69190 h 172927"/>
                <a:gd name="connsiteX13" fmla="*/ 96735 w 103644"/>
                <a:gd name="connsiteY13" fmla="*/ 83009 h 172927"/>
                <a:gd name="connsiteX14" fmla="*/ 103644 w 103644"/>
                <a:gd name="connsiteY14" fmla="*/ 138286 h 1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644" h="172927">
                  <a:moveTo>
                    <a:pt x="103644" y="138286"/>
                  </a:moveTo>
                  <a:lnTo>
                    <a:pt x="82915" y="148650"/>
                  </a:lnTo>
                  <a:lnTo>
                    <a:pt x="62187" y="165924"/>
                  </a:lnTo>
                  <a:lnTo>
                    <a:pt x="34548" y="172927"/>
                  </a:lnTo>
                  <a:lnTo>
                    <a:pt x="13819" y="162469"/>
                  </a:lnTo>
                  <a:lnTo>
                    <a:pt x="0" y="124466"/>
                  </a:lnTo>
                  <a:lnTo>
                    <a:pt x="17274" y="86463"/>
                  </a:lnTo>
                  <a:lnTo>
                    <a:pt x="10365" y="38096"/>
                  </a:lnTo>
                  <a:lnTo>
                    <a:pt x="10365" y="0"/>
                  </a:lnTo>
                  <a:lnTo>
                    <a:pt x="76006" y="0"/>
                  </a:lnTo>
                  <a:lnTo>
                    <a:pt x="96735" y="31187"/>
                  </a:lnTo>
                  <a:lnTo>
                    <a:pt x="89825" y="51915"/>
                  </a:lnTo>
                  <a:lnTo>
                    <a:pt x="93280" y="69190"/>
                  </a:lnTo>
                  <a:lnTo>
                    <a:pt x="96735" y="83009"/>
                  </a:lnTo>
                  <a:lnTo>
                    <a:pt x="103644" y="138286"/>
                  </a:lnTo>
                  <a:close/>
                </a:path>
              </a:pathLst>
            </a:custGeom>
            <a:solidFill>
              <a:srgbClr val="CEE3BF"/>
            </a:solidFill>
            <a:ln w="9334" cap="flat">
              <a:noFill/>
              <a:prstDash val="solid"/>
              <a:miter/>
            </a:ln>
          </p:spPr>
          <p:txBody>
            <a:bodyPr rtlCol="0" anchor="ctr"/>
            <a:lstStyle/>
            <a:p>
              <a:endParaRPr lang="en-GB" dirty="0"/>
            </a:p>
          </p:txBody>
        </p:sp>
        <p:sp>
          <p:nvSpPr>
            <p:cNvPr id="1047" name="Freeform: Shape 1046">
              <a:extLst>
                <a:ext uri="{FF2B5EF4-FFF2-40B4-BE49-F238E27FC236}">
                  <a16:creationId xmlns:a16="http://schemas.microsoft.com/office/drawing/2014/main" id="{ED648C5C-36D5-4E4C-A368-D59122FFEEF5}"/>
                </a:ext>
              </a:extLst>
            </p:cNvPr>
            <p:cNvSpPr/>
            <p:nvPr/>
          </p:nvSpPr>
          <p:spPr>
            <a:xfrm>
              <a:off x="5605347" y="4235910"/>
              <a:ext cx="162282" cy="169379"/>
            </a:xfrm>
            <a:custGeom>
              <a:avLst/>
              <a:gdLst>
                <a:gd name="connsiteX0" fmla="*/ 158828 w 162282"/>
                <a:gd name="connsiteY0" fmla="*/ 145102 h 169379"/>
                <a:gd name="connsiteX1" fmla="*/ 86370 w 162282"/>
                <a:gd name="connsiteY1" fmla="*/ 145102 h 169379"/>
                <a:gd name="connsiteX2" fmla="*/ 41458 w 162282"/>
                <a:gd name="connsiteY2" fmla="*/ 162469 h 169379"/>
                <a:gd name="connsiteX3" fmla="*/ 20729 w 162282"/>
                <a:gd name="connsiteY3" fmla="*/ 169379 h 169379"/>
                <a:gd name="connsiteX4" fmla="*/ 27639 w 162282"/>
                <a:gd name="connsiteY4" fmla="*/ 134737 h 169379"/>
                <a:gd name="connsiteX5" fmla="*/ 24184 w 162282"/>
                <a:gd name="connsiteY5" fmla="*/ 124373 h 169379"/>
                <a:gd name="connsiteX6" fmla="*/ 13819 w 162282"/>
                <a:gd name="connsiteY6" fmla="*/ 117464 h 169379"/>
                <a:gd name="connsiteX7" fmla="*/ 0 w 162282"/>
                <a:gd name="connsiteY7" fmla="*/ 114009 h 169379"/>
                <a:gd name="connsiteX8" fmla="*/ 0 w 162282"/>
                <a:gd name="connsiteY8" fmla="*/ 96735 h 169379"/>
                <a:gd name="connsiteX9" fmla="*/ 0 w 162282"/>
                <a:gd name="connsiteY9" fmla="*/ 82915 h 169379"/>
                <a:gd name="connsiteX10" fmla="*/ 10365 w 162282"/>
                <a:gd name="connsiteY10" fmla="*/ 76006 h 169379"/>
                <a:gd name="connsiteX11" fmla="*/ 6910 w 162282"/>
                <a:gd name="connsiteY11" fmla="*/ 58732 h 169379"/>
                <a:gd name="connsiteX12" fmla="*/ 17274 w 162282"/>
                <a:gd name="connsiteY12" fmla="*/ 55277 h 169379"/>
                <a:gd name="connsiteX13" fmla="*/ 13819 w 162282"/>
                <a:gd name="connsiteY13" fmla="*/ 31093 h 169379"/>
                <a:gd name="connsiteX14" fmla="*/ 6910 w 162282"/>
                <a:gd name="connsiteY14" fmla="*/ 17274 h 169379"/>
                <a:gd name="connsiteX15" fmla="*/ 10365 w 162282"/>
                <a:gd name="connsiteY15" fmla="*/ 3455 h 169379"/>
                <a:gd name="connsiteX16" fmla="*/ 79461 w 162282"/>
                <a:gd name="connsiteY16" fmla="*/ 0 h 169379"/>
                <a:gd name="connsiteX17" fmla="*/ 114009 w 162282"/>
                <a:gd name="connsiteY17" fmla="*/ 24184 h 169379"/>
                <a:gd name="connsiteX18" fmla="*/ 131190 w 162282"/>
                <a:gd name="connsiteY18" fmla="*/ 10365 h 169379"/>
                <a:gd name="connsiteX19" fmla="*/ 155373 w 162282"/>
                <a:gd name="connsiteY19" fmla="*/ 20729 h 169379"/>
                <a:gd name="connsiteX20" fmla="*/ 162283 w 162282"/>
                <a:gd name="connsiteY20" fmla="*/ 69096 h 169379"/>
                <a:gd name="connsiteX21" fmla="*/ 145009 w 162282"/>
                <a:gd name="connsiteY21" fmla="*/ 107099 h 169379"/>
                <a:gd name="connsiteX22" fmla="*/ 158828 w 162282"/>
                <a:gd name="connsiteY22" fmla="*/ 145102 h 16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2282" h="169379">
                  <a:moveTo>
                    <a:pt x="158828" y="145102"/>
                  </a:moveTo>
                  <a:lnTo>
                    <a:pt x="86370" y="145102"/>
                  </a:lnTo>
                  <a:lnTo>
                    <a:pt x="41458" y="162469"/>
                  </a:lnTo>
                  <a:lnTo>
                    <a:pt x="20729" y="169379"/>
                  </a:lnTo>
                  <a:lnTo>
                    <a:pt x="27639" y="134737"/>
                  </a:lnTo>
                  <a:lnTo>
                    <a:pt x="24184" y="124373"/>
                  </a:lnTo>
                  <a:lnTo>
                    <a:pt x="13819" y="117464"/>
                  </a:lnTo>
                  <a:lnTo>
                    <a:pt x="0" y="114009"/>
                  </a:lnTo>
                  <a:lnTo>
                    <a:pt x="0" y="96735"/>
                  </a:lnTo>
                  <a:lnTo>
                    <a:pt x="0" y="82915"/>
                  </a:lnTo>
                  <a:lnTo>
                    <a:pt x="10365" y="76006"/>
                  </a:lnTo>
                  <a:lnTo>
                    <a:pt x="6910" y="58732"/>
                  </a:lnTo>
                  <a:lnTo>
                    <a:pt x="17274" y="55277"/>
                  </a:lnTo>
                  <a:lnTo>
                    <a:pt x="13819" y="31093"/>
                  </a:lnTo>
                  <a:lnTo>
                    <a:pt x="6910" y="17274"/>
                  </a:lnTo>
                  <a:lnTo>
                    <a:pt x="10365" y="3455"/>
                  </a:lnTo>
                  <a:lnTo>
                    <a:pt x="79461" y="0"/>
                  </a:lnTo>
                  <a:lnTo>
                    <a:pt x="114009" y="24184"/>
                  </a:lnTo>
                  <a:lnTo>
                    <a:pt x="131190" y="10365"/>
                  </a:lnTo>
                  <a:lnTo>
                    <a:pt x="155373" y="20729"/>
                  </a:lnTo>
                  <a:lnTo>
                    <a:pt x="162283" y="69096"/>
                  </a:lnTo>
                  <a:lnTo>
                    <a:pt x="145009" y="107099"/>
                  </a:lnTo>
                  <a:lnTo>
                    <a:pt x="158828" y="145102"/>
                  </a:lnTo>
                  <a:close/>
                </a:path>
              </a:pathLst>
            </a:custGeom>
            <a:solidFill>
              <a:srgbClr val="CEE3BF"/>
            </a:solidFill>
            <a:ln w="9334" cap="flat">
              <a:noFill/>
              <a:prstDash val="solid"/>
              <a:miter/>
            </a:ln>
          </p:spPr>
          <p:txBody>
            <a:bodyPr rtlCol="0" anchor="ctr"/>
            <a:lstStyle/>
            <a:p>
              <a:endParaRPr lang="en-GB" dirty="0"/>
            </a:p>
          </p:txBody>
        </p:sp>
        <p:sp>
          <p:nvSpPr>
            <p:cNvPr id="1048" name="Freeform: Shape 1047">
              <a:extLst>
                <a:ext uri="{FF2B5EF4-FFF2-40B4-BE49-F238E27FC236}">
                  <a16:creationId xmlns:a16="http://schemas.microsoft.com/office/drawing/2014/main" id="{BEC6F448-590F-406B-A168-7C1FF4243A66}"/>
                </a:ext>
              </a:extLst>
            </p:cNvPr>
            <p:cNvSpPr/>
            <p:nvPr/>
          </p:nvSpPr>
          <p:spPr>
            <a:xfrm>
              <a:off x="5605347" y="4235910"/>
              <a:ext cx="162282" cy="169379"/>
            </a:xfrm>
            <a:custGeom>
              <a:avLst/>
              <a:gdLst>
                <a:gd name="connsiteX0" fmla="*/ 158828 w 162282"/>
                <a:gd name="connsiteY0" fmla="*/ 145102 h 169379"/>
                <a:gd name="connsiteX1" fmla="*/ 86370 w 162282"/>
                <a:gd name="connsiteY1" fmla="*/ 145102 h 169379"/>
                <a:gd name="connsiteX2" fmla="*/ 41458 w 162282"/>
                <a:gd name="connsiteY2" fmla="*/ 162469 h 169379"/>
                <a:gd name="connsiteX3" fmla="*/ 20729 w 162282"/>
                <a:gd name="connsiteY3" fmla="*/ 169379 h 169379"/>
                <a:gd name="connsiteX4" fmla="*/ 27639 w 162282"/>
                <a:gd name="connsiteY4" fmla="*/ 134737 h 169379"/>
                <a:gd name="connsiteX5" fmla="*/ 24184 w 162282"/>
                <a:gd name="connsiteY5" fmla="*/ 124373 h 169379"/>
                <a:gd name="connsiteX6" fmla="*/ 13819 w 162282"/>
                <a:gd name="connsiteY6" fmla="*/ 117464 h 169379"/>
                <a:gd name="connsiteX7" fmla="*/ 0 w 162282"/>
                <a:gd name="connsiteY7" fmla="*/ 114009 h 169379"/>
                <a:gd name="connsiteX8" fmla="*/ 0 w 162282"/>
                <a:gd name="connsiteY8" fmla="*/ 96735 h 169379"/>
                <a:gd name="connsiteX9" fmla="*/ 0 w 162282"/>
                <a:gd name="connsiteY9" fmla="*/ 82915 h 169379"/>
                <a:gd name="connsiteX10" fmla="*/ 10365 w 162282"/>
                <a:gd name="connsiteY10" fmla="*/ 76006 h 169379"/>
                <a:gd name="connsiteX11" fmla="*/ 6910 w 162282"/>
                <a:gd name="connsiteY11" fmla="*/ 58732 h 169379"/>
                <a:gd name="connsiteX12" fmla="*/ 17274 w 162282"/>
                <a:gd name="connsiteY12" fmla="*/ 55277 h 169379"/>
                <a:gd name="connsiteX13" fmla="*/ 13819 w 162282"/>
                <a:gd name="connsiteY13" fmla="*/ 31093 h 169379"/>
                <a:gd name="connsiteX14" fmla="*/ 6910 w 162282"/>
                <a:gd name="connsiteY14" fmla="*/ 17274 h 169379"/>
                <a:gd name="connsiteX15" fmla="*/ 10365 w 162282"/>
                <a:gd name="connsiteY15" fmla="*/ 3455 h 169379"/>
                <a:gd name="connsiteX16" fmla="*/ 79461 w 162282"/>
                <a:gd name="connsiteY16" fmla="*/ 0 h 169379"/>
                <a:gd name="connsiteX17" fmla="*/ 114009 w 162282"/>
                <a:gd name="connsiteY17" fmla="*/ 24184 h 169379"/>
                <a:gd name="connsiteX18" fmla="*/ 131190 w 162282"/>
                <a:gd name="connsiteY18" fmla="*/ 10365 h 169379"/>
                <a:gd name="connsiteX19" fmla="*/ 155373 w 162282"/>
                <a:gd name="connsiteY19" fmla="*/ 20729 h 169379"/>
                <a:gd name="connsiteX20" fmla="*/ 162283 w 162282"/>
                <a:gd name="connsiteY20" fmla="*/ 69096 h 169379"/>
                <a:gd name="connsiteX21" fmla="*/ 145009 w 162282"/>
                <a:gd name="connsiteY21" fmla="*/ 107099 h 169379"/>
                <a:gd name="connsiteX22" fmla="*/ 158828 w 162282"/>
                <a:gd name="connsiteY22" fmla="*/ 145102 h 16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2282" h="169379">
                  <a:moveTo>
                    <a:pt x="158828" y="145102"/>
                  </a:moveTo>
                  <a:lnTo>
                    <a:pt x="86370" y="145102"/>
                  </a:lnTo>
                  <a:lnTo>
                    <a:pt x="41458" y="162469"/>
                  </a:lnTo>
                  <a:lnTo>
                    <a:pt x="20729" y="169379"/>
                  </a:lnTo>
                  <a:lnTo>
                    <a:pt x="27639" y="134737"/>
                  </a:lnTo>
                  <a:lnTo>
                    <a:pt x="24184" y="124373"/>
                  </a:lnTo>
                  <a:lnTo>
                    <a:pt x="13819" y="117464"/>
                  </a:lnTo>
                  <a:lnTo>
                    <a:pt x="0" y="114009"/>
                  </a:lnTo>
                  <a:lnTo>
                    <a:pt x="0" y="96735"/>
                  </a:lnTo>
                  <a:lnTo>
                    <a:pt x="0" y="82915"/>
                  </a:lnTo>
                  <a:lnTo>
                    <a:pt x="10365" y="76006"/>
                  </a:lnTo>
                  <a:lnTo>
                    <a:pt x="6910" y="58732"/>
                  </a:lnTo>
                  <a:lnTo>
                    <a:pt x="17274" y="55277"/>
                  </a:lnTo>
                  <a:lnTo>
                    <a:pt x="13819" y="31093"/>
                  </a:lnTo>
                  <a:lnTo>
                    <a:pt x="6910" y="17274"/>
                  </a:lnTo>
                  <a:lnTo>
                    <a:pt x="10365" y="3455"/>
                  </a:lnTo>
                  <a:lnTo>
                    <a:pt x="79461" y="0"/>
                  </a:lnTo>
                  <a:lnTo>
                    <a:pt x="114009" y="24184"/>
                  </a:lnTo>
                  <a:lnTo>
                    <a:pt x="131190" y="10365"/>
                  </a:lnTo>
                  <a:lnTo>
                    <a:pt x="155373" y="20729"/>
                  </a:lnTo>
                  <a:lnTo>
                    <a:pt x="162283" y="69096"/>
                  </a:lnTo>
                  <a:lnTo>
                    <a:pt x="145009" y="107099"/>
                  </a:lnTo>
                  <a:lnTo>
                    <a:pt x="158828" y="145102"/>
                  </a:lnTo>
                  <a:close/>
                </a:path>
              </a:pathLst>
            </a:custGeom>
            <a:solidFill>
              <a:srgbClr val="CEE3BF"/>
            </a:solidFill>
            <a:ln w="9334" cap="flat">
              <a:noFill/>
              <a:prstDash val="solid"/>
              <a:miter/>
            </a:ln>
          </p:spPr>
          <p:txBody>
            <a:bodyPr rtlCol="0" anchor="ctr"/>
            <a:lstStyle/>
            <a:p>
              <a:endParaRPr lang="en-GB" dirty="0"/>
            </a:p>
          </p:txBody>
        </p:sp>
        <p:sp>
          <p:nvSpPr>
            <p:cNvPr id="1049" name="Freeform: Shape 1048">
              <a:extLst>
                <a:ext uri="{FF2B5EF4-FFF2-40B4-BE49-F238E27FC236}">
                  <a16:creationId xmlns:a16="http://schemas.microsoft.com/office/drawing/2014/main" id="{81EA50A3-0DCC-45FC-88BA-9F109E7506C3}"/>
                </a:ext>
              </a:extLst>
            </p:cNvPr>
            <p:cNvSpPr/>
            <p:nvPr/>
          </p:nvSpPr>
          <p:spPr>
            <a:xfrm>
              <a:off x="6099104" y="4460566"/>
              <a:ext cx="50047" cy="41457"/>
            </a:xfrm>
            <a:custGeom>
              <a:avLst/>
              <a:gdLst>
                <a:gd name="connsiteX0" fmla="*/ 6910 w 50047"/>
                <a:gd name="connsiteY0" fmla="*/ 0 h 41457"/>
                <a:gd name="connsiteX1" fmla="*/ 50048 w 50047"/>
                <a:gd name="connsiteY1" fmla="*/ 0 h 41457"/>
                <a:gd name="connsiteX2" fmla="*/ 44819 w 50047"/>
                <a:gd name="connsiteY2" fmla="*/ 38003 h 41457"/>
                <a:gd name="connsiteX3" fmla="*/ 3455 w 50047"/>
                <a:gd name="connsiteY3" fmla="*/ 41458 h 41457"/>
                <a:gd name="connsiteX4" fmla="*/ 0 w 50047"/>
                <a:gd name="connsiteY4" fmla="*/ 17274 h 41457"/>
                <a:gd name="connsiteX5" fmla="*/ 6910 w 50047"/>
                <a:gd name="connsiteY5" fmla="*/ 0 h 4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47" h="41457">
                  <a:moveTo>
                    <a:pt x="6910" y="0"/>
                  </a:moveTo>
                  <a:lnTo>
                    <a:pt x="50048" y="0"/>
                  </a:lnTo>
                  <a:lnTo>
                    <a:pt x="44819" y="38003"/>
                  </a:lnTo>
                  <a:lnTo>
                    <a:pt x="3455" y="41458"/>
                  </a:lnTo>
                  <a:lnTo>
                    <a:pt x="0" y="17274"/>
                  </a:lnTo>
                  <a:lnTo>
                    <a:pt x="6910" y="0"/>
                  </a:lnTo>
                  <a:close/>
                </a:path>
              </a:pathLst>
            </a:custGeom>
            <a:solidFill>
              <a:srgbClr val="CEE3BF"/>
            </a:solidFill>
            <a:ln w="9334" cap="flat">
              <a:noFill/>
              <a:prstDash val="solid"/>
              <a:miter/>
            </a:ln>
          </p:spPr>
          <p:txBody>
            <a:bodyPr rtlCol="0" anchor="ctr"/>
            <a:lstStyle/>
            <a:p>
              <a:endParaRPr lang="en-GB" dirty="0"/>
            </a:p>
          </p:txBody>
        </p:sp>
        <p:sp>
          <p:nvSpPr>
            <p:cNvPr id="1050" name="Freeform: Shape 1049">
              <a:extLst>
                <a:ext uri="{FF2B5EF4-FFF2-40B4-BE49-F238E27FC236}">
                  <a16:creationId xmlns:a16="http://schemas.microsoft.com/office/drawing/2014/main" id="{0A04E6BF-4E29-4963-B9E5-BA025DB2F567}"/>
                </a:ext>
              </a:extLst>
            </p:cNvPr>
            <p:cNvSpPr/>
            <p:nvPr/>
          </p:nvSpPr>
          <p:spPr>
            <a:xfrm>
              <a:off x="6099104" y="4460566"/>
              <a:ext cx="50047" cy="41457"/>
            </a:xfrm>
            <a:custGeom>
              <a:avLst/>
              <a:gdLst>
                <a:gd name="connsiteX0" fmla="*/ 6910 w 50047"/>
                <a:gd name="connsiteY0" fmla="*/ 0 h 41457"/>
                <a:gd name="connsiteX1" fmla="*/ 50048 w 50047"/>
                <a:gd name="connsiteY1" fmla="*/ 0 h 41457"/>
                <a:gd name="connsiteX2" fmla="*/ 44819 w 50047"/>
                <a:gd name="connsiteY2" fmla="*/ 38003 h 41457"/>
                <a:gd name="connsiteX3" fmla="*/ 3455 w 50047"/>
                <a:gd name="connsiteY3" fmla="*/ 41458 h 41457"/>
                <a:gd name="connsiteX4" fmla="*/ 0 w 50047"/>
                <a:gd name="connsiteY4" fmla="*/ 17274 h 41457"/>
                <a:gd name="connsiteX5" fmla="*/ 6910 w 50047"/>
                <a:gd name="connsiteY5" fmla="*/ 0 h 4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47" h="41457">
                  <a:moveTo>
                    <a:pt x="6910" y="0"/>
                  </a:moveTo>
                  <a:lnTo>
                    <a:pt x="50048" y="0"/>
                  </a:lnTo>
                  <a:lnTo>
                    <a:pt x="44819" y="38003"/>
                  </a:lnTo>
                  <a:lnTo>
                    <a:pt x="3455" y="41458"/>
                  </a:lnTo>
                  <a:lnTo>
                    <a:pt x="0" y="17274"/>
                  </a:lnTo>
                  <a:lnTo>
                    <a:pt x="6910" y="0"/>
                  </a:lnTo>
                  <a:close/>
                </a:path>
              </a:pathLst>
            </a:custGeom>
            <a:solidFill>
              <a:srgbClr val="CEE3BF"/>
            </a:solidFill>
            <a:ln w="9334" cap="flat">
              <a:noFill/>
              <a:prstDash val="solid"/>
              <a:miter/>
            </a:ln>
          </p:spPr>
          <p:txBody>
            <a:bodyPr rtlCol="0" anchor="ctr"/>
            <a:lstStyle/>
            <a:p>
              <a:endParaRPr lang="en-GB" dirty="0"/>
            </a:p>
          </p:txBody>
        </p:sp>
        <p:sp>
          <p:nvSpPr>
            <p:cNvPr id="1051" name="Freeform: Shape 1050">
              <a:extLst>
                <a:ext uri="{FF2B5EF4-FFF2-40B4-BE49-F238E27FC236}">
                  <a16:creationId xmlns:a16="http://schemas.microsoft.com/office/drawing/2014/main" id="{23CD779F-431F-4CFB-BB09-7B426E8611FB}"/>
                </a:ext>
              </a:extLst>
            </p:cNvPr>
            <p:cNvSpPr/>
            <p:nvPr/>
          </p:nvSpPr>
          <p:spPr>
            <a:xfrm>
              <a:off x="7022565" y="4854601"/>
              <a:ext cx="196830" cy="387218"/>
            </a:xfrm>
            <a:custGeom>
              <a:avLst/>
              <a:gdLst>
                <a:gd name="connsiteX0" fmla="*/ 38003 w 196830"/>
                <a:gd name="connsiteY0" fmla="*/ 121012 h 387218"/>
                <a:gd name="connsiteX1" fmla="*/ 79461 w 196830"/>
                <a:gd name="connsiteY1" fmla="*/ 103737 h 387218"/>
                <a:gd name="connsiteX2" fmla="*/ 120825 w 196830"/>
                <a:gd name="connsiteY2" fmla="*/ 76099 h 387218"/>
                <a:gd name="connsiteX3" fmla="*/ 134644 w 196830"/>
                <a:gd name="connsiteY3" fmla="*/ 51915 h 387218"/>
                <a:gd name="connsiteX4" fmla="*/ 148463 w 196830"/>
                <a:gd name="connsiteY4" fmla="*/ 45006 h 387218"/>
                <a:gd name="connsiteX5" fmla="*/ 162283 w 196830"/>
                <a:gd name="connsiteY5" fmla="*/ 17367 h 387218"/>
                <a:gd name="connsiteX6" fmla="*/ 165737 w 196830"/>
                <a:gd name="connsiteY6" fmla="*/ 0 h 387218"/>
                <a:gd name="connsiteX7" fmla="*/ 186466 w 196830"/>
                <a:gd name="connsiteY7" fmla="*/ 34641 h 387218"/>
                <a:gd name="connsiteX8" fmla="*/ 193376 w 196830"/>
                <a:gd name="connsiteY8" fmla="*/ 69190 h 387218"/>
                <a:gd name="connsiteX9" fmla="*/ 196830 w 196830"/>
                <a:gd name="connsiteY9" fmla="*/ 89918 h 387218"/>
                <a:gd name="connsiteX10" fmla="*/ 196830 w 196830"/>
                <a:gd name="connsiteY10" fmla="*/ 110647 h 387218"/>
                <a:gd name="connsiteX11" fmla="*/ 176102 w 196830"/>
                <a:gd name="connsiteY11" fmla="*/ 114102 h 387218"/>
                <a:gd name="connsiteX12" fmla="*/ 176102 w 196830"/>
                <a:gd name="connsiteY12" fmla="*/ 141740 h 387218"/>
                <a:gd name="connsiteX13" fmla="*/ 141554 w 196830"/>
                <a:gd name="connsiteY13" fmla="*/ 259297 h 387218"/>
                <a:gd name="connsiteX14" fmla="*/ 127734 w 196830"/>
                <a:gd name="connsiteY14" fmla="*/ 314574 h 387218"/>
                <a:gd name="connsiteX15" fmla="*/ 107005 w 196830"/>
                <a:gd name="connsiteY15" fmla="*/ 369945 h 387218"/>
                <a:gd name="connsiteX16" fmla="*/ 69096 w 196830"/>
                <a:gd name="connsiteY16" fmla="*/ 387219 h 387218"/>
                <a:gd name="connsiteX17" fmla="*/ 31093 w 196830"/>
                <a:gd name="connsiteY17" fmla="*/ 383764 h 387218"/>
                <a:gd name="connsiteX18" fmla="*/ 13819 w 196830"/>
                <a:gd name="connsiteY18" fmla="*/ 349216 h 387218"/>
                <a:gd name="connsiteX19" fmla="*/ 10364 w 196830"/>
                <a:gd name="connsiteY19" fmla="*/ 314574 h 387218"/>
                <a:gd name="connsiteX20" fmla="*/ 0 w 196830"/>
                <a:gd name="connsiteY20" fmla="*/ 283481 h 387218"/>
                <a:gd name="connsiteX21" fmla="*/ 27638 w 196830"/>
                <a:gd name="connsiteY21" fmla="*/ 245478 h 387218"/>
                <a:gd name="connsiteX22" fmla="*/ 34548 w 196830"/>
                <a:gd name="connsiteY22" fmla="*/ 210930 h 387218"/>
                <a:gd name="connsiteX23" fmla="*/ 27638 w 196830"/>
                <a:gd name="connsiteY23" fmla="*/ 183292 h 387218"/>
                <a:gd name="connsiteX24" fmla="*/ 17274 w 196830"/>
                <a:gd name="connsiteY24" fmla="*/ 155560 h 387218"/>
                <a:gd name="connsiteX25" fmla="*/ 31093 w 196830"/>
                <a:gd name="connsiteY25" fmla="*/ 138286 h 387218"/>
                <a:gd name="connsiteX26" fmla="*/ 38003 w 196830"/>
                <a:gd name="connsiteY26" fmla="*/ 121012 h 38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830" h="387218">
                  <a:moveTo>
                    <a:pt x="38003" y="121012"/>
                  </a:moveTo>
                  <a:lnTo>
                    <a:pt x="79461" y="103737"/>
                  </a:lnTo>
                  <a:lnTo>
                    <a:pt x="120825" y="76099"/>
                  </a:lnTo>
                  <a:lnTo>
                    <a:pt x="134644" y="51915"/>
                  </a:lnTo>
                  <a:lnTo>
                    <a:pt x="148463" y="45006"/>
                  </a:lnTo>
                  <a:lnTo>
                    <a:pt x="162283" y="17367"/>
                  </a:lnTo>
                  <a:lnTo>
                    <a:pt x="165737" y="0"/>
                  </a:lnTo>
                  <a:lnTo>
                    <a:pt x="186466" y="34641"/>
                  </a:lnTo>
                  <a:lnTo>
                    <a:pt x="193376" y="69190"/>
                  </a:lnTo>
                  <a:lnTo>
                    <a:pt x="196830" y="89918"/>
                  </a:lnTo>
                  <a:lnTo>
                    <a:pt x="196830" y="110647"/>
                  </a:lnTo>
                  <a:lnTo>
                    <a:pt x="176102" y="114102"/>
                  </a:lnTo>
                  <a:lnTo>
                    <a:pt x="176102" y="141740"/>
                  </a:lnTo>
                  <a:lnTo>
                    <a:pt x="141554" y="259297"/>
                  </a:lnTo>
                  <a:lnTo>
                    <a:pt x="127734" y="314574"/>
                  </a:lnTo>
                  <a:lnTo>
                    <a:pt x="107005" y="369945"/>
                  </a:lnTo>
                  <a:lnTo>
                    <a:pt x="69096" y="387219"/>
                  </a:lnTo>
                  <a:lnTo>
                    <a:pt x="31093" y="383764"/>
                  </a:lnTo>
                  <a:lnTo>
                    <a:pt x="13819" y="349216"/>
                  </a:lnTo>
                  <a:lnTo>
                    <a:pt x="10364" y="314574"/>
                  </a:lnTo>
                  <a:lnTo>
                    <a:pt x="0" y="283481"/>
                  </a:lnTo>
                  <a:lnTo>
                    <a:pt x="27638" y="245478"/>
                  </a:lnTo>
                  <a:lnTo>
                    <a:pt x="34548" y="210930"/>
                  </a:lnTo>
                  <a:lnTo>
                    <a:pt x="27638" y="183292"/>
                  </a:lnTo>
                  <a:lnTo>
                    <a:pt x="17274" y="155560"/>
                  </a:lnTo>
                  <a:lnTo>
                    <a:pt x="31093" y="138286"/>
                  </a:lnTo>
                  <a:lnTo>
                    <a:pt x="38003" y="121012"/>
                  </a:lnTo>
                  <a:close/>
                </a:path>
              </a:pathLst>
            </a:custGeom>
            <a:solidFill>
              <a:srgbClr val="CEE3BF"/>
            </a:solidFill>
            <a:ln w="9334" cap="flat">
              <a:noFill/>
              <a:prstDash val="solid"/>
              <a:miter/>
            </a:ln>
          </p:spPr>
          <p:txBody>
            <a:bodyPr rtlCol="0" anchor="ctr"/>
            <a:lstStyle/>
            <a:p>
              <a:endParaRPr lang="en-GB" dirty="0"/>
            </a:p>
          </p:txBody>
        </p:sp>
        <p:sp>
          <p:nvSpPr>
            <p:cNvPr id="1052" name="Freeform: Shape 1051">
              <a:extLst>
                <a:ext uri="{FF2B5EF4-FFF2-40B4-BE49-F238E27FC236}">
                  <a16:creationId xmlns:a16="http://schemas.microsoft.com/office/drawing/2014/main" id="{79F21549-D483-44B7-9B7D-A4191EE25588}"/>
                </a:ext>
              </a:extLst>
            </p:cNvPr>
            <p:cNvSpPr/>
            <p:nvPr/>
          </p:nvSpPr>
          <p:spPr>
            <a:xfrm>
              <a:off x="6532356" y="4961794"/>
              <a:ext cx="207101" cy="183198"/>
            </a:xfrm>
            <a:custGeom>
              <a:avLst/>
              <a:gdLst>
                <a:gd name="connsiteX0" fmla="*/ 103551 w 207101"/>
                <a:gd name="connsiteY0" fmla="*/ 179743 h 183198"/>
                <a:gd name="connsiteX1" fmla="*/ 100096 w 207101"/>
                <a:gd name="connsiteY1" fmla="*/ 169379 h 183198"/>
                <a:gd name="connsiteX2" fmla="*/ 75912 w 207101"/>
                <a:gd name="connsiteY2" fmla="*/ 165924 h 183198"/>
                <a:gd name="connsiteX3" fmla="*/ 62093 w 207101"/>
                <a:gd name="connsiteY3" fmla="*/ 131376 h 183198"/>
                <a:gd name="connsiteX4" fmla="*/ 20729 w 207101"/>
                <a:gd name="connsiteY4" fmla="*/ 110647 h 183198"/>
                <a:gd name="connsiteX5" fmla="*/ 13819 w 207101"/>
                <a:gd name="connsiteY5" fmla="*/ 83009 h 183198"/>
                <a:gd name="connsiteX6" fmla="*/ 0 w 207101"/>
                <a:gd name="connsiteY6" fmla="*/ 62187 h 183198"/>
                <a:gd name="connsiteX7" fmla="*/ 48367 w 207101"/>
                <a:gd name="connsiteY7" fmla="*/ 58732 h 183198"/>
                <a:gd name="connsiteX8" fmla="*/ 72458 w 207101"/>
                <a:gd name="connsiteY8" fmla="*/ 27639 h 183198"/>
                <a:gd name="connsiteX9" fmla="*/ 93186 w 207101"/>
                <a:gd name="connsiteY9" fmla="*/ 24184 h 183198"/>
                <a:gd name="connsiteX10" fmla="*/ 107005 w 207101"/>
                <a:gd name="connsiteY10" fmla="*/ 0 h 183198"/>
                <a:gd name="connsiteX11" fmla="*/ 134644 w 207101"/>
                <a:gd name="connsiteY11" fmla="*/ 0 h 183198"/>
                <a:gd name="connsiteX12" fmla="*/ 203647 w 207101"/>
                <a:gd name="connsiteY12" fmla="*/ 24184 h 183198"/>
                <a:gd name="connsiteX13" fmla="*/ 207102 w 207101"/>
                <a:gd name="connsiteY13" fmla="*/ 72644 h 183198"/>
                <a:gd name="connsiteX14" fmla="*/ 207102 w 207101"/>
                <a:gd name="connsiteY14" fmla="*/ 124467 h 183198"/>
                <a:gd name="connsiteX15" fmla="*/ 193282 w 207101"/>
                <a:gd name="connsiteY15" fmla="*/ 155560 h 183198"/>
                <a:gd name="connsiteX16" fmla="*/ 155373 w 207101"/>
                <a:gd name="connsiteY16" fmla="*/ 183198 h 183198"/>
                <a:gd name="connsiteX17" fmla="*/ 103551 w 207101"/>
                <a:gd name="connsiteY17" fmla="*/ 179743 h 18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101" h="183198">
                  <a:moveTo>
                    <a:pt x="103551" y="179743"/>
                  </a:moveTo>
                  <a:lnTo>
                    <a:pt x="100096" y="169379"/>
                  </a:lnTo>
                  <a:lnTo>
                    <a:pt x="75912" y="165924"/>
                  </a:lnTo>
                  <a:lnTo>
                    <a:pt x="62093" y="131376"/>
                  </a:lnTo>
                  <a:lnTo>
                    <a:pt x="20729" y="110647"/>
                  </a:lnTo>
                  <a:lnTo>
                    <a:pt x="13819" y="83009"/>
                  </a:lnTo>
                  <a:lnTo>
                    <a:pt x="0" y="62187"/>
                  </a:lnTo>
                  <a:lnTo>
                    <a:pt x="48367" y="58732"/>
                  </a:lnTo>
                  <a:lnTo>
                    <a:pt x="72458" y="27639"/>
                  </a:lnTo>
                  <a:lnTo>
                    <a:pt x="93186" y="24184"/>
                  </a:lnTo>
                  <a:lnTo>
                    <a:pt x="107005" y="0"/>
                  </a:lnTo>
                  <a:lnTo>
                    <a:pt x="134644" y="0"/>
                  </a:lnTo>
                  <a:lnTo>
                    <a:pt x="203647" y="24184"/>
                  </a:lnTo>
                  <a:lnTo>
                    <a:pt x="207102" y="72644"/>
                  </a:lnTo>
                  <a:lnTo>
                    <a:pt x="207102" y="124467"/>
                  </a:lnTo>
                  <a:lnTo>
                    <a:pt x="193282" y="155560"/>
                  </a:lnTo>
                  <a:lnTo>
                    <a:pt x="155373" y="183198"/>
                  </a:lnTo>
                  <a:lnTo>
                    <a:pt x="103551" y="179743"/>
                  </a:lnTo>
                  <a:close/>
                </a:path>
              </a:pathLst>
            </a:custGeom>
            <a:solidFill>
              <a:srgbClr val="CEE3BF"/>
            </a:solidFill>
            <a:ln w="9334" cap="flat">
              <a:noFill/>
              <a:prstDash val="solid"/>
              <a:miter/>
            </a:ln>
          </p:spPr>
          <p:txBody>
            <a:bodyPr rtlCol="0" anchor="ctr"/>
            <a:lstStyle/>
            <a:p>
              <a:endParaRPr lang="en-GB" dirty="0"/>
            </a:p>
          </p:txBody>
        </p:sp>
        <p:sp>
          <p:nvSpPr>
            <p:cNvPr id="1053" name="Freeform: Shape 1052">
              <a:extLst>
                <a:ext uri="{FF2B5EF4-FFF2-40B4-BE49-F238E27FC236}">
                  <a16:creationId xmlns:a16="http://schemas.microsoft.com/office/drawing/2014/main" id="{B36EDD7A-AC1A-4FF4-809E-49B9C6EDB7BC}"/>
                </a:ext>
              </a:extLst>
            </p:cNvPr>
            <p:cNvSpPr/>
            <p:nvPr/>
          </p:nvSpPr>
          <p:spPr>
            <a:xfrm>
              <a:off x="6387347" y="5023980"/>
              <a:ext cx="248559" cy="252387"/>
            </a:xfrm>
            <a:custGeom>
              <a:avLst/>
              <a:gdLst>
                <a:gd name="connsiteX0" fmla="*/ 0 w 248559"/>
                <a:gd name="connsiteY0" fmla="*/ 197111 h 252387"/>
                <a:gd name="connsiteX1" fmla="*/ 0 w 248559"/>
                <a:gd name="connsiteY1" fmla="*/ 114102 h 252387"/>
                <a:gd name="connsiteX2" fmla="*/ 24184 w 248559"/>
                <a:gd name="connsiteY2" fmla="*/ 114102 h 252387"/>
                <a:gd name="connsiteX3" fmla="*/ 27639 w 248559"/>
                <a:gd name="connsiteY3" fmla="*/ 7003 h 252387"/>
                <a:gd name="connsiteX4" fmla="*/ 86277 w 248559"/>
                <a:gd name="connsiteY4" fmla="*/ 0 h 252387"/>
                <a:gd name="connsiteX5" fmla="*/ 96642 w 248559"/>
                <a:gd name="connsiteY5" fmla="*/ 13913 h 252387"/>
                <a:gd name="connsiteX6" fmla="*/ 145009 w 248559"/>
                <a:gd name="connsiteY6" fmla="*/ 0 h 252387"/>
                <a:gd name="connsiteX7" fmla="*/ 158828 w 248559"/>
                <a:gd name="connsiteY7" fmla="*/ 20822 h 252387"/>
                <a:gd name="connsiteX8" fmla="*/ 165737 w 248559"/>
                <a:gd name="connsiteY8" fmla="*/ 48461 h 252387"/>
                <a:gd name="connsiteX9" fmla="*/ 207102 w 248559"/>
                <a:gd name="connsiteY9" fmla="*/ 69190 h 252387"/>
                <a:gd name="connsiteX10" fmla="*/ 220921 w 248559"/>
                <a:gd name="connsiteY10" fmla="*/ 103738 h 252387"/>
                <a:gd name="connsiteX11" fmla="*/ 245105 w 248559"/>
                <a:gd name="connsiteY11" fmla="*/ 107193 h 252387"/>
                <a:gd name="connsiteX12" fmla="*/ 248559 w 248559"/>
                <a:gd name="connsiteY12" fmla="*/ 121012 h 252387"/>
                <a:gd name="connsiteX13" fmla="*/ 245105 w 248559"/>
                <a:gd name="connsiteY13" fmla="*/ 127921 h 252387"/>
                <a:gd name="connsiteX14" fmla="*/ 227831 w 248559"/>
                <a:gd name="connsiteY14" fmla="*/ 127921 h 252387"/>
                <a:gd name="connsiteX15" fmla="*/ 162283 w 248559"/>
                <a:gd name="connsiteY15" fmla="*/ 197111 h 252387"/>
                <a:gd name="connsiteX16" fmla="*/ 148464 w 248559"/>
                <a:gd name="connsiteY16" fmla="*/ 221295 h 252387"/>
                <a:gd name="connsiteX17" fmla="*/ 113915 w 248559"/>
                <a:gd name="connsiteY17" fmla="*/ 224749 h 252387"/>
                <a:gd name="connsiteX18" fmla="*/ 96642 w 248559"/>
                <a:gd name="connsiteY18" fmla="*/ 210930 h 252387"/>
                <a:gd name="connsiteX19" fmla="*/ 79367 w 248559"/>
                <a:gd name="connsiteY19" fmla="*/ 210930 h 252387"/>
                <a:gd name="connsiteX20" fmla="*/ 72458 w 248559"/>
                <a:gd name="connsiteY20" fmla="*/ 231659 h 252387"/>
                <a:gd name="connsiteX21" fmla="*/ 48367 w 248559"/>
                <a:gd name="connsiteY21" fmla="*/ 252388 h 252387"/>
                <a:gd name="connsiteX22" fmla="*/ 20729 w 248559"/>
                <a:gd name="connsiteY22" fmla="*/ 252388 h 252387"/>
                <a:gd name="connsiteX23" fmla="*/ 20729 w 248559"/>
                <a:gd name="connsiteY23" fmla="*/ 217840 h 252387"/>
                <a:gd name="connsiteX24" fmla="*/ 0 w 248559"/>
                <a:gd name="connsiteY24" fmla="*/ 197111 h 2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8559" h="252387">
                  <a:moveTo>
                    <a:pt x="0" y="197111"/>
                  </a:moveTo>
                  <a:lnTo>
                    <a:pt x="0" y="114102"/>
                  </a:lnTo>
                  <a:lnTo>
                    <a:pt x="24184" y="114102"/>
                  </a:lnTo>
                  <a:lnTo>
                    <a:pt x="27639" y="7003"/>
                  </a:lnTo>
                  <a:lnTo>
                    <a:pt x="86277" y="0"/>
                  </a:lnTo>
                  <a:lnTo>
                    <a:pt x="96642" y="13913"/>
                  </a:lnTo>
                  <a:lnTo>
                    <a:pt x="145009" y="0"/>
                  </a:lnTo>
                  <a:lnTo>
                    <a:pt x="158828" y="20822"/>
                  </a:lnTo>
                  <a:lnTo>
                    <a:pt x="165737" y="48461"/>
                  </a:lnTo>
                  <a:lnTo>
                    <a:pt x="207102" y="69190"/>
                  </a:lnTo>
                  <a:lnTo>
                    <a:pt x="220921" y="103738"/>
                  </a:lnTo>
                  <a:lnTo>
                    <a:pt x="245105" y="107193"/>
                  </a:lnTo>
                  <a:lnTo>
                    <a:pt x="248559" y="121012"/>
                  </a:lnTo>
                  <a:lnTo>
                    <a:pt x="245105" y="127921"/>
                  </a:lnTo>
                  <a:lnTo>
                    <a:pt x="227831" y="127921"/>
                  </a:lnTo>
                  <a:lnTo>
                    <a:pt x="162283" y="197111"/>
                  </a:lnTo>
                  <a:lnTo>
                    <a:pt x="148464" y="221295"/>
                  </a:lnTo>
                  <a:lnTo>
                    <a:pt x="113915" y="224749"/>
                  </a:lnTo>
                  <a:lnTo>
                    <a:pt x="96642" y="210930"/>
                  </a:lnTo>
                  <a:lnTo>
                    <a:pt x="79367" y="210930"/>
                  </a:lnTo>
                  <a:lnTo>
                    <a:pt x="72458" y="231659"/>
                  </a:lnTo>
                  <a:lnTo>
                    <a:pt x="48367" y="252388"/>
                  </a:lnTo>
                  <a:lnTo>
                    <a:pt x="20729" y="252388"/>
                  </a:lnTo>
                  <a:lnTo>
                    <a:pt x="20729" y="217840"/>
                  </a:lnTo>
                  <a:lnTo>
                    <a:pt x="0" y="197111"/>
                  </a:lnTo>
                  <a:close/>
                </a:path>
              </a:pathLst>
            </a:custGeom>
            <a:solidFill>
              <a:srgbClr val="CEE3BF"/>
            </a:solidFill>
            <a:ln w="9334" cap="flat">
              <a:noFill/>
              <a:prstDash val="solid"/>
              <a:miter/>
            </a:ln>
          </p:spPr>
          <p:txBody>
            <a:bodyPr rtlCol="0" anchor="ctr"/>
            <a:lstStyle/>
            <a:p>
              <a:endParaRPr lang="en-GB" dirty="0"/>
            </a:p>
          </p:txBody>
        </p:sp>
        <p:sp>
          <p:nvSpPr>
            <p:cNvPr id="1054" name="Freeform: Shape 1053">
              <a:extLst>
                <a:ext uri="{FF2B5EF4-FFF2-40B4-BE49-F238E27FC236}">
                  <a16:creationId xmlns:a16="http://schemas.microsoft.com/office/drawing/2014/main" id="{E4848D9E-BB12-4D51-B940-E43058614941}"/>
                </a:ext>
              </a:extLst>
            </p:cNvPr>
            <p:cNvSpPr/>
            <p:nvPr/>
          </p:nvSpPr>
          <p:spPr>
            <a:xfrm>
              <a:off x="6169881" y="5006706"/>
              <a:ext cx="245104" cy="331848"/>
            </a:xfrm>
            <a:custGeom>
              <a:avLst/>
              <a:gdLst>
                <a:gd name="connsiteX0" fmla="*/ 0 w 245104"/>
                <a:gd name="connsiteY0" fmla="*/ 0 h 331848"/>
                <a:gd name="connsiteX1" fmla="*/ 169099 w 245104"/>
                <a:gd name="connsiteY1" fmla="*/ 0 h 331848"/>
                <a:gd name="connsiteX2" fmla="*/ 182918 w 245104"/>
                <a:gd name="connsiteY2" fmla="*/ 10364 h 331848"/>
                <a:gd name="connsiteX3" fmla="*/ 231285 w 245104"/>
                <a:gd name="connsiteY3" fmla="*/ 13819 h 331848"/>
                <a:gd name="connsiteX4" fmla="*/ 245105 w 245104"/>
                <a:gd name="connsiteY4" fmla="*/ 24277 h 331848"/>
                <a:gd name="connsiteX5" fmla="*/ 241650 w 245104"/>
                <a:gd name="connsiteY5" fmla="*/ 131376 h 331848"/>
                <a:gd name="connsiteX6" fmla="*/ 217466 w 245104"/>
                <a:gd name="connsiteY6" fmla="*/ 131376 h 331848"/>
                <a:gd name="connsiteX7" fmla="*/ 217466 w 245104"/>
                <a:gd name="connsiteY7" fmla="*/ 314574 h 331848"/>
                <a:gd name="connsiteX8" fmla="*/ 189828 w 245104"/>
                <a:gd name="connsiteY8" fmla="*/ 331848 h 331848"/>
                <a:gd name="connsiteX9" fmla="*/ 162189 w 245104"/>
                <a:gd name="connsiteY9" fmla="*/ 331848 h 331848"/>
                <a:gd name="connsiteX10" fmla="*/ 148463 w 245104"/>
                <a:gd name="connsiteY10" fmla="*/ 324939 h 331848"/>
                <a:gd name="connsiteX11" fmla="*/ 138099 w 245104"/>
                <a:gd name="connsiteY11" fmla="*/ 311119 h 331848"/>
                <a:gd name="connsiteX12" fmla="*/ 124280 w 245104"/>
                <a:gd name="connsiteY12" fmla="*/ 321484 h 331848"/>
                <a:gd name="connsiteX13" fmla="*/ 89732 w 245104"/>
                <a:gd name="connsiteY13" fmla="*/ 283481 h 331848"/>
                <a:gd name="connsiteX14" fmla="*/ 75912 w 245104"/>
                <a:gd name="connsiteY14" fmla="*/ 217840 h 331848"/>
                <a:gd name="connsiteX15" fmla="*/ 65548 w 245104"/>
                <a:gd name="connsiteY15" fmla="*/ 197111 h 331848"/>
                <a:gd name="connsiteX16" fmla="*/ 65548 w 245104"/>
                <a:gd name="connsiteY16" fmla="*/ 141740 h 331848"/>
                <a:gd name="connsiteX17" fmla="*/ 20635 w 245104"/>
                <a:gd name="connsiteY17" fmla="*/ 62280 h 331848"/>
                <a:gd name="connsiteX18" fmla="*/ 0 w 245104"/>
                <a:gd name="connsiteY18" fmla="*/ 27732 h 331848"/>
                <a:gd name="connsiteX19" fmla="*/ 0 w 245104"/>
                <a:gd name="connsiteY19" fmla="*/ 0 h 33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5104" h="331848">
                  <a:moveTo>
                    <a:pt x="0" y="0"/>
                  </a:moveTo>
                  <a:lnTo>
                    <a:pt x="169099" y="0"/>
                  </a:lnTo>
                  <a:lnTo>
                    <a:pt x="182918" y="10364"/>
                  </a:lnTo>
                  <a:lnTo>
                    <a:pt x="231285" y="13819"/>
                  </a:lnTo>
                  <a:lnTo>
                    <a:pt x="245105" y="24277"/>
                  </a:lnTo>
                  <a:lnTo>
                    <a:pt x="241650" y="131376"/>
                  </a:lnTo>
                  <a:lnTo>
                    <a:pt x="217466" y="131376"/>
                  </a:lnTo>
                  <a:lnTo>
                    <a:pt x="217466" y="314574"/>
                  </a:lnTo>
                  <a:lnTo>
                    <a:pt x="189828" y="331848"/>
                  </a:lnTo>
                  <a:lnTo>
                    <a:pt x="162189" y="331848"/>
                  </a:lnTo>
                  <a:lnTo>
                    <a:pt x="148463" y="324939"/>
                  </a:lnTo>
                  <a:lnTo>
                    <a:pt x="138099" y="311119"/>
                  </a:lnTo>
                  <a:lnTo>
                    <a:pt x="124280" y="321484"/>
                  </a:lnTo>
                  <a:lnTo>
                    <a:pt x="89732" y="283481"/>
                  </a:lnTo>
                  <a:lnTo>
                    <a:pt x="75912" y="217840"/>
                  </a:lnTo>
                  <a:lnTo>
                    <a:pt x="65548" y="197111"/>
                  </a:lnTo>
                  <a:lnTo>
                    <a:pt x="65548" y="141740"/>
                  </a:lnTo>
                  <a:lnTo>
                    <a:pt x="20635" y="62280"/>
                  </a:lnTo>
                  <a:lnTo>
                    <a:pt x="0" y="27732"/>
                  </a:lnTo>
                  <a:lnTo>
                    <a:pt x="0" y="0"/>
                  </a:lnTo>
                  <a:close/>
                </a:path>
              </a:pathLst>
            </a:custGeom>
            <a:solidFill>
              <a:srgbClr val="CEE3BF"/>
            </a:solidFill>
            <a:ln w="9334" cap="flat">
              <a:noFill/>
              <a:prstDash val="solid"/>
              <a:miter/>
            </a:ln>
          </p:spPr>
          <p:txBody>
            <a:bodyPr rtlCol="0" anchor="ctr"/>
            <a:lstStyle/>
            <a:p>
              <a:endParaRPr lang="en-GB" dirty="0"/>
            </a:p>
          </p:txBody>
        </p:sp>
        <p:sp>
          <p:nvSpPr>
            <p:cNvPr id="1055" name="Freeform: Shape 1054">
              <a:extLst>
                <a:ext uri="{FF2B5EF4-FFF2-40B4-BE49-F238E27FC236}">
                  <a16:creationId xmlns:a16="http://schemas.microsoft.com/office/drawing/2014/main" id="{5C37FFED-1FE5-4952-847D-BB2AAF98B431}"/>
                </a:ext>
              </a:extLst>
            </p:cNvPr>
            <p:cNvSpPr/>
            <p:nvPr/>
          </p:nvSpPr>
          <p:spPr>
            <a:xfrm>
              <a:off x="6673910" y="4813144"/>
              <a:ext cx="279652" cy="466679"/>
            </a:xfrm>
            <a:custGeom>
              <a:avLst/>
              <a:gdLst>
                <a:gd name="connsiteX0" fmla="*/ 0 w 279652"/>
                <a:gd name="connsiteY0" fmla="*/ 152105 h 466679"/>
                <a:gd name="connsiteX1" fmla="*/ 0 w 279652"/>
                <a:gd name="connsiteY1" fmla="*/ 124466 h 466679"/>
                <a:gd name="connsiteX2" fmla="*/ 86277 w 279652"/>
                <a:gd name="connsiteY2" fmla="*/ 110647 h 466679"/>
                <a:gd name="connsiteX3" fmla="*/ 113915 w 279652"/>
                <a:gd name="connsiteY3" fmla="*/ 110647 h 466679"/>
                <a:gd name="connsiteX4" fmla="*/ 110461 w 279652"/>
                <a:gd name="connsiteY4" fmla="*/ 162469 h 466679"/>
                <a:gd name="connsiteX5" fmla="*/ 131189 w 279652"/>
                <a:gd name="connsiteY5" fmla="*/ 183198 h 466679"/>
                <a:gd name="connsiteX6" fmla="*/ 148464 w 279652"/>
                <a:gd name="connsiteY6" fmla="*/ 159015 h 466679"/>
                <a:gd name="connsiteX7" fmla="*/ 145009 w 279652"/>
                <a:gd name="connsiteY7" fmla="*/ 110647 h 466679"/>
                <a:gd name="connsiteX8" fmla="*/ 120825 w 279652"/>
                <a:gd name="connsiteY8" fmla="*/ 83009 h 466679"/>
                <a:gd name="connsiteX9" fmla="*/ 110461 w 279652"/>
                <a:gd name="connsiteY9" fmla="*/ 55277 h 466679"/>
                <a:gd name="connsiteX10" fmla="*/ 117370 w 279652"/>
                <a:gd name="connsiteY10" fmla="*/ 27638 h 466679"/>
                <a:gd name="connsiteX11" fmla="*/ 155373 w 279652"/>
                <a:gd name="connsiteY11" fmla="*/ 31093 h 466679"/>
                <a:gd name="connsiteX12" fmla="*/ 200192 w 279652"/>
                <a:gd name="connsiteY12" fmla="*/ 34548 h 466679"/>
                <a:gd name="connsiteX13" fmla="*/ 245105 w 279652"/>
                <a:gd name="connsiteY13" fmla="*/ 17274 h 466679"/>
                <a:gd name="connsiteX14" fmla="*/ 272743 w 279652"/>
                <a:gd name="connsiteY14" fmla="*/ 0 h 466679"/>
                <a:gd name="connsiteX15" fmla="*/ 272743 w 279652"/>
                <a:gd name="connsiteY15" fmla="*/ 69190 h 466679"/>
                <a:gd name="connsiteX16" fmla="*/ 279653 w 279652"/>
                <a:gd name="connsiteY16" fmla="*/ 138286 h 466679"/>
                <a:gd name="connsiteX17" fmla="*/ 248559 w 279652"/>
                <a:gd name="connsiteY17" fmla="*/ 169379 h 466679"/>
                <a:gd name="connsiteX18" fmla="*/ 193283 w 279652"/>
                <a:gd name="connsiteY18" fmla="*/ 203927 h 466679"/>
                <a:gd name="connsiteX19" fmla="*/ 131189 w 279652"/>
                <a:gd name="connsiteY19" fmla="*/ 259297 h 466679"/>
                <a:gd name="connsiteX20" fmla="*/ 117370 w 279652"/>
                <a:gd name="connsiteY20" fmla="*/ 266207 h 466679"/>
                <a:gd name="connsiteX21" fmla="*/ 120825 w 279652"/>
                <a:gd name="connsiteY21" fmla="*/ 290391 h 466679"/>
                <a:gd name="connsiteX22" fmla="*/ 138099 w 279652"/>
                <a:gd name="connsiteY22" fmla="*/ 338758 h 466679"/>
                <a:gd name="connsiteX23" fmla="*/ 131189 w 279652"/>
                <a:gd name="connsiteY23" fmla="*/ 394128 h 466679"/>
                <a:gd name="connsiteX24" fmla="*/ 65548 w 279652"/>
                <a:gd name="connsiteY24" fmla="*/ 428676 h 466679"/>
                <a:gd name="connsiteX25" fmla="*/ 58639 w 279652"/>
                <a:gd name="connsiteY25" fmla="*/ 442495 h 466679"/>
                <a:gd name="connsiteX26" fmla="*/ 65548 w 279652"/>
                <a:gd name="connsiteY26" fmla="*/ 456315 h 466679"/>
                <a:gd name="connsiteX27" fmla="*/ 69003 w 279652"/>
                <a:gd name="connsiteY27" fmla="*/ 466679 h 466679"/>
                <a:gd name="connsiteX28" fmla="*/ 41458 w 279652"/>
                <a:gd name="connsiteY28" fmla="*/ 463224 h 466679"/>
                <a:gd name="connsiteX29" fmla="*/ 41458 w 279652"/>
                <a:gd name="connsiteY29" fmla="*/ 445950 h 466679"/>
                <a:gd name="connsiteX30" fmla="*/ 41458 w 279652"/>
                <a:gd name="connsiteY30" fmla="*/ 383670 h 466679"/>
                <a:gd name="connsiteX31" fmla="*/ 27639 w 279652"/>
                <a:gd name="connsiteY31" fmla="*/ 342213 h 466679"/>
                <a:gd name="connsiteX32" fmla="*/ 13819 w 279652"/>
                <a:gd name="connsiteY32" fmla="*/ 331848 h 466679"/>
                <a:gd name="connsiteX33" fmla="*/ 51729 w 279652"/>
                <a:gd name="connsiteY33" fmla="*/ 304210 h 466679"/>
                <a:gd name="connsiteX34" fmla="*/ 65548 w 279652"/>
                <a:gd name="connsiteY34" fmla="*/ 273117 h 466679"/>
                <a:gd name="connsiteX35" fmla="*/ 65548 w 279652"/>
                <a:gd name="connsiteY35" fmla="*/ 221294 h 466679"/>
                <a:gd name="connsiteX36" fmla="*/ 62093 w 279652"/>
                <a:gd name="connsiteY36" fmla="*/ 172834 h 466679"/>
                <a:gd name="connsiteX37" fmla="*/ 0 w 279652"/>
                <a:gd name="connsiteY37" fmla="*/ 152105 h 46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9652" h="466679">
                  <a:moveTo>
                    <a:pt x="0" y="152105"/>
                  </a:moveTo>
                  <a:lnTo>
                    <a:pt x="0" y="124466"/>
                  </a:lnTo>
                  <a:lnTo>
                    <a:pt x="86277" y="110647"/>
                  </a:lnTo>
                  <a:lnTo>
                    <a:pt x="113915" y="110647"/>
                  </a:lnTo>
                  <a:lnTo>
                    <a:pt x="110461" y="162469"/>
                  </a:lnTo>
                  <a:lnTo>
                    <a:pt x="131189" y="183198"/>
                  </a:lnTo>
                  <a:lnTo>
                    <a:pt x="148464" y="159015"/>
                  </a:lnTo>
                  <a:lnTo>
                    <a:pt x="145009" y="110647"/>
                  </a:lnTo>
                  <a:lnTo>
                    <a:pt x="120825" y="83009"/>
                  </a:lnTo>
                  <a:lnTo>
                    <a:pt x="110461" y="55277"/>
                  </a:lnTo>
                  <a:lnTo>
                    <a:pt x="117370" y="27638"/>
                  </a:lnTo>
                  <a:lnTo>
                    <a:pt x="155373" y="31093"/>
                  </a:lnTo>
                  <a:lnTo>
                    <a:pt x="200192" y="34548"/>
                  </a:lnTo>
                  <a:lnTo>
                    <a:pt x="245105" y="17274"/>
                  </a:lnTo>
                  <a:lnTo>
                    <a:pt x="272743" y="0"/>
                  </a:lnTo>
                  <a:lnTo>
                    <a:pt x="272743" y="69190"/>
                  </a:lnTo>
                  <a:lnTo>
                    <a:pt x="279653" y="138286"/>
                  </a:lnTo>
                  <a:lnTo>
                    <a:pt x="248559" y="169379"/>
                  </a:lnTo>
                  <a:lnTo>
                    <a:pt x="193283" y="203927"/>
                  </a:lnTo>
                  <a:lnTo>
                    <a:pt x="131189" y="259297"/>
                  </a:lnTo>
                  <a:lnTo>
                    <a:pt x="117370" y="266207"/>
                  </a:lnTo>
                  <a:lnTo>
                    <a:pt x="120825" y="290391"/>
                  </a:lnTo>
                  <a:lnTo>
                    <a:pt x="138099" y="338758"/>
                  </a:lnTo>
                  <a:lnTo>
                    <a:pt x="131189" y="394128"/>
                  </a:lnTo>
                  <a:lnTo>
                    <a:pt x="65548" y="428676"/>
                  </a:lnTo>
                  <a:lnTo>
                    <a:pt x="58639" y="442495"/>
                  </a:lnTo>
                  <a:lnTo>
                    <a:pt x="65548" y="456315"/>
                  </a:lnTo>
                  <a:lnTo>
                    <a:pt x="69003" y="466679"/>
                  </a:lnTo>
                  <a:lnTo>
                    <a:pt x="41458" y="463224"/>
                  </a:lnTo>
                  <a:lnTo>
                    <a:pt x="41458" y="445950"/>
                  </a:lnTo>
                  <a:lnTo>
                    <a:pt x="41458" y="383670"/>
                  </a:lnTo>
                  <a:lnTo>
                    <a:pt x="27639" y="342213"/>
                  </a:lnTo>
                  <a:lnTo>
                    <a:pt x="13819" y="331848"/>
                  </a:lnTo>
                  <a:lnTo>
                    <a:pt x="51729" y="304210"/>
                  </a:lnTo>
                  <a:lnTo>
                    <a:pt x="65548" y="273117"/>
                  </a:lnTo>
                  <a:lnTo>
                    <a:pt x="65548" y="221294"/>
                  </a:lnTo>
                  <a:lnTo>
                    <a:pt x="62093" y="172834"/>
                  </a:lnTo>
                  <a:lnTo>
                    <a:pt x="0" y="152105"/>
                  </a:lnTo>
                  <a:close/>
                </a:path>
              </a:pathLst>
            </a:custGeom>
            <a:solidFill>
              <a:srgbClr val="CEE3BF"/>
            </a:solidFill>
            <a:ln w="9334" cap="flat">
              <a:noFill/>
              <a:prstDash val="solid"/>
              <a:miter/>
            </a:ln>
          </p:spPr>
          <p:txBody>
            <a:bodyPr rtlCol="0" anchor="ctr"/>
            <a:lstStyle/>
            <a:p>
              <a:endParaRPr lang="en-GB" dirty="0"/>
            </a:p>
          </p:txBody>
        </p:sp>
        <p:sp>
          <p:nvSpPr>
            <p:cNvPr id="1056" name="Freeform: Shape 1055">
              <a:extLst>
                <a:ext uri="{FF2B5EF4-FFF2-40B4-BE49-F238E27FC236}">
                  <a16:creationId xmlns:a16="http://schemas.microsoft.com/office/drawing/2014/main" id="{87C3B3D1-638C-48A9-BEBF-BF2E6F0BFE6C}"/>
                </a:ext>
              </a:extLst>
            </p:cNvPr>
            <p:cNvSpPr/>
            <p:nvPr/>
          </p:nvSpPr>
          <p:spPr>
            <a:xfrm>
              <a:off x="6736003" y="4788960"/>
              <a:ext cx="86370" cy="207381"/>
            </a:xfrm>
            <a:custGeom>
              <a:avLst/>
              <a:gdLst>
                <a:gd name="connsiteX0" fmla="*/ 6910 w 86370"/>
                <a:gd name="connsiteY0" fmla="*/ 86463 h 207381"/>
                <a:gd name="connsiteX1" fmla="*/ 17274 w 86370"/>
                <a:gd name="connsiteY1" fmla="*/ 76006 h 207381"/>
                <a:gd name="connsiteX2" fmla="*/ 20729 w 86370"/>
                <a:gd name="connsiteY2" fmla="*/ 31093 h 207381"/>
                <a:gd name="connsiteX3" fmla="*/ 24183 w 86370"/>
                <a:gd name="connsiteY3" fmla="*/ 24184 h 207381"/>
                <a:gd name="connsiteX4" fmla="*/ 13819 w 86370"/>
                <a:gd name="connsiteY4" fmla="*/ 0 h 207381"/>
                <a:gd name="connsiteX5" fmla="*/ 38003 w 86370"/>
                <a:gd name="connsiteY5" fmla="*/ 0 h 207381"/>
                <a:gd name="connsiteX6" fmla="*/ 51822 w 86370"/>
                <a:gd name="connsiteY6" fmla="*/ 20729 h 207381"/>
                <a:gd name="connsiteX7" fmla="*/ 55277 w 86370"/>
                <a:gd name="connsiteY7" fmla="*/ 51822 h 207381"/>
                <a:gd name="connsiteX8" fmla="*/ 48367 w 86370"/>
                <a:gd name="connsiteY8" fmla="*/ 79460 h 207381"/>
                <a:gd name="connsiteX9" fmla="*/ 58732 w 86370"/>
                <a:gd name="connsiteY9" fmla="*/ 107192 h 207381"/>
                <a:gd name="connsiteX10" fmla="*/ 82915 w 86370"/>
                <a:gd name="connsiteY10" fmla="*/ 134831 h 207381"/>
                <a:gd name="connsiteX11" fmla="*/ 86370 w 86370"/>
                <a:gd name="connsiteY11" fmla="*/ 183198 h 207381"/>
                <a:gd name="connsiteX12" fmla="*/ 69096 w 86370"/>
                <a:gd name="connsiteY12" fmla="*/ 207382 h 207381"/>
                <a:gd name="connsiteX13" fmla="*/ 48367 w 86370"/>
                <a:gd name="connsiteY13" fmla="*/ 186653 h 207381"/>
                <a:gd name="connsiteX14" fmla="*/ 51822 w 86370"/>
                <a:gd name="connsiteY14" fmla="*/ 134831 h 207381"/>
                <a:gd name="connsiteX15" fmla="*/ 17274 w 86370"/>
                <a:gd name="connsiteY15" fmla="*/ 134831 h 207381"/>
                <a:gd name="connsiteX16" fmla="*/ 0 w 86370"/>
                <a:gd name="connsiteY16" fmla="*/ 110647 h 207381"/>
                <a:gd name="connsiteX17" fmla="*/ 6910 w 86370"/>
                <a:gd name="connsiteY17" fmla="*/ 86463 h 207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370" h="207381">
                  <a:moveTo>
                    <a:pt x="6910" y="86463"/>
                  </a:moveTo>
                  <a:lnTo>
                    <a:pt x="17274" y="76006"/>
                  </a:lnTo>
                  <a:lnTo>
                    <a:pt x="20729" y="31093"/>
                  </a:lnTo>
                  <a:lnTo>
                    <a:pt x="24183" y="24184"/>
                  </a:lnTo>
                  <a:lnTo>
                    <a:pt x="13819" y="0"/>
                  </a:lnTo>
                  <a:lnTo>
                    <a:pt x="38003" y="0"/>
                  </a:lnTo>
                  <a:lnTo>
                    <a:pt x="51822" y="20729"/>
                  </a:lnTo>
                  <a:lnTo>
                    <a:pt x="55277" y="51822"/>
                  </a:lnTo>
                  <a:lnTo>
                    <a:pt x="48367" y="79460"/>
                  </a:lnTo>
                  <a:lnTo>
                    <a:pt x="58732" y="107192"/>
                  </a:lnTo>
                  <a:lnTo>
                    <a:pt x="82915" y="134831"/>
                  </a:lnTo>
                  <a:lnTo>
                    <a:pt x="86370" y="183198"/>
                  </a:lnTo>
                  <a:lnTo>
                    <a:pt x="69096" y="207382"/>
                  </a:lnTo>
                  <a:lnTo>
                    <a:pt x="48367" y="186653"/>
                  </a:lnTo>
                  <a:lnTo>
                    <a:pt x="51822" y="134831"/>
                  </a:lnTo>
                  <a:lnTo>
                    <a:pt x="17274" y="134831"/>
                  </a:lnTo>
                  <a:lnTo>
                    <a:pt x="0" y="110647"/>
                  </a:lnTo>
                  <a:lnTo>
                    <a:pt x="6910" y="86463"/>
                  </a:lnTo>
                  <a:close/>
                </a:path>
              </a:pathLst>
            </a:custGeom>
            <a:solidFill>
              <a:srgbClr val="CEE3BF"/>
            </a:solidFill>
            <a:ln w="9334" cap="flat">
              <a:noFill/>
              <a:prstDash val="solid"/>
              <a:miter/>
            </a:ln>
          </p:spPr>
          <p:txBody>
            <a:bodyPr rtlCol="0" anchor="ctr"/>
            <a:lstStyle/>
            <a:p>
              <a:endParaRPr lang="en-GB" dirty="0"/>
            </a:p>
          </p:txBody>
        </p:sp>
        <p:sp>
          <p:nvSpPr>
            <p:cNvPr id="1057" name="Freeform: Shape 1056">
              <a:extLst>
                <a:ext uri="{FF2B5EF4-FFF2-40B4-BE49-F238E27FC236}">
                  <a16:creationId xmlns:a16="http://schemas.microsoft.com/office/drawing/2014/main" id="{2ED49A92-1851-4C69-83DD-E444DF4D15B4}"/>
                </a:ext>
              </a:extLst>
            </p:cNvPr>
            <p:cNvSpPr/>
            <p:nvPr/>
          </p:nvSpPr>
          <p:spPr>
            <a:xfrm>
              <a:off x="6736003" y="4788960"/>
              <a:ext cx="86370" cy="207381"/>
            </a:xfrm>
            <a:custGeom>
              <a:avLst/>
              <a:gdLst>
                <a:gd name="connsiteX0" fmla="*/ 6910 w 86370"/>
                <a:gd name="connsiteY0" fmla="*/ 86463 h 207381"/>
                <a:gd name="connsiteX1" fmla="*/ 17274 w 86370"/>
                <a:gd name="connsiteY1" fmla="*/ 76006 h 207381"/>
                <a:gd name="connsiteX2" fmla="*/ 20729 w 86370"/>
                <a:gd name="connsiteY2" fmla="*/ 31093 h 207381"/>
                <a:gd name="connsiteX3" fmla="*/ 24183 w 86370"/>
                <a:gd name="connsiteY3" fmla="*/ 24184 h 207381"/>
                <a:gd name="connsiteX4" fmla="*/ 13819 w 86370"/>
                <a:gd name="connsiteY4" fmla="*/ 0 h 207381"/>
                <a:gd name="connsiteX5" fmla="*/ 38003 w 86370"/>
                <a:gd name="connsiteY5" fmla="*/ 0 h 207381"/>
                <a:gd name="connsiteX6" fmla="*/ 51822 w 86370"/>
                <a:gd name="connsiteY6" fmla="*/ 20729 h 207381"/>
                <a:gd name="connsiteX7" fmla="*/ 55277 w 86370"/>
                <a:gd name="connsiteY7" fmla="*/ 51822 h 207381"/>
                <a:gd name="connsiteX8" fmla="*/ 48367 w 86370"/>
                <a:gd name="connsiteY8" fmla="*/ 79460 h 207381"/>
                <a:gd name="connsiteX9" fmla="*/ 58732 w 86370"/>
                <a:gd name="connsiteY9" fmla="*/ 107192 h 207381"/>
                <a:gd name="connsiteX10" fmla="*/ 82915 w 86370"/>
                <a:gd name="connsiteY10" fmla="*/ 134831 h 207381"/>
                <a:gd name="connsiteX11" fmla="*/ 86370 w 86370"/>
                <a:gd name="connsiteY11" fmla="*/ 183198 h 207381"/>
                <a:gd name="connsiteX12" fmla="*/ 69096 w 86370"/>
                <a:gd name="connsiteY12" fmla="*/ 207382 h 207381"/>
                <a:gd name="connsiteX13" fmla="*/ 48367 w 86370"/>
                <a:gd name="connsiteY13" fmla="*/ 186653 h 207381"/>
                <a:gd name="connsiteX14" fmla="*/ 51822 w 86370"/>
                <a:gd name="connsiteY14" fmla="*/ 134831 h 207381"/>
                <a:gd name="connsiteX15" fmla="*/ 17274 w 86370"/>
                <a:gd name="connsiteY15" fmla="*/ 134831 h 207381"/>
                <a:gd name="connsiteX16" fmla="*/ 0 w 86370"/>
                <a:gd name="connsiteY16" fmla="*/ 110647 h 207381"/>
                <a:gd name="connsiteX17" fmla="*/ 6910 w 86370"/>
                <a:gd name="connsiteY17" fmla="*/ 86463 h 207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370" h="207381">
                  <a:moveTo>
                    <a:pt x="6910" y="86463"/>
                  </a:moveTo>
                  <a:lnTo>
                    <a:pt x="17274" y="76006"/>
                  </a:lnTo>
                  <a:lnTo>
                    <a:pt x="20729" y="31093"/>
                  </a:lnTo>
                  <a:lnTo>
                    <a:pt x="24183" y="24184"/>
                  </a:lnTo>
                  <a:lnTo>
                    <a:pt x="13819" y="0"/>
                  </a:lnTo>
                  <a:lnTo>
                    <a:pt x="38003" y="0"/>
                  </a:lnTo>
                  <a:lnTo>
                    <a:pt x="51822" y="20729"/>
                  </a:lnTo>
                  <a:lnTo>
                    <a:pt x="55277" y="51822"/>
                  </a:lnTo>
                  <a:lnTo>
                    <a:pt x="48367" y="79460"/>
                  </a:lnTo>
                  <a:lnTo>
                    <a:pt x="58732" y="107192"/>
                  </a:lnTo>
                  <a:lnTo>
                    <a:pt x="82915" y="134831"/>
                  </a:lnTo>
                  <a:lnTo>
                    <a:pt x="86370" y="183198"/>
                  </a:lnTo>
                  <a:lnTo>
                    <a:pt x="69096" y="207382"/>
                  </a:lnTo>
                  <a:lnTo>
                    <a:pt x="48367" y="186653"/>
                  </a:lnTo>
                  <a:lnTo>
                    <a:pt x="51822" y="134831"/>
                  </a:lnTo>
                  <a:lnTo>
                    <a:pt x="17274" y="134831"/>
                  </a:lnTo>
                  <a:lnTo>
                    <a:pt x="0" y="110647"/>
                  </a:lnTo>
                  <a:lnTo>
                    <a:pt x="6910" y="86463"/>
                  </a:lnTo>
                  <a:close/>
                </a:path>
              </a:pathLst>
            </a:custGeom>
            <a:solidFill>
              <a:srgbClr val="CEE3BF"/>
            </a:solidFill>
            <a:ln w="9334" cap="flat">
              <a:noFill/>
              <a:prstDash val="solid"/>
              <a:miter/>
            </a:ln>
          </p:spPr>
          <p:txBody>
            <a:bodyPr rtlCol="0" anchor="ctr"/>
            <a:lstStyle/>
            <a:p>
              <a:endParaRPr lang="en-GB" dirty="0"/>
            </a:p>
          </p:txBody>
        </p:sp>
        <p:sp>
          <p:nvSpPr>
            <p:cNvPr id="1058" name="Freeform: Shape 1057">
              <a:extLst>
                <a:ext uri="{FF2B5EF4-FFF2-40B4-BE49-F238E27FC236}">
                  <a16:creationId xmlns:a16="http://schemas.microsoft.com/office/drawing/2014/main" id="{616194BD-08A3-4CF3-BE40-D3997BB8AD68}"/>
                </a:ext>
              </a:extLst>
            </p:cNvPr>
            <p:cNvSpPr/>
            <p:nvPr/>
          </p:nvSpPr>
          <p:spPr>
            <a:xfrm>
              <a:off x="6442624" y="4754412"/>
              <a:ext cx="317562" cy="269568"/>
            </a:xfrm>
            <a:custGeom>
              <a:avLst/>
              <a:gdLst>
                <a:gd name="connsiteX0" fmla="*/ 89732 w 317562"/>
                <a:gd name="connsiteY0" fmla="*/ 269568 h 269568"/>
                <a:gd name="connsiteX1" fmla="*/ 79367 w 317562"/>
                <a:gd name="connsiteY1" fmla="*/ 259204 h 269568"/>
                <a:gd name="connsiteX2" fmla="*/ 34455 w 317562"/>
                <a:gd name="connsiteY2" fmla="*/ 255749 h 269568"/>
                <a:gd name="connsiteX3" fmla="*/ 3455 w 317562"/>
                <a:gd name="connsiteY3" fmla="*/ 221201 h 269568"/>
                <a:gd name="connsiteX4" fmla="*/ 0 w 317562"/>
                <a:gd name="connsiteY4" fmla="*/ 131376 h 269568"/>
                <a:gd name="connsiteX5" fmla="*/ 51729 w 317562"/>
                <a:gd name="connsiteY5" fmla="*/ 131376 h 269568"/>
                <a:gd name="connsiteX6" fmla="*/ 51729 w 317562"/>
                <a:gd name="connsiteY6" fmla="*/ 72551 h 269568"/>
                <a:gd name="connsiteX7" fmla="*/ 82823 w 317562"/>
                <a:gd name="connsiteY7" fmla="*/ 86370 h 269568"/>
                <a:gd name="connsiteX8" fmla="*/ 117370 w 317562"/>
                <a:gd name="connsiteY8" fmla="*/ 100190 h 269568"/>
                <a:gd name="connsiteX9" fmla="*/ 141554 w 317562"/>
                <a:gd name="connsiteY9" fmla="*/ 89825 h 269568"/>
                <a:gd name="connsiteX10" fmla="*/ 155280 w 317562"/>
                <a:gd name="connsiteY10" fmla="*/ 110554 h 269568"/>
                <a:gd name="connsiteX11" fmla="*/ 176009 w 317562"/>
                <a:gd name="connsiteY11" fmla="*/ 121012 h 269568"/>
                <a:gd name="connsiteX12" fmla="*/ 189828 w 317562"/>
                <a:gd name="connsiteY12" fmla="*/ 141740 h 269568"/>
                <a:gd name="connsiteX13" fmla="*/ 214012 w 317562"/>
                <a:gd name="connsiteY13" fmla="*/ 141740 h 269568"/>
                <a:gd name="connsiteX14" fmla="*/ 214012 w 317562"/>
                <a:gd name="connsiteY14" fmla="*/ 110554 h 269568"/>
                <a:gd name="connsiteX15" fmla="*/ 189828 w 317562"/>
                <a:gd name="connsiteY15" fmla="*/ 100190 h 269568"/>
                <a:gd name="connsiteX16" fmla="*/ 172554 w 317562"/>
                <a:gd name="connsiteY16" fmla="*/ 82915 h 269568"/>
                <a:gd name="connsiteX17" fmla="*/ 179464 w 317562"/>
                <a:gd name="connsiteY17" fmla="*/ 44912 h 269568"/>
                <a:gd name="connsiteX18" fmla="*/ 176009 w 317562"/>
                <a:gd name="connsiteY18" fmla="*/ 13819 h 269568"/>
                <a:gd name="connsiteX19" fmla="*/ 203647 w 317562"/>
                <a:gd name="connsiteY19" fmla="*/ 0 h 269568"/>
                <a:gd name="connsiteX20" fmla="*/ 234740 w 317562"/>
                <a:gd name="connsiteY20" fmla="*/ 0 h 269568"/>
                <a:gd name="connsiteX21" fmla="*/ 307198 w 317562"/>
                <a:gd name="connsiteY21" fmla="*/ 34548 h 269568"/>
                <a:gd name="connsiteX22" fmla="*/ 317562 w 317562"/>
                <a:gd name="connsiteY22" fmla="*/ 58732 h 269568"/>
                <a:gd name="connsiteX23" fmla="*/ 310653 w 317562"/>
                <a:gd name="connsiteY23" fmla="*/ 69096 h 269568"/>
                <a:gd name="connsiteX24" fmla="*/ 310653 w 317562"/>
                <a:gd name="connsiteY24" fmla="*/ 110554 h 269568"/>
                <a:gd name="connsiteX25" fmla="*/ 300289 w 317562"/>
                <a:gd name="connsiteY25" fmla="*/ 121012 h 269568"/>
                <a:gd name="connsiteX26" fmla="*/ 293379 w 317562"/>
                <a:gd name="connsiteY26" fmla="*/ 145196 h 269568"/>
                <a:gd name="connsiteX27" fmla="*/ 310653 w 317562"/>
                <a:gd name="connsiteY27" fmla="*/ 169379 h 269568"/>
                <a:gd name="connsiteX28" fmla="*/ 231286 w 317562"/>
                <a:gd name="connsiteY28" fmla="*/ 183198 h 269568"/>
                <a:gd name="connsiteX29" fmla="*/ 231286 w 317562"/>
                <a:gd name="connsiteY29" fmla="*/ 210837 h 269568"/>
                <a:gd name="connsiteX30" fmla="*/ 196737 w 317562"/>
                <a:gd name="connsiteY30" fmla="*/ 207382 h 269568"/>
                <a:gd name="connsiteX31" fmla="*/ 182918 w 317562"/>
                <a:gd name="connsiteY31" fmla="*/ 231566 h 269568"/>
                <a:gd name="connsiteX32" fmla="*/ 162190 w 317562"/>
                <a:gd name="connsiteY32" fmla="*/ 235020 h 269568"/>
                <a:gd name="connsiteX33" fmla="*/ 138099 w 317562"/>
                <a:gd name="connsiteY33" fmla="*/ 266207 h 269568"/>
                <a:gd name="connsiteX34" fmla="*/ 89732 w 317562"/>
                <a:gd name="connsiteY34" fmla="*/ 269568 h 26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7562" h="269568">
                  <a:moveTo>
                    <a:pt x="89732" y="269568"/>
                  </a:moveTo>
                  <a:lnTo>
                    <a:pt x="79367" y="259204"/>
                  </a:lnTo>
                  <a:lnTo>
                    <a:pt x="34455" y="255749"/>
                  </a:lnTo>
                  <a:lnTo>
                    <a:pt x="3455" y="221201"/>
                  </a:lnTo>
                  <a:lnTo>
                    <a:pt x="0" y="131376"/>
                  </a:lnTo>
                  <a:lnTo>
                    <a:pt x="51729" y="131376"/>
                  </a:lnTo>
                  <a:lnTo>
                    <a:pt x="51729" y="72551"/>
                  </a:lnTo>
                  <a:lnTo>
                    <a:pt x="82823" y="86370"/>
                  </a:lnTo>
                  <a:lnTo>
                    <a:pt x="117370" y="100190"/>
                  </a:lnTo>
                  <a:lnTo>
                    <a:pt x="141554" y="89825"/>
                  </a:lnTo>
                  <a:lnTo>
                    <a:pt x="155280" y="110554"/>
                  </a:lnTo>
                  <a:lnTo>
                    <a:pt x="176009" y="121012"/>
                  </a:lnTo>
                  <a:lnTo>
                    <a:pt x="189828" y="141740"/>
                  </a:lnTo>
                  <a:lnTo>
                    <a:pt x="214012" y="141740"/>
                  </a:lnTo>
                  <a:lnTo>
                    <a:pt x="214012" y="110554"/>
                  </a:lnTo>
                  <a:lnTo>
                    <a:pt x="189828" y="100190"/>
                  </a:lnTo>
                  <a:lnTo>
                    <a:pt x="172554" y="82915"/>
                  </a:lnTo>
                  <a:lnTo>
                    <a:pt x="179464" y="44912"/>
                  </a:lnTo>
                  <a:lnTo>
                    <a:pt x="176009" y="13819"/>
                  </a:lnTo>
                  <a:lnTo>
                    <a:pt x="203647" y="0"/>
                  </a:lnTo>
                  <a:lnTo>
                    <a:pt x="234740" y="0"/>
                  </a:lnTo>
                  <a:lnTo>
                    <a:pt x="307198" y="34548"/>
                  </a:lnTo>
                  <a:lnTo>
                    <a:pt x="317562" y="58732"/>
                  </a:lnTo>
                  <a:lnTo>
                    <a:pt x="310653" y="69096"/>
                  </a:lnTo>
                  <a:lnTo>
                    <a:pt x="310653" y="110554"/>
                  </a:lnTo>
                  <a:lnTo>
                    <a:pt x="300289" y="121012"/>
                  </a:lnTo>
                  <a:lnTo>
                    <a:pt x="293379" y="145196"/>
                  </a:lnTo>
                  <a:lnTo>
                    <a:pt x="310653" y="169379"/>
                  </a:lnTo>
                  <a:lnTo>
                    <a:pt x="231286" y="183198"/>
                  </a:lnTo>
                  <a:lnTo>
                    <a:pt x="231286" y="210837"/>
                  </a:lnTo>
                  <a:lnTo>
                    <a:pt x="196737" y="207382"/>
                  </a:lnTo>
                  <a:lnTo>
                    <a:pt x="182918" y="231566"/>
                  </a:lnTo>
                  <a:lnTo>
                    <a:pt x="162190" y="235020"/>
                  </a:lnTo>
                  <a:lnTo>
                    <a:pt x="138099" y="266207"/>
                  </a:lnTo>
                  <a:lnTo>
                    <a:pt x="89732" y="269568"/>
                  </a:lnTo>
                  <a:close/>
                </a:path>
              </a:pathLst>
            </a:custGeom>
            <a:solidFill>
              <a:srgbClr val="CEE3BF"/>
            </a:solidFill>
            <a:ln w="9334" cap="flat">
              <a:noFill/>
              <a:prstDash val="solid"/>
              <a:miter/>
            </a:ln>
          </p:spPr>
          <p:txBody>
            <a:bodyPr rtlCol="0" anchor="ctr"/>
            <a:lstStyle/>
            <a:p>
              <a:endParaRPr lang="en-GB" dirty="0"/>
            </a:p>
          </p:txBody>
        </p:sp>
        <p:sp>
          <p:nvSpPr>
            <p:cNvPr id="1059" name="Freeform: Shape 1058">
              <a:extLst>
                <a:ext uri="{FF2B5EF4-FFF2-40B4-BE49-F238E27FC236}">
                  <a16:creationId xmlns:a16="http://schemas.microsoft.com/office/drawing/2014/main" id="{07F54235-BDD0-437E-93D1-AFC8AE38BC89}"/>
                </a:ext>
              </a:extLst>
            </p:cNvPr>
            <p:cNvSpPr/>
            <p:nvPr/>
          </p:nvSpPr>
          <p:spPr>
            <a:xfrm>
              <a:off x="6646271" y="4553939"/>
              <a:ext cx="300382" cy="293752"/>
            </a:xfrm>
            <a:custGeom>
              <a:avLst/>
              <a:gdLst>
                <a:gd name="connsiteX0" fmla="*/ 31093 w 300382"/>
                <a:gd name="connsiteY0" fmla="*/ 200472 h 293752"/>
                <a:gd name="connsiteX1" fmla="*/ 27639 w 300382"/>
                <a:gd name="connsiteY1" fmla="*/ 172834 h 293752"/>
                <a:gd name="connsiteX2" fmla="*/ 3455 w 300382"/>
                <a:gd name="connsiteY2" fmla="*/ 141647 h 293752"/>
                <a:gd name="connsiteX3" fmla="*/ 0 w 300382"/>
                <a:gd name="connsiteY3" fmla="*/ 96735 h 293752"/>
                <a:gd name="connsiteX4" fmla="*/ 34548 w 300382"/>
                <a:gd name="connsiteY4" fmla="*/ 58732 h 293752"/>
                <a:gd name="connsiteX5" fmla="*/ 27639 w 300382"/>
                <a:gd name="connsiteY5" fmla="*/ 34548 h 293752"/>
                <a:gd name="connsiteX6" fmla="*/ 38003 w 300382"/>
                <a:gd name="connsiteY6" fmla="*/ 20729 h 293752"/>
                <a:gd name="connsiteX7" fmla="*/ 27639 w 300382"/>
                <a:gd name="connsiteY7" fmla="*/ 0 h 293752"/>
                <a:gd name="connsiteX8" fmla="*/ 65642 w 300382"/>
                <a:gd name="connsiteY8" fmla="*/ 0 h 293752"/>
                <a:gd name="connsiteX9" fmla="*/ 131190 w 300382"/>
                <a:gd name="connsiteY9" fmla="*/ 3455 h 293752"/>
                <a:gd name="connsiteX10" fmla="*/ 220921 w 300382"/>
                <a:gd name="connsiteY10" fmla="*/ 51822 h 293752"/>
                <a:gd name="connsiteX11" fmla="*/ 227831 w 300382"/>
                <a:gd name="connsiteY11" fmla="*/ 69096 h 293752"/>
                <a:gd name="connsiteX12" fmla="*/ 269289 w 300382"/>
                <a:gd name="connsiteY12" fmla="*/ 100190 h 293752"/>
                <a:gd name="connsiteX13" fmla="*/ 258924 w 300382"/>
                <a:gd name="connsiteY13" fmla="*/ 124373 h 293752"/>
                <a:gd name="connsiteX14" fmla="*/ 255470 w 300382"/>
                <a:gd name="connsiteY14" fmla="*/ 148557 h 293752"/>
                <a:gd name="connsiteX15" fmla="*/ 269289 w 300382"/>
                <a:gd name="connsiteY15" fmla="*/ 169379 h 293752"/>
                <a:gd name="connsiteX16" fmla="*/ 269289 w 300382"/>
                <a:gd name="connsiteY16" fmla="*/ 217746 h 293752"/>
                <a:gd name="connsiteX17" fmla="*/ 300382 w 300382"/>
                <a:gd name="connsiteY17" fmla="*/ 259204 h 293752"/>
                <a:gd name="connsiteX18" fmla="*/ 272743 w 300382"/>
                <a:gd name="connsiteY18" fmla="*/ 276478 h 293752"/>
                <a:gd name="connsiteX19" fmla="*/ 227831 w 300382"/>
                <a:gd name="connsiteY19" fmla="*/ 293752 h 293752"/>
                <a:gd name="connsiteX20" fmla="*/ 145009 w 300382"/>
                <a:gd name="connsiteY20" fmla="*/ 286842 h 293752"/>
                <a:gd name="connsiteX21" fmla="*/ 141554 w 300382"/>
                <a:gd name="connsiteY21" fmla="*/ 255749 h 293752"/>
                <a:gd name="connsiteX22" fmla="*/ 127735 w 300382"/>
                <a:gd name="connsiteY22" fmla="*/ 235020 h 293752"/>
                <a:gd name="connsiteX23" fmla="*/ 103551 w 300382"/>
                <a:gd name="connsiteY23" fmla="*/ 235020 h 293752"/>
                <a:gd name="connsiteX24" fmla="*/ 31093 w 300382"/>
                <a:gd name="connsiteY24" fmla="*/ 200472 h 293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0382" h="293752">
                  <a:moveTo>
                    <a:pt x="31093" y="200472"/>
                  </a:moveTo>
                  <a:lnTo>
                    <a:pt x="27639" y="172834"/>
                  </a:lnTo>
                  <a:lnTo>
                    <a:pt x="3455" y="141647"/>
                  </a:lnTo>
                  <a:lnTo>
                    <a:pt x="0" y="96735"/>
                  </a:lnTo>
                  <a:lnTo>
                    <a:pt x="34548" y="58732"/>
                  </a:lnTo>
                  <a:lnTo>
                    <a:pt x="27639" y="34548"/>
                  </a:lnTo>
                  <a:lnTo>
                    <a:pt x="38003" y="20729"/>
                  </a:lnTo>
                  <a:lnTo>
                    <a:pt x="27639" y="0"/>
                  </a:lnTo>
                  <a:lnTo>
                    <a:pt x="65642" y="0"/>
                  </a:lnTo>
                  <a:lnTo>
                    <a:pt x="131190" y="3455"/>
                  </a:lnTo>
                  <a:lnTo>
                    <a:pt x="220921" y="51822"/>
                  </a:lnTo>
                  <a:lnTo>
                    <a:pt x="227831" y="69096"/>
                  </a:lnTo>
                  <a:lnTo>
                    <a:pt x="269289" y="100190"/>
                  </a:lnTo>
                  <a:lnTo>
                    <a:pt x="258924" y="124373"/>
                  </a:lnTo>
                  <a:lnTo>
                    <a:pt x="255470" y="148557"/>
                  </a:lnTo>
                  <a:lnTo>
                    <a:pt x="269289" y="169379"/>
                  </a:lnTo>
                  <a:lnTo>
                    <a:pt x="269289" y="217746"/>
                  </a:lnTo>
                  <a:lnTo>
                    <a:pt x="300382" y="259204"/>
                  </a:lnTo>
                  <a:lnTo>
                    <a:pt x="272743" y="276478"/>
                  </a:lnTo>
                  <a:lnTo>
                    <a:pt x="227831" y="293752"/>
                  </a:lnTo>
                  <a:lnTo>
                    <a:pt x="145009" y="286842"/>
                  </a:lnTo>
                  <a:lnTo>
                    <a:pt x="141554" y="255749"/>
                  </a:lnTo>
                  <a:lnTo>
                    <a:pt x="127735" y="235020"/>
                  </a:lnTo>
                  <a:lnTo>
                    <a:pt x="103551" y="235020"/>
                  </a:lnTo>
                  <a:lnTo>
                    <a:pt x="31093" y="200472"/>
                  </a:lnTo>
                  <a:close/>
                </a:path>
              </a:pathLst>
            </a:custGeom>
            <a:solidFill>
              <a:srgbClr val="CEE3BF"/>
            </a:solidFill>
            <a:ln w="9334" cap="flat">
              <a:noFill/>
              <a:prstDash val="solid"/>
              <a:miter/>
            </a:ln>
          </p:spPr>
          <p:txBody>
            <a:bodyPr rtlCol="0" anchor="ctr"/>
            <a:lstStyle/>
            <a:p>
              <a:endParaRPr lang="en-GB" dirty="0"/>
            </a:p>
          </p:txBody>
        </p:sp>
        <p:sp>
          <p:nvSpPr>
            <p:cNvPr id="1060" name="Freeform: Shape 1059">
              <a:extLst>
                <a:ext uri="{FF2B5EF4-FFF2-40B4-BE49-F238E27FC236}">
                  <a16:creationId xmlns:a16="http://schemas.microsoft.com/office/drawing/2014/main" id="{FB387D06-F283-4CE6-8628-014EA599B928}"/>
                </a:ext>
              </a:extLst>
            </p:cNvPr>
            <p:cNvSpPr/>
            <p:nvPr/>
          </p:nvSpPr>
          <p:spPr>
            <a:xfrm>
              <a:off x="6642816" y="4588488"/>
              <a:ext cx="38002" cy="62186"/>
            </a:xfrm>
            <a:custGeom>
              <a:avLst/>
              <a:gdLst>
                <a:gd name="connsiteX0" fmla="*/ 31093 w 38002"/>
                <a:gd name="connsiteY0" fmla="*/ 0 h 62186"/>
                <a:gd name="connsiteX1" fmla="*/ 17274 w 38002"/>
                <a:gd name="connsiteY1" fmla="*/ 3455 h 62186"/>
                <a:gd name="connsiteX2" fmla="*/ 0 w 38002"/>
                <a:gd name="connsiteY2" fmla="*/ 20729 h 62186"/>
                <a:gd name="connsiteX3" fmla="*/ 3455 w 38002"/>
                <a:gd name="connsiteY3" fmla="*/ 62187 h 62186"/>
                <a:gd name="connsiteX4" fmla="*/ 38003 w 38002"/>
                <a:gd name="connsiteY4" fmla="*/ 24184 h 62186"/>
                <a:gd name="connsiteX5" fmla="*/ 31093 w 38002"/>
                <a:gd name="connsiteY5" fmla="*/ 0 h 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02" h="62186">
                  <a:moveTo>
                    <a:pt x="31093" y="0"/>
                  </a:moveTo>
                  <a:lnTo>
                    <a:pt x="17274" y="3455"/>
                  </a:lnTo>
                  <a:lnTo>
                    <a:pt x="0" y="20729"/>
                  </a:lnTo>
                  <a:lnTo>
                    <a:pt x="3455" y="62187"/>
                  </a:lnTo>
                  <a:lnTo>
                    <a:pt x="38003" y="24184"/>
                  </a:lnTo>
                  <a:lnTo>
                    <a:pt x="31093" y="0"/>
                  </a:lnTo>
                  <a:close/>
                </a:path>
              </a:pathLst>
            </a:custGeom>
            <a:solidFill>
              <a:srgbClr val="CEE3BF"/>
            </a:solidFill>
            <a:ln w="9334" cap="flat">
              <a:noFill/>
              <a:prstDash val="solid"/>
              <a:miter/>
            </a:ln>
          </p:spPr>
          <p:txBody>
            <a:bodyPr rtlCol="0" anchor="ctr"/>
            <a:lstStyle/>
            <a:p>
              <a:endParaRPr lang="en-GB" dirty="0"/>
            </a:p>
          </p:txBody>
        </p:sp>
        <p:sp>
          <p:nvSpPr>
            <p:cNvPr id="1061" name="Freeform: Shape 1060">
              <a:extLst>
                <a:ext uri="{FF2B5EF4-FFF2-40B4-BE49-F238E27FC236}">
                  <a16:creationId xmlns:a16="http://schemas.microsoft.com/office/drawing/2014/main" id="{0E2D5EF5-D088-478A-A9B8-DCBA9A361E4B}"/>
                </a:ext>
              </a:extLst>
            </p:cNvPr>
            <p:cNvSpPr/>
            <p:nvPr/>
          </p:nvSpPr>
          <p:spPr>
            <a:xfrm>
              <a:off x="6642816" y="4588488"/>
              <a:ext cx="38002" cy="62186"/>
            </a:xfrm>
            <a:custGeom>
              <a:avLst/>
              <a:gdLst>
                <a:gd name="connsiteX0" fmla="*/ 31093 w 38002"/>
                <a:gd name="connsiteY0" fmla="*/ 0 h 62186"/>
                <a:gd name="connsiteX1" fmla="*/ 17274 w 38002"/>
                <a:gd name="connsiteY1" fmla="*/ 3455 h 62186"/>
                <a:gd name="connsiteX2" fmla="*/ 0 w 38002"/>
                <a:gd name="connsiteY2" fmla="*/ 20729 h 62186"/>
                <a:gd name="connsiteX3" fmla="*/ 3455 w 38002"/>
                <a:gd name="connsiteY3" fmla="*/ 62187 h 62186"/>
                <a:gd name="connsiteX4" fmla="*/ 38003 w 38002"/>
                <a:gd name="connsiteY4" fmla="*/ 24184 h 62186"/>
                <a:gd name="connsiteX5" fmla="*/ 31093 w 38002"/>
                <a:gd name="connsiteY5" fmla="*/ 0 h 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02" h="62186">
                  <a:moveTo>
                    <a:pt x="31093" y="0"/>
                  </a:moveTo>
                  <a:lnTo>
                    <a:pt x="17274" y="3455"/>
                  </a:lnTo>
                  <a:lnTo>
                    <a:pt x="0" y="20729"/>
                  </a:lnTo>
                  <a:lnTo>
                    <a:pt x="3455" y="62187"/>
                  </a:lnTo>
                  <a:lnTo>
                    <a:pt x="38003" y="24184"/>
                  </a:lnTo>
                  <a:lnTo>
                    <a:pt x="31093" y="0"/>
                  </a:lnTo>
                  <a:close/>
                </a:path>
              </a:pathLst>
            </a:custGeom>
            <a:solidFill>
              <a:srgbClr val="CEE3BF"/>
            </a:solidFill>
            <a:ln w="9334" cap="flat">
              <a:noFill/>
              <a:prstDash val="solid"/>
              <a:miter/>
            </a:ln>
          </p:spPr>
          <p:txBody>
            <a:bodyPr rtlCol="0" anchor="ctr"/>
            <a:lstStyle/>
            <a:p>
              <a:endParaRPr lang="en-GB" dirty="0"/>
            </a:p>
          </p:txBody>
        </p:sp>
        <p:sp>
          <p:nvSpPr>
            <p:cNvPr id="1062" name="Freeform: Shape 1061">
              <a:extLst>
                <a:ext uri="{FF2B5EF4-FFF2-40B4-BE49-F238E27FC236}">
                  <a16:creationId xmlns:a16="http://schemas.microsoft.com/office/drawing/2014/main" id="{50D10775-14FE-4CBA-AA8D-19135E1B52A7}"/>
                </a:ext>
              </a:extLst>
            </p:cNvPr>
            <p:cNvSpPr/>
            <p:nvPr/>
          </p:nvSpPr>
          <p:spPr>
            <a:xfrm>
              <a:off x="6632452" y="4553939"/>
              <a:ext cx="51822" cy="55277"/>
            </a:xfrm>
            <a:custGeom>
              <a:avLst/>
              <a:gdLst>
                <a:gd name="connsiteX0" fmla="*/ 17274 w 51822"/>
                <a:gd name="connsiteY0" fmla="*/ 3455 h 55277"/>
                <a:gd name="connsiteX1" fmla="*/ 41458 w 51822"/>
                <a:gd name="connsiteY1" fmla="*/ 0 h 55277"/>
                <a:gd name="connsiteX2" fmla="*/ 51822 w 51822"/>
                <a:gd name="connsiteY2" fmla="*/ 20729 h 55277"/>
                <a:gd name="connsiteX3" fmla="*/ 41458 w 51822"/>
                <a:gd name="connsiteY3" fmla="*/ 34548 h 55277"/>
                <a:gd name="connsiteX4" fmla="*/ 27639 w 51822"/>
                <a:gd name="connsiteY4" fmla="*/ 38003 h 55277"/>
                <a:gd name="connsiteX5" fmla="*/ 10364 w 51822"/>
                <a:gd name="connsiteY5" fmla="*/ 55277 h 55277"/>
                <a:gd name="connsiteX6" fmla="*/ 0 w 51822"/>
                <a:gd name="connsiteY6" fmla="*/ 27638 h 55277"/>
                <a:gd name="connsiteX7" fmla="*/ 17274 w 51822"/>
                <a:gd name="connsiteY7" fmla="*/ 3455 h 5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22" h="55277">
                  <a:moveTo>
                    <a:pt x="17274" y="3455"/>
                  </a:moveTo>
                  <a:lnTo>
                    <a:pt x="41458" y="0"/>
                  </a:lnTo>
                  <a:lnTo>
                    <a:pt x="51822" y="20729"/>
                  </a:lnTo>
                  <a:lnTo>
                    <a:pt x="41458" y="34548"/>
                  </a:lnTo>
                  <a:lnTo>
                    <a:pt x="27639" y="38003"/>
                  </a:lnTo>
                  <a:lnTo>
                    <a:pt x="10364" y="55277"/>
                  </a:lnTo>
                  <a:lnTo>
                    <a:pt x="0" y="27638"/>
                  </a:lnTo>
                  <a:lnTo>
                    <a:pt x="17274" y="3455"/>
                  </a:lnTo>
                  <a:close/>
                </a:path>
              </a:pathLst>
            </a:custGeom>
            <a:solidFill>
              <a:srgbClr val="CEE3BF"/>
            </a:solidFill>
            <a:ln w="9334" cap="flat">
              <a:noFill/>
              <a:prstDash val="solid"/>
              <a:miter/>
            </a:ln>
          </p:spPr>
          <p:txBody>
            <a:bodyPr rtlCol="0" anchor="ctr"/>
            <a:lstStyle/>
            <a:p>
              <a:endParaRPr lang="en-GB" dirty="0"/>
            </a:p>
          </p:txBody>
        </p:sp>
        <p:sp>
          <p:nvSpPr>
            <p:cNvPr id="1063" name="Freeform: Shape 1062">
              <a:extLst>
                <a:ext uri="{FF2B5EF4-FFF2-40B4-BE49-F238E27FC236}">
                  <a16:creationId xmlns:a16="http://schemas.microsoft.com/office/drawing/2014/main" id="{83BE4367-1416-4246-AA67-CE4DC46898AF}"/>
                </a:ext>
              </a:extLst>
            </p:cNvPr>
            <p:cNvSpPr/>
            <p:nvPr/>
          </p:nvSpPr>
          <p:spPr>
            <a:xfrm>
              <a:off x="6632452" y="4553939"/>
              <a:ext cx="51822" cy="55277"/>
            </a:xfrm>
            <a:custGeom>
              <a:avLst/>
              <a:gdLst>
                <a:gd name="connsiteX0" fmla="*/ 17274 w 51822"/>
                <a:gd name="connsiteY0" fmla="*/ 3455 h 55277"/>
                <a:gd name="connsiteX1" fmla="*/ 41458 w 51822"/>
                <a:gd name="connsiteY1" fmla="*/ 0 h 55277"/>
                <a:gd name="connsiteX2" fmla="*/ 51822 w 51822"/>
                <a:gd name="connsiteY2" fmla="*/ 20729 h 55277"/>
                <a:gd name="connsiteX3" fmla="*/ 41458 w 51822"/>
                <a:gd name="connsiteY3" fmla="*/ 34548 h 55277"/>
                <a:gd name="connsiteX4" fmla="*/ 27639 w 51822"/>
                <a:gd name="connsiteY4" fmla="*/ 38003 h 55277"/>
                <a:gd name="connsiteX5" fmla="*/ 10364 w 51822"/>
                <a:gd name="connsiteY5" fmla="*/ 55277 h 55277"/>
                <a:gd name="connsiteX6" fmla="*/ 0 w 51822"/>
                <a:gd name="connsiteY6" fmla="*/ 27638 h 55277"/>
                <a:gd name="connsiteX7" fmla="*/ 17274 w 51822"/>
                <a:gd name="connsiteY7" fmla="*/ 3455 h 5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22" h="55277">
                  <a:moveTo>
                    <a:pt x="17274" y="3455"/>
                  </a:moveTo>
                  <a:lnTo>
                    <a:pt x="41458" y="0"/>
                  </a:lnTo>
                  <a:lnTo>
                    <a:pt x="51822" y="20729"/>
                  </a:lnTo>
                  <a:lnTo>
                    <a:pt x="41458" y="34548"/>
                  </a:lnTo>
                  <a:lnTo>
                    <a:pt x="27639" y="38003"/>
                  </a:lnTo>
                  <a:lnTo>
                    <a:pt x="10364" y="55277"/>
                  </a:lnTo>
                  <a:lnTo>
                    <a:pt x="0" y="27638"/>
                  </a:lnTo>
                  <a:lnTo>
                    <a:pt x="17274" y="3455"/>
                  </a:lnTo>
                  <a:close/>
                </a:path>
              </a:pathLst>
            </a:custGeom>
            <a:solidFill>
              <a:srgbClr val="CEE3BF"/>
            </a:solidFill>
            <a:ln w="9334" cap="flat">
              <a:noFill/>
              <a:prstDash val="solid"/>
              <a:miter/>
            </a:ln>
          </p:spPr>
          <p:txBody>
            <a:bodyPr rtlCol="0" anchor="ctr"/>
            <a:lstStyle/>
            <a:p>
              <a:endParaRPr lang="en-GB" dirty="0"/>
            </a:p>
          </p:txBody>
        </p:sp>
        <p:sp>
          <p:nvSpPr>
            <p:cNvPr id="1064" name="Freeform: Shape 1063">
              <a:extLst>
                <a:ext uri="{FF2B5EF4-FFF2-40B4-BE49-F238E27FC236}">
                  <a16:creationId xmlns:a16="http://schemas.microsoft.com/office/drawing/2014/main" id="{8AB498A5-C5D7-4941-8594-757B85EDEFD7}"/>
                </a:ext>
              </a:extLst>
            </p:cNvPr>
            <p:cNvSpPr/>
            <p:nvPr/>
          </p:nvSpPr>
          <p:spPr>
            <a:xfrm>
              <a:off x="6649726" y="4412199"/>
              <a:ext cx="148463" cy="145195"/>
            </a:xfrm>
            <a:custGeom>
              <a:avLst/>
              <a:gdLst>
                <a:gd name="connsiteX0" fmla="*/ 0 w 148463"/>
                <a:gd name="connsiteY0" fmla="*/ 145195 h 145195"/>
                <a:gd name="connsiteX1" fmla="*/ 3455 w 148463"/>
                <a:gd name="connsiteY1" fmla="*/ 110554 h 145195"/>
                <a:gd name="connsiteX2" fmla="*/ 10364 w 148463"/>
                <a:gd name="connsiteY2" fmla="*/ 89825 h 145195"/>
                <a:gd name="connsiteX3" fmla="*/ 44912 w 148463"/>
                <a:gd name="connsiteY3" fmla="*/ 58732 h 145195"/>
                <a:gd name="connsiteX4" fmla="*/ 44912 w 148463"/>
                <a:gd name="connsiteY4" fmla="*/ 51822 h 145195"/>
                <a:gd name="connsiteX5" fmla="*/ 34548 w 148463"/>
                <a:gd name="connsiteY5" fmla="*/ 48367 h 145195"/>
                <a:gd name="connsiteX6" fmla="*/ 27638 w 148463"/>
                <a:gd name="connsiteY6" fmla="*/ 6910 h 145195"/>
                <a:gd name="connsiteX7" fmla="*/ 117370 w 148463"/>
                <a:gd name="connsiteY7" fmla="*/ 0 h 145195"/>
                <a:gd name="connsiteX8" fmla="*/ 138099 w 148463"/>
                <a:gd name="connsiteY8" fmla="*/ 34548 h 145195"/>
                <a:gd name="connsiteX9" fmla="*/ 148463 w 148463"/>
                <a:gd name="connsiteY9" fmla="*/ 72551 h 145195"/>
                <a:gd name="connsiteX10" fmla="*/ 124280 w 148463"/>
                <a:gd name="connsiteY10" fmla="*/ 100190 h 145195"/>
                <a:gd name="connsiteX11" fmla="*/ 131189 w 148463"/>
                <a:gd name="connsiteY11" fmla="*/ 124373 h 145195"/>
                <a:gd name="connsiteX12" fmla="*/ 120825 w 148463"/>
                <a:gd name="connsiteY12" fmla="*/ 145195 h 145195"/>
                <a:gd name="connsiteX13" fmla="*/ 62186 w 148463"/>
                <a:gd name="connsiteY13" fmla="*/ 141740 h 145195"/>
                <a:gd name="connsiteX14" fmla="*/ 24183 w 148463"/>
                <a:gd name="connsiteY14" fmla="*/ 141740 h 145195"/>
                <a:gd name="connsiteX15" fmla="*/ 0 w 148463"/>
                <a:gd name="connsiteY15" fmla="*/ 145195 h 14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463" h="145195">
                  <a:moveTo>
                    <a:pt x="0" y="145195"/>
                  </a:moveTo>
                  <a:lnTo>
                    <a:pt x="3455" y="110554"/>
                  </a:lnTo>
                  <a:lnTo>
                    <a:pt x="10364" y="89825"/>
                  </a:lnTo>
                  <a:lnTo>
                    <a:pt x="44912" y="58732"/>
                  </a:lnTo>
                  <a:lnTo>
                    <a:pt x="44912" y="51822"/>
                  </a:lnTo>
                  <a:lnTo>
                    <a:pt x="34548" y="48367"/>
                  </a:lnTo>
                  <a:lnTo>
                    <a:pt x="27638" y="6910"/>
                  </a:lnTo>
                  <a:lnTo>
                    <a:pt x="117370" y="0"/>
                  </a:lnTo>
                  <a:lnTo>
                    <a:pt x="138099" y="34548"/>
                  </a:lnTo>
                  <a:lnTo>
                    <a:pt x="148463" y="72551"/>
                  </a:lnTo>
                  <a:lnTo>
                    <a:pt x="124280" y="100190"/>
                  </a:lnTo>
                  <a:lnTo>
                    <a:pt x="131189" y="124373"/>
                  </a:lnTo>
                  <a:lnTo>
                    <a:pt x="120825" y="145195"/>
                  </a:lnTo>
                  <a:lnTo>
                    <a:pt x="62186" y="141740"/>
                  </a:lnTo>
                  <a:lnTo>
                    <a:pt x="24183" y="141740"/>
                  </a:lnTo>
                  <a:lnTo>
                    <a:pt x="0" y="145195"/>
                  </a:lnTo>
                  <a:close/>
                </a:path>
              </a:pathLst>
            </a:custGeom>
            <a:solidFill>
              <a:srgbClr val="CEE3BF"/>
            </a:solidFill>
            <a:ln w="9334" cap="flat">
              <a:noFill/>
              <a:prstDash val="solid"/>
              <a:miter/>
            </a:ln>
          </p:spPr>
          <p:txBody>
            <a:bodyPr rtlCol="0" anchor="ctr"/>
            <a:lstStyle/>
            <a:p>
              <a:endParaRPr lang="en-GB" dirty="0"/>
            </a:p>
          </p:txBody>
        </p:sp>
        <p:sp>
          <p:nvSpPr>
            <p:cNvPr id="1065" name="Freeform: Shape 1064">
              <a:extLst>
                <a:ext uri="{FF2B5EF4-FFF2-40B4-BE49-F238E27FC236}">
                  <a16:creationId xmlns:a16="http://schemas.microsoft.com/office/drawing/2014/main" id="{E55ABEF7-E1BA-4E60-A941-1978D6B9120C}"/>
                </a:ext>
              </a:extLst>
            </p:cNvPr>
            <p:cNvSpPr/>
            <p:nvPr/>
          </p:nvSpPr>
          <p:spPr>
            <a:xfrm>
              <a:off x="6649726" y="4412199"/>
              <a:ext cx="148463" cy="145195"/>
            </a:xfrm>
            <a:custGeom>
              <a:avLst/>
              <a:gdLst>
                <a:gd name="connsiteX0" fmla="*/ 0 w 148463"/>
                <a:gd name="connsiteY0" fmla="*/ 145195 h 145195"/>
                <a:gd name="connsiteX1" fmla="*/ 3455 w 148463"/>
                <a:gd name="connsiteY1" fmla="*/ 110554 h 145195"/>
                <a:gd name="connsiteX2" fmla="*/ 10364 w 148463"/>
                <a:gd name="connsiteY2" fmla="*/ 89825 h 145195"/>
                <a:gd name="connsiteX3" fmla="*/ 44912 w 148463"/>
                <a:gd name="connsiteY3" fmla="*/ 58732 h 145195"/>
                <a:gd name="connsiteX4" fmla="*/ 44912 w 148463"/>
                <a:gd name="connsiteY4" fmla="*/ 51822 h 145195"/>
                <a:gd name="connsiteX5" fmla="*/ 34548 w 148463"/>
                <a:gd name="connsiteY5" fmla="*/ 48367 h 145195"/>
                <a:gd name="connsiteX6" fmla="*/ 27638 w 148463"/>
                <a:gd name="connsiteY6" fmla="*/ 6910 h 145195"/>
                <a:gd name="connsiteX7" fmla="*/ 117370 w 148463"/>
                <a:gd name="connsiteY7" fmla="*/ 0 h 145195"/>
                <a:gd name="connsiteX8" fmla="*/ 138099 w 148463"/>
                <a:gd name="connsiteY8" fmla="*/ 34548 h 145195"/>
                <a:gd name="connsiteX9" fmla="*/ 148463 w 148463"/>
                <a:gd name="connsiteY9" fmla="*/ 72551 h 145195"/>
                <a:gd name="connsiteX10" fmla="*/ 124280 w 148463"/>
                <a:gd name="connsiteY10" fmla="*/ 100190 h 145195"/>
                <a:gd name="connsiteX11" fmla="*/ 131189 w 148463"/>
                <a:gd name="connsiteY11" fmla="*/ 124373 h 145195"/>
                <a:gd name="connsiteX12" fmla="*/ 120825 w 148463"/>
                <a:gd name="connsiteY12" fmla="*/ 145195 h 145195"/>
                <a:gd name="connsiteX13" fmla="*/ 62186 w 148463"/>
                <a:gd name="connsiteY13" fmla="*/ 141740 h 145195"/>
                <a:gd name="connsiteX14" fmla="*/ 24183 w 148463"/>
                <a:gd name="connsiteY14" fmla="*/ 141740 h 145195"/>
                <a:gd name="connsiteX15" fmla="*/ 0 w 148463"/>
                <a:gd name="connsiteY15" fmla="*/ 145195 h 14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463" h="145195">
                  <a:moveTo>
                    <a:pt x="0" y="145195"/>
                  </a:moveTo>
                  <a:lnTo>
                    <a:pt x="3455" y="110554"/>
                  </a:lnTo>
                  <a:lnTo>
                    <a:pt x="10364" y="89825"/>
                  </a:lnTo>
                  <a:lnTo>
                    <a:pt x="44912" y="58732"/>
                  </a:lnTo>
                  <a:lnTo>
                    <a:pt x="44912" y="51822"/>
                  </a:lnTo>
                  <a:lnTo>
                    <a:pt x="34548" y="48367"/>
                  </a:lnTo>
                  <a:lnTo>
                    <a:pt x="27638" y="6910"/>
                  </a:lnTo>
                  <a:lnTo>
                    <a:pt x="117370" y="0"/>
                  </a:lnTo>
                  <a:lnTo>
                    <a:pt x="138099" y="34548"/>
                  </a:lnTo>
                  <a:lnTo>
                    <a:pt x="148463" y="72551"/>
                  </a:lnTo>
                  <a:lnTo>
                    <a:pt x="124280" y="100190"/>
                  </a:lnTo>
                  <a:lnTo>
                    <a:pt x="131189" y="124373"/>
                  </a:lnTo>
                  <a:lnTo>
                    <a:pt x="120825" y="145195"/>
                  </a:lnTo>
                  <a:lnTo>
                    <a:pt x="62186" y="141740"/>
                  </a:lnTo>
                  <a:lnTo>
                    <a:pt x="24183" y="141740"/>
                  </a:lnTo>
                  <a:lnTo>
                    <a:pt x="0" y="145195"/>
                  </a:lnTo>
                  <a:close/>
                </a:path>
              </a:pathLst>
            </a:custGeom>
            <a:solidFill>
              <a:srgbClr val="CEE3BF"/>
            </a:solidFill>
            <a:ln w="9334" cap="flat">
              <a:noFill/>
              <a:prstDash val="solid"/>
              <a:miter/>
            </a:ln>
          </p:spPr>
          <p:txBody>
            <a:bodyPr rtlCol="0" anchor="ctr"/>
            <a:lstStyle/>
            <a:p>
              <a:endParaRPr lang="en-GB" dirty="0"/>
            </a:p>
          </p:txBody>
        </p:sp>
        <p:sp>
          <p:nvSpPr>
            <p:cNvPr id="1066" name="Freeform: Shape 1065">
              <a:extLst>
                <a:ext uri="{FF2B5EF4-FFF2-40B4-BE49-F238E27FC236}">
                  <a16:creationId xmlns:a16="http://schemas.microsoft.com/office/drawing/2014/main" id="{58CCDA61-9434-4714-8568-607D30444159}"/>
                </a:ext>
              </a:extLst>
            </p:cNvPr>
            <p:cNvSpPr/>
            <p:nvPr/>
          </p:nvSpPr>
          <p:spPr>
            <a:xfrm>
              <a:off x="6169881" y="4685222"/>
              <a:ext cx="362474" cy="352670"/>
            </a:xfrm>
            <a:custGeom>
              <a:avLst/>
              <a:gdLst>
                <a:gd name="connsiteX0" fmla="*/ 0 w 362474"/>
                <a:gd name="connsiteY0" fmla="*/ 321484 h 352670"/>
                <a:gd name="connsiteX1" fmla="*/ 0 w 362474"/>
                <a:gd name="connsiteY1" fmla="*/ 280026 h 352670"/>
                <a:gd name="connsiteX2" fmla="*/ 13819 w 362474"/>
                <a:gd name="connsiteY2" fmla="*/ 217840 h 352670"/>
                <a:gd name="connsiteX3" fmla="*/ 48274 w 362474"/>
                <a:gd name="connsiteY3" fmla="*/ 162469 h 352670"/>
                <a:gd name="connsiteX4" fmla="*/ 48274 w 362474"/>
                <a:gd name="connsiteY4" fmla="*/ 134831 h 352670"/>
                <a:gd name="connsiteX5" fmla="*/ 27545 w 362474"/>
                <a:gd name="connsiteY5" fmla="*/ 89918 h 352670"/>
                <a:gd name="connsiteX6" fmla="*/ 34455 w 362474"/>
                <a:gd name="connsiteY6" fmla="*/ 65735 h 352670"/>
                <a:gd name="connsiteX7" fmla="*/ 0 w 362474"/>
                <a:gd name="connsiteY7" fmla="*/ 3455 h 352670"/>
                <a:gd name="connsiteX8" fmla="*/ 17180 w 362474"/>
                <a:gd name="connsiteY8" fmla="*/ 0 h 352670"/>
                <a:gd name="connsiteX9" fmla="*/ 124280 w 362474"/>
                <a:gd name="connsiteY9" fmla="*/ 0 h 352670"/>
                <a:gd name="connsiteX10" fmla="*/ 131189 w 362474"/>
                <a:gd name="connsiteY10" fmla="*/ 24184 h 352670"/>
                <a:gd name="connsiteX11" fmla="*/ 148463 w 362474"/>
                <a:gd name="connsiteY11" fmla="*/ 55371 h 352670"/>
                <a:gd name="connsiteX12" fmla="*/ 200192 w 362474"/>
                <a:gd name="connsiteY12" fmla="*/ 58825 h 352670"/>
                <a:gd name="connsiteX13" fmla="*/ 217466 w 362474"/>
                <a:gd name="connsiteY13" fmla="*/ 31187 h 352670"/>
                <a:gd name="connsiteX14" fmla="*/ 262378 w 362474"/>
                <a:gd name="connsiteY14" fmla="*/ 41551 h 352670"/>
                <a:gd name="connsiteX15" fmla="*/ 265833 w 362474"/>
                <a:gd name="connsiteY15" fmla="*/ 110647 h 352670"/>
                <a:gd name="connsiteX16" fmla="*/ 283108 w 362474"/>
                <a:gd name="connsiteY16" fmla="*/ 121012 h 352670"/>
                <a:gd name="connsiteX17" fmla="*/ 279653 w 362474"/>
                <a:gd name="connsiteY17" fmla="*/ 141741 h 352670"/>
                <a:gd name="connsiteX18" fmla="*/ 324472 w 362474"/>
                <a:gd name="connsiteY18" fmla="*/ 141741 h 352670"/>
                <a:gd name="connsiteX19" fmla="*/ 324472 w 362474"/>
                <a:gd name="connsiteY19" fmla="*/ 200566 h 352670"/>
                <a:gd name="connsiteX20" fmla="*/ 272743 w 362474"/>
                <a:gd name="connsiteY20" fmla="*/ 200566 h 352670"/>
                <a:gd name="connsiteX21" fmla="*/ 276198 w 362474"/>
                <a:gd name="connsiteY21" fmla="*/ 290391 h 352670"/>
                <a:gd name="connsiteX22" fmla="*/ 307198 w 362474"/>
                <a:gd name="connsiteY22" fmla="*/ 324939 h 352670"/>
                <a:gd name="connsiteX23" fmla="*/ 352110 w 362474"/>
                <a:gd name="connsiteY23" fmla="*/ 328394 h 352670"/>
                <a:gd name="connsiteX24" fmla="*/ 362475 w 362474"/>
                <a:gd name="connsiteY24" fmla="*/ 338758 h 352670"/>
                <a:gd name="connsiteX25" fmla="*/ 352110 w 362474"/>
                <a:gd name="connsiteY25" fmla="*/ 338758 h 352670"/>
                <a:gd name="connsiteX26" fmla="*/ 314108 w 362474"/>
                <a:gd name="connsiteY26" fmla="*/ 352671 h 352670"/>
                <a:gd name="connsiteX27" fmla="*/ 303743 w 362474"/>
                <a:gd name="connsiteY27" fmla="*/ 338758 h 352670"/>
                <a:gd name="connsiteX28" fmla="*/ 245105 w 362474"/>
                <a:gd name="connsiteY28" fmla="*/ 345761 h 352670"/>
                <a:gd name="connsiteX29" fmla="*/ 231285 w 362474"/>
                <a:gd name="connsiteY29" fmla="*/ 335303 h 352670"/>
                <a:gd name="connsiteX30" fmla="*/ 182918 w 362474"/>
                <a:gd name="connsiteY30" fmla="*/ 331848 h 352670"/>
                <a:gd name="connsiteX31" fmla="*/ 169099 w 362474"/>
                <a:gd name="connsiteY31" fmla="*/ 321484 h 352670"/>
                <a:gd name="connsiteX32" fmla="*/ 0 w 362474"/>
                <a:gd name="connsiteY32" fmla="*/ 321484 h 352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2474" h="352670">
                  <a:moveTo>
                    <a:pt x="0" y="321484"/>
                  </a:moveTo>
                  <a:lnTo>
                    <a:pt x="0" y="280026"/>
                  </a:lnTo>
                  <a:lnTo>
                    <a:pt x="13819" y="217840"/>
                  </a:lnTo>
                  <a:lnTo>
                    <a:pt x="48274" y="162469"/>
                  </a:lnTo>
                  <a:lnTo>
                    <a:pt x="48274" y="134831"/>
                  </a:lnTo>
                  <a:lnTo>
                    <a:pt x="27545" y="89918"/>
                  </a:lnTo>
                  <a:lnTo>
                    <a:pt x="34455" y="65735"/>
                  </a:lnTo>
                  <a:lnTo>
                    <a:pt x="0" y="3455"/>
                  </a:lnTo>
                  <a:lnTo>
                    <a:pt x="17180" y="0"/>
                  </a:lnTo>
                  <a:lnTo>
                    <a:pt x="124280" y="0"/>
                  </a:lnTo>
                  <a:lnTo>
                    <a:pt x="131189" y="24184"/>
                  </a:lnTo>
                  <a:lnTo>
                    <a:pt x="148463" y="55371"/>
                  </a:lnTo>
                  <a:lnTo>
                    <a:pt x="200192" y="58825"/>
                  </a:lnTo>
                  <a:lnTo>
                    <a:pt x="217466" y="31187"/>
                  </a:lnTo>
                  <a:lnTo>
                    <a:pt x="262378" y="41551"/>
                  </a:lnTo>
                  <a:lnTo>
                    <a:pt x="265833" y="110647"/>
                  </a:lnTo>
                  <a:lnTo>
                    <a:pt x="283108" y="121012"/>
                  </a:lnTo>
                  <a:lnTo>
                    <a:pt x="279653" y="141741"/>
                  </a:lnTo>
                  <a:lnTo>
                    <a:pt x="324472" y="141741"/>
                  </a:lnTo>
                  <a:lnTo>
                    <a:pt x="324472" y="200566"/>
                  </a:lnTo>
                  <a:lnTo>
                    <a:pt x="272743" y="200566"/>
                  </a:lnTo>
                  <a:lnTo>
                    <a:pt x="276198" y="290391"/>
                  </a:lnTo>
                  <a:lnTo>
                    <a:pt x="307198" y="324939"/>
                  </a:lnTo>
                  <a:lnTo>
                    <a:pt x="352110" y="328394"/>
                  </a:lnTo>
                  <a:lnTo>
                    <a:pt x="362475" y="338758"/>
                  </a:lnTo>
                  <a:lnTo>
                    <a:pt x="352110" y="338758"/>
                  </a:lnTo>
                  <a:lnTo>
                    <a:pt x="314108" y="352671"/>
                  </a:lnTo>
                  <a:lnTo>
                    <a:pt x="303743" y="338758"/>
                  </a:lnTo>
                  <a:lnTo>
                    <a:pt x="245105" y="345761"/>
                  </a:lnTo>
                  <a:lnTo>
                    <a:pt x="231285" y="335303"/>
                  </a:lnTo>
                  <a:lnTo>
                    <a:pt x="182918" y="331848"/>
                  </a:lnTo>
                  <a:lnTo>
                    <a:pt x="169099" y="321484"/>
                  </a:lnTo>
                  <a:lnTo>
                    <a:pt x="0" y="321484"/>
                  </a:lnTo>
                  <a:close/>
                </a:path>
              </a:pathLst>
            </a:custGeom>
            <a:solidFill>
              <a:srgbClr val="CEE3BF"/>
            </a:solidFill>
            <a:ln w="9334" cap="flat">
              <a:noFill/>
              <a:prstDash val="solid"/>
              <a:miter/>
            </a:ln>
          </p:spPr>
          <p:txBody>
            <a:bodyPr rtlCol="0" anchor="ctr"/>
            <a:lstStyle/>
            <a:p>
              <a:endParaRPr lang="en-GB" dirty="0"/>
            </a:p>
          </p:txBody>
        </p:sp>
        <p:sp>
          <p:nvSpPr>
            <p:cNvPr id="1067" name="Freeform: Shape 1066">
              <a:extLst>
                <a:ext uri="{FF2B5EF4-FFF2-40B4-BE49-F238E27FC236}">
                  <a16:creationId xmlns:a16="http://schemas.microsoft.com/office/drawing/2014/main" id="{9AF2D722-A456-4D96-8351-146BC52A5FA7}"/>
                </a:ext>
              </a:extLst>
            </p:cNvPr>
            <p:cNvSpPr/>
            <p:nvPr/>
          </p:nvSpPr>
          <p:spPr>
            <a:xfrm>
              <a:off x="6180246" y="4377558"/>
              <a:ext cx="514393" cy="518594"/>
            </a:xfrm>
            <a:custGeom>
              <a:avLst/>
              <a:gdLst>
                <a:gd name="connsiteX0" fmla="*/ 0 w 514393"/>
                <a:gd name="connsiteY0" fmla="*/ 304210 h 518594"/>
                <a:gd name="connsiteX1" fmla="*/ 10271 w 514393"/>
                <a:gd name="connsiteY1" fmla="*/ 280026 h 518594"/>
                <a:gd name="connsiteX2" fmla="*/ 24090 w 514393"/>
                <a:gd name="connsiteY2" fmla="*/ 276571 h 518594"/>
                <a:gd name="connsiteX3" fmla="*/ 58639 w 514393"/>
                <a:gd name="connsiteY3" fmla="*/ 269662 h 518594"/>
                <a:gd name="connsiteX4" fmla="*/ 103551 w 514393"/>
                <a:gd name="connsiteY4" fmla="*/ 248933 h 518594"/>
                <a:gd name="connsiteX5" fmla="*/ 110461 w 514393"/>
                <a:gd name="connsiteY5" fmla="*/ 193656 h 518594"/>
                <a:gd name="connsiteX6" fmla="*/ 151825 w 514393"/>
                <a:gd name="connsiteY6" fmla="*/ 127921 h 518594"/>
                <a:gd name="connsiteX7" fmla="*/ 162189 w 514393"/>
                <a:gd name="connsiteY7" fmla="*/ 72644 h 518594"/>
                <a:gd name="connsiteX8" fmla="*/ 165644 w 514393"/>
                <a:gd name="connsiteY8" fmla="*/ 51915 h 518594"/>
                <a:gd name="connsiteX9" fmla="*/ 169099 w 514393"/>
                <a:gd name="connsiteY9" fmla="*/ 27732 h 518594"/>
                <a:gd name="connsiteX10" fmla="*/ 193283 w 514393"/>
                <a:gd name="connsiteY10" fmla="*/ 0 h 518594"/>
                <a:gd name="connsiteX11" fmla="*/ 217466 w 514393"/>
                <a:gd name="connsiteY11" fmla="*/ 24277 h 518594"/>
                <a:gd name="connsiteX12" fmla="*/ 238195 w 514393"/>
                <a:gd name="connsiteY12" fmla="*/ 31187 h 518594"/>
                <a:gd name="connsiteX13" fmla="*/ 276105 w 514393"/>
                <a:gd name="connsiteY13" fmla="*/ 34641 h 518594"/>
                <a:gd name="connsiteX14" fmla="*/ 296833 w 514393"/>
                <a:gd name="connsiteY14" fmla="*/ 20822 h 518594"/>
                <a:gd name="connsiteX15" fmla="*/ 355565 w 514393"/>
                <a:gd name="connsiteY15" fmla="*/ 3455 h 518594"/>
                <a:gd name="connsiteX16" fmla="*/ 407387 w 514393"/>
                <a:gd name="connsiteY16" fmla="*/ 6910 h 518594"/>
                <a:gd name="connsiteX17" fmla="*/ 421113 w 514393"/>
                <a:gd name="connsiteY17" fmla="*/ 24277 h 518594"/>
                <a:gd name="connsiteX18" fmla="*/ 469481 w 514393"/>
                <a:gd name="connsiteY18" fmla="*/ 20822 h 518594"/>
                <a:gd name="connsiteX19" fmla="*/ 497119 w 514393"/>
                <a:gd name="connsiteY19" fmla="*/ 41551 h 518594"/>
                <a:gd name="connsiteX20" fmla="*/ 504028 w 514393"/>
                <a:gd name="connsiteY20" fmla="*/ 83009 h 518594"/>
                <a:gd name="connsiteX21" fmla="*/ 514393 w 514393"/>
                <a:gd name="connsiteY21" fmla="*/ 86463 h 518594"/>
                <a:gd name="connsiteX22" fmla="*/ 514393 w 514393"/>
                <a:gd name="connsiteY22" fmla="*/ 93373 h 518594"/>
                <a:gd name="connsiteX23" fmla="*/ 479845 w 514393"/>
                <a:gd name="connsiteY23" fmla="*/ 124466 h 518594"/>
                <a:gd name="connsiteX24" fmla="*/ 472936 w 514393"/>
                <a:gd name="connsiteY24" fmla="*/ 145195 h 518594"/>
                <a:gd name="connsiteX25" fmla="*/ 469481 w 514393"/>
                <a:gd name="connsiteY25" fmla="*/ 179837 h 518594"/>
                <a:gd name="connsiteX26" fmla="*/ 452206 w 514393"/>
                <a:gd name="connsiteY26" fmla="*/ 204020 h 518594"/>
                <a:gd name="connsiteX27" fmla="*/ 462571 w 514393"/>
                <a:gd name="connsiteY27" fmla="*/ 231659 h 518594"/>
                <a:gd name="connsiteX28" fmla="*/ 466025 w 514393"/>
                <a:gd name="connsiteY28" fmla="*/ 273117 h 518594"/>
                <a:gd name="connsiteX29" fmla="*/ 466025 w 514393"/>
                <a:gd name="connsiteY29" fmla="*/ 297300 h 518594"/>
                <a:gd name="connsiteX30" fmla="*/ 469481 w 514393"/>
                <a:gd name="connsiteY30" fmla="*/ 318029 h 518594"/>
                <a:gd name="connsiteX31" fmla="*/ 493664 w 514393"/>
                <a:gd name="connsiteY31" fmla="*/ 349216 h 518594"/>
                <a:gd name="connsiteX32" fmla="*/ 497119 w 514393"/>
                <a:gd name="connsiteY32" fmla="*/ 376854 h 518594"/>
                <a:gd name="connsiteX33" fmla="*/ 466025 w 514393"/>
                <a:gd name="connsiteY33" fmla="*/ 376854 h 518594"/>
                <a:gd name="connsiteX34" fmla="*/ 438387 w 514393"/>
                <a:gd name="connsiteY34" fmla="*/ 390673 h 518594"/>
                <a:gd name="connsiteX35" fmla="*/ 441842 w 514393"/>
                <a:gd name="connsiteY35" fmla="*/ 421767 h 518594"/>
                <a:gd name="connsiteX36" fmla="*/ 434933 w 514393"/>
                <a:gd name="connsiteY36" fmla="*/ 459770 h 518594"/>
                <a:gd name="connsiteX37" fmla="*/ 452206 w 514393"/>
                <a:gd name="connsiteY37" fmla="*/ 477044 h 518594"/>
                <a:gd name="connsiteX38" fmla="*/ 476390 w 514393"/>
                <a:gd name="connsiteY38" fmla="*/ 487408 h 518594"/>
                <a:gd name="connsiteX39" fmla="*/ 476390 w 514393"/>
                <a:gd name="connsiteY39" fmla="*/ 518595 h 518594"/>
                <a:gd name="connsiteX40" fmla="*/ 452206 w 514393"/>
                <a:gd name="connsiteY40" fmla="*/ 518595 h 518594"/>
                <a:gd name="connsiteX41" fmla="*/ 438387 w 514393"/>
                <a:gd name="connsiteY41" fmla="*/ 497866 h 518594"/>
                <a:gd name="connsiteX42" fmla="*/ 417658 w 514393"/>
                <a:gd name="connsiteY42" fmla="*/ 487408 h 518594"/>
                <a:gd name="connsiteX43" fmla="*/ 403933 w 514393"/>
                <a:gd name="connsiteY43" fmla="*/ 466679 h 518594"/>
                <a:gd name="connsiteX44" fmla="*/ 379749 w 514393"/>
                <a:gd name="connsiteY44" fmla="*/ 477044 h 518594"/>
                <a:gd name="connsiteX45" fmla="*/ 314108 w 514393"/>
                <a:gd name="connsiteY45" fmla="*/ 449405 h 518594"/>
                <a:gd name="connsiteX46" fmla="*/ 269289 w 514393"/>
                <a:gd name="connsiteY46" fmla="*/ 449405 h 518594"/>
                <a:gd name="connsiteX47" fmla="*/ 272743 w 514393"/>
                <a:gd name="connsiteY47" fmla="*/ 428676 h 518594"/>
                <a:gd name="connsiteX48" fmla="*/ 255469 w 514393"/>
                <a:gd name="connsiteY48" fmla="*/ 418312 h 518594"/>
                <a:gd name="connsiteX49" fmla="*/ 252014 w 514393"/>
                <a:gd name="connsiteY49" fmla="*/ 349216 h 518594"/>
                <a:gd name="connsiteX50" fmla="*/ 207102 w 514393"/>
                <a:gd name="connsiteY50" fmla="*/ 338851 h 518594"/>
                <a:gd name="connsiteX51" fmla="*/ 189828 w 514393"/>
                <a:gd name="connsiteY51" fmla="*/ 366490 h 518594"/>
                <a:gd name="connsiteX52" fmla="*/ 138099 w 514393"/>
                <a:gd name="connsiteY52" fmla="*/ 363035 h 518594"/>
                <a:gd name="connsiteX53" fmla="*/ 120825 w 514393"/>
                <a:gd name="connsiteY53" fmla="*/ 331848 h 518594"/>
                <a:gd name="connsiteX54" fmla="*/ 113915 w 514393"/>
                <a:gd name="connsiteY54" fmla="*/ 307665 h 518594"/>
                <a:gd name="connsiteX55" fmla="*/ 10271 w 514393"/>
                <a:gd name="connsiteY55" fmla="*/ 307665 h 518594"/>
                <a:gd name="connsiteX56" fmla="*/ 0 w 514393"/>
                <a:gd name="connsiteY56" fmla="*/ 304210 h 5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14393" h="518594">
                  <a:moveTo>
                    <a:pt x="0" y="304210"/>
                  </a:moveTo>
                  <a:lnTo>
                    <a:pt x="10271" y="280026"/>
                  </a:lnTo>
                  <a:lnTo>
                    <a:pt x="24090" y="276571"/>
                  </a:lnTo>
                  <a:lnTo>
                    <a:pt x="58639" y="269662"/>
                  </a:lnTo>
                  <a:lnTo>
                    <a:pt x="103551" y="248933"/>
                  </a:lnTo>
                  <a:lnTo>
                    <a:pt x="110461" y="193656"/>
                  </a:lnTo>
                  <a:lnTo>
                    <a:pt x="151825" y="127921"/>
                  </a:lnTo>
                  <a:lnTo>
                    <a:pt x="162189" y="72644"/>
                  </a:lnTo>
                  <a:lnTo>
                    <a:pt x="165644" y="51915"/>
                  </a:lnTo>
                  <a:lnTo>
                    <a:pt x="169099" y="27732"/>
                  </a:lnTo>
                  <a:lnTo>
                    <a:pt x="193283" y="0"/>
                  </a:lnTo>
                  <a:lnTo>
                    <a:pt x="217466" y="24277"/>
                  </a:lnTo>
                  <a:lnTo>
                    <a:pt x="238195" y="31187"/>
                  </a:lnTo>
                  <a:lnTo>
                    <a:pt x="276105" y="34641"/>
                  </a:lnTo>
                  <a:lnTo>
                    <a:pt x="296833" y="20822"/>
                  </a:lnTo>
                  <a:lnTo>
                    <a:pt x="355565" y="3455"/>
                  </a:lnTo>
                  <a:lnTo>
                    <a:pt x="407387" y="6910"/>
                  </a:lnTo>
                  <a:lnTo>
                    <a:pt x="421113" y="24277"/>
                  </a:lnTo>
                  <a:lnTo>
                    <a:pt x="469481" y="20822"/>
                  </a:lnTo>
                  <a:lnTo>
                    <a:pt x="497119" y="41551"/>
                  </a:lnTo>
                  <a:lnTo>
                    <a:pt x="504028" y="83009"/>
                  </a:lnTo>
                  <a:lnTo>
                    <a:pt x="514393" y="86463"/>
                  </a:lnTo>
                  <a:lnTo>
                    <a:pt x="514393" y="93373"/>
                  </a:lnTo>
                  <a:lnTo>
                    <a:pt x="479845" y="124466"/>
                  </a:lnTo>
                  <a:lnTo>
                    <a:pt x="472936" y="145195"/>
                  </a:lnTo>
                  <a:lnTo>
                    <a:pt x="469481" y="179837"/>
                  </a:lnTo>
                  <a:lnTo>
                    <a:pt x="452206" y="204020"/>
                  </a:lnTo>
                  <a:lnTo>
                    <a:pt x="462571" y="231659"/>
                  </a:lnTo>
                  <a:lnTo>
                    <a:pt x="466025" y="273117"/>
                  </a:lnTo>
                  <a:lnTo>
                    <a:pt x="466025" y="297300"/>
                  </a:lnTo>
                  <a:lnTo>
                    <a:pt x="469481" y="318029"/>
                  </a:lnTo>
                  <a:lnTo>
                    <a:pt x="493664" y="349216"/>
                  </a:lnTo>
                  <a:lnTo>
                    <a:pt x="497119" y="376854"/>
                  </a:lnTo>
                  <a:lnTo>
                    <a:pt x="466025" y="376854"/>
                  </a:lnTo>
                  <a:lnTo>
                    <a:pt x="438387" y="390673"/>
                  </a:lnTo>
                  <a:lnTo>
                    <a:pt x="441842" y="421767"/>
                  </a:lnTo>
                  <a:lnTo>
                    <a:pt x="434933" y="459770"/>
                  </a:lnTo>
                  <a:lnTo>
                    <a:pt x="452206" y="477044"/>
                  </a:lnTo>
                  <a:lnTo>
                    <a:pt x="476390" y="487408"/>
                  </a:lnTo>
                  <a:lnTo>
                    <a:pt x="476390" y="518595"/>
                  </a:lnTo>
                  <a:lnTo>
                    <a:pt x="452206" y="518595"/>
                  </a:lnTo>
                  <a:lnTo>
                    <a:pt x="438387" y="497866"/>
                  </a:lnTo>
                  <a:lnTo>
                    <a:pt x="417658" y="487408"/>
                  </a:lnTo>
                  <a:lnTo>
                    <a:pt x="403933" y="466679"/>
                  </a:lnTo>
                  <a:lnTo>
                    <a:pt x="379749" y="477044"/>
                  </a:lnTo>
                  <a:lnTo>
                    <a:pt x="314108" y="449405"/>
                  </a:lnTo>
                  <a:lnTo>
                    <a:pt x="269289" y="449405"/>
                  </a:lnTo>
                  <a:lnTo>
                    <a:pt x="272743" y="428676"/>
                  </a:lnTo>
                  <a:lnTo>
                    <a:pt x="255469" y="418312"/>
                  </a:lnTo>
                  <a:lnTo>
                    <a:pt x="252014" y="349216"/>
                  </a:lnTo>
                  <a:lnTo>
                    <a:pt x="207102" y="338851"/>
                  </a:lnTo>
                  <a:lnTo>
                    <a:pt x="189828" y="366490"/>
                  </a:lnTo>
                  <a:lnTo>
                    <a:pt x="138099" y="363035"/>
                  </a:lnTo>
                  <a:lnTo>
                    <a:pt x="120825" y="331848"/>
                  </a:lnTo>
                  <a:lnTo>
                    <a:pt x="113915" y="307665"/>
                  </a:lnTo>
                  <a:lnTo>
                    <a:pt x="10271" y="307665"/>
                  </a:lnTo>
                  <a:lnTo>
                    <a:pt x="0" y="304210"/>
                  </a:lnTo>
                  <a:close/>
                </a:path>
              </a:pathLst>
            </a:custGeom>
            <a:solidFill>
              <a:srgbClr val="CEE3BF"/>
            </a:solidFill>
            <a:ln w="9334" cap="flat">
              <a:noFill/>
              <a:prstDash val="solid"/>
              <a:miter/>
            </a:ln>
          </p:spPr>
          <p:txBody>
            <a:bodyPr rtlCol="0" anchor="ctr"/>
            <a:lstStyle/>
            <a:p>
              <a:endParaRPr lang="en-GB" dirty="0"/>
            </a:p>
          </p:txBody>
        </p:sp>
        <p:sp>
          <p:nvSpPr>
            <p:cNvPr id="1068" name="Freeform: Shape 1067">
              <a:extLst>
                <a:ext uri="{FF2B5EF4-FFF2-40B4-BE49-F238E27FC236}">
                  <a16:creationId xmlns:a16="http://schemas.microsoft.com/office/drawing/2014/main" id="{9C3CDA2F-A194-4DB1-9080-8310EE29F11B}"/>
                </a:ext>
              </a:extLst>
            </p:cNvPr>
            <p:cNvSpPr/>
            <p:nvPr/>
          </p:nvSpPr>
          <p:spPr>
            <a:xfrm>
              <a:off x="6180246" y="4377558"/>
              <a:ext cx="514393" cy="518594"/>
            </a:xfrm>
            <a:custGeom>
              <a:avLst/>
              <a:gdLst>
                <a:gd name="connsiteX0" fmla="*/ 0 w 514393"/>
                <a:gd name="connsiteY0" fmla="*/ 304210 h 518594"/>
                <a:gd name="connsiteX1" fmla="*/ 10271 w 514393"/>
                <a:gd name="connsiteY1" fmla="*/ 280026 h 518594"/>
                <a:gd name="connsiteX2" fmla="*/ 24090 w 514393"/>
                <a:gd name="connsiteY2" fmla="*/ 276571 h 518594"/>
                <a:gd name="connsiteX3" fmla="*/ 58639 w 514393"/>
                <a:gd name="connsiteY3" fmla="*/ 269662 h 518594"/>
                <a:gd name="connsiteX4" fmla="*/ 103551 w 514393"/>
                <a:gd name="connsiteY4" fmla="*/ 248933 h 518594"/>
                <a:gd name="connsiteX5" fmla="*/ 110461 w 514393"/>
                <a:gd name="connsiteY5" fmla="*/ 193656 h 518594"/>
                <a:gd name="connsiteX6" fmla="*/ 151825 w 514393"/>
                <a:gd name="connsiteY6" fmla="*/ 127921 h 518594"/>
                <a:gd name="connsiteX7" fmla="*/ 162189 w 514393"/>
                <a:gd name="connsiteY7" fmla="*/ 72644 h 518594"/>
                <a:gd name="connsiteX8" fmla="*/ 165644 w 514393"/>
                <a:gd name="connsiteY8" fmla="*/ 51915 h 518594"/>
                <a:gd name="connsiteX9" fmla="*/ 169099 w 514393"/>
                <a:gd name="connsiteY9" fmla="*/ 27732 h 518594"/>
                <a:gd name="connsiteX10" fmla="*/ 193283 w 514393"/>
                <a:gd name="connsiteY10" fmla="*/ 0 h 518594"/>
                <a:gd name="connsiteX11" fmla="*/ 217466 w 514393"/>
                <a:gd name="connsiteY11" fmla="*/ 24277 h 518594"/>
                <a:gd name="connsiteX12" fmla="*/ 238195 w 514393"/>
                <a:gd name="connsiteY12" fmla="*/ 31187 h 518594"/>
                <a:gd name="connsiteX13" fmla="*/ 276105 w 514393"/>
                <a:gd name="connsiteY13" fmla="*/ 34641 h 518594"/>
                <a:gd name="connsiteX14" fmla="*/ 296833 w 514393"/>
                <a:gd name="connsiteY14" fmla="*/ 20822 h 518594"/>
                <a:gd name="connsiteX15" fmla="*/ 355565 w 514393"/>
                <a:gd name="connsiteY15" fmla="*/ 3455 h 518594"/>
                <a:gd name="connsiteX16" fmla="*/ 407387 w 514393"/>
                <a:gd name="connsiteY16" fmla="*/ 6910 h 518594"/>
                <a:gd name="connsiteX17" fmla="*/ 421113 w 514393"/>
                <a:gd name="connsiteY17" fmla="*/ 24277 h 518594"/>
                <a:gd name="connsiteX18" fmla="*/ 469481 w 514393"/>
                <a:gd name="connsiteY18" fmla="*/ 20822 h 518594"/>
                <a:gd name="connsiteX19" fmla="*/ 497119 w 514393"/>
                <a:gd name="connsiteY19" fmla="*/ 41551 h 518594"/>
                <a:gd name="connsiteX20" fmla="*/ 504028 w 514393"/>
                <a:gd name="connsiteY20" fmla="*/ 83009 h 518594"/>
                <a:gd name="connsiteX21" fmla="*/ 514393 w 514393"/>
                <a:gd name="connsiteY21" fmla="*/ 86463 h 518594"/>
                <a:gd name="connsiteX22" fmla="*/ 514393 w 514393"/>
                <a:gd name="connsiteY22" fmla="*/ 93373 h 518594"/>
                <a:gd name="connsiteX23" fmla="*/ 479845 w 514393"/>
                <a:gd name="connsiteY23" fmla="*/ 124466 h 518594"/>
                <a:gd name="connsiteX24" fmla="*/ 472936 w 514393"/>
                <a:gd name="connsiteY24" fmla="*/ 145195 h 518594"/>
                <a:gd name="connsiteX25" fmla="*/ 469481 w 514393"/>
                <a:gd name="connsiteY25" fmla="*/ 179837 h 518594"/>
                <a:gd name="connsiteX26" fmla="*/ 452206 w 514393"/>
                <a:gd name="connsiteY26" fmla="*/ 204020 h 518594"/>
                <a:gd name="connsiteX27" fmla="*/ 462571 w 514393"/>
                <a:gd name="connsiteY27" fmla="*/ 231659 h 518594"/>
                <a:gd name="connsiteX28" fmla="*/ 466025 w 514393"/>
                <a:gd name="connsiteY28" fmla="*/ 273117 h 518594"/>
                <a:gd name="connsiteX29" fmla="*/ 466025 w 514393"/>
                <a:gd name="connsiteY29" fmla="*/ 297300 h 518594"/>
                <a:gd name="connsiteX30" fmla="*/ 469481 w 514393"/>
                <a:gd name="connsiteY30" fmla="*/ 318029 h 518594"/>
                <a:gd name="connsiteX31" fmla="*/ 493664 w 514393"/>
                <a:gd name="connsiteY31" fmla="*/ 349216 h 518594"/>
                <a:gd name="connsiteX32" fmla="*/ 497119 w 514393"/>
                <a:gd name="connsiteY32" fmla="*/ 376854 h 518594"/>
                <a:gd name="connsiteX33" fmla="*/ 466025 w 514393"/>
                <a:gd name="connsiteY33" fmla="*/ 376854 h 518594"/>
                <a:gd name="connsiteX34" fmla="*/ 438387 w 514393"/>
                <a:gd name="connsiteY34" fmla="*/ 390673 h 518594"/>
                <a:gd name="connsiteX35" fmla="*/ 441842 w 514393"/>
                <a:gd name="connsiteY35" fmla="*/ 421767 h 518594"/>
                <a:gd name="connsiteX36" fmla="*/ 434933 w 514393"/>
                <a:gd name="connsiteY36" fmla="*/ 459770 h 518594"/>
                <a:gd name="connsiteX37" fmla="*/ 452206 w 514393"/>
                <a:gd name="connsiteY37" fmla="*/ 477044 h 518594"/>
                <a:gd name="connsiteX38" fmla="*/ 476390 w 514393"/>
                <a:gd name="connsiteY38" fmla="*/ 487408 h 518594"/>
                <a:gd name="connsiteX39" fmla="*/ 476390 w 514393"/>
                <a:gd name="connsiteY39" fmla="*/ 518595 h 518594"/>
                <a:gd name="connsiteX40" fmla="*/ 452206 w 514393"/>
                <a:gd name="connsiteY40" fmla="*/ 518595 h 518594"/>
                <a:gd name="connsiteX41" fmla="*/ 438387 w 514393"/>
                <a:gd name="connsiteY41" fmla="*/ 497866 h 518594"/>
                <a:gd name="connsiteX42" fmla="*/ 417658 w 514393"/>
                <a:gd name="connsiteY42" fmla="*/ 487408 h 518594"/>
                <a:gd name="connsiteX43" fmla="*/ 403933 w 514393"/>
                <a:gd name="connsiteY43" fmla="*/ 466679 h 518594"/>
                <a:gd name="connsiteX44" fmla="*/ 379749 w 514393"/>
                <a:gd name="connsiteY44" fmla="*/ 477044 h 518594"/>
                <a:gd name="connsiteX45" fmla="*/ 314108 w 514393"/>
                <a:gd name="connsiteY45" fmla="*/ 449405 h 518594"/>
                <a:gd name="connsiteX46" fmla="*/ 269289 w 514393"/>
                <a:gd name="connsiteY46" fmla="*/ 449405 h 518594"/>
                <a:gd name="connsiteX47" fmla="*/ 272743 w 514393"/>
                <a:gd name="connsiteY47" fmla="*/ 428676 h 518594"/>
                <a:gd name="connsiteX48" fmla="*/ 255469 w 514393"/>
                <a:gd name="connsiteY48" fmla="*/ 418312 h 518594"/>
                <a:gd name="connsiteX49" fmla="*/ 252014 w 514393"/>
                <a:gd name="connsiteY49" fmla="*/ 349216 h 518594"/>
                <a:gd name="connsiteX50" fmla="*/ 207102 w 514393"/>
                <a:gd name="connsiteY50" fmla="*/ 338851 h 518594"/>
                <a:gd name="connsiteX51" fmla="*/ 189828 w 514393"/>
                <a:gd name="connsiteY51" fmla="*/ 366490 h 518594"/>
                <a:gd name="connsiteX52" fmla="*/ 138099 w 514393"/>
                <a:gd name="connsiteY52" fmla="*/ 363035 h 518594"/>
                <a:gd name="connsiteX53" fmla="*/ 120825 w 514393"/>
                <a:gd name="connsiteY53" fmla="*/ 331848 h 518594"/>
                <a:gd name="connsiteX54" fmla="*/ 113915 w 514393"/>
                <a:gd name="connsiteY54" fmla="*/ 307665 h 518594"/>
                <a:gd name="connsiteX55" fmla="*/ 10271 w 514393"/>
                <a:gd name="connsiteY55" fmla="*/ 307665 h 518594"/>
                <a:gd name="connsiteX56" fmla="*/ 0 w 514393"/>
                <a:gd name="connsiteY56" fmla="*/ 304210 h 51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14393" h="518594">
                  <a:moveTo>
                    <a:pt x="0" y="304210"/>
                  </a:moveTo>
                  <a:lnTo>
                    <a:pt x="10271" y="280026"/>
                  </a:lnTo>
                  <a:lnTo>
                    <a:pt x="24090" y="276571"/>
                  </a:lnTo>
                  <a:lnTo>
                    <a:pt x="58639" y="269662"/>
                  </a:lnTo>
                  <a:lnTo>
                    <a:pt x="103551" y="248933"/>
                  </a:lnTo>
                  <a:lnTo>
                    <a:pt x="110461" y="193656"/>
                  </a:lnTo>
                  <a:lnTo>
                    <a:pt x="151825" y="127921"/>
                  </a:lnTo>
                  <a:lnTo>
                    <a:pt x="162189" y="72644"/>
                  </a:lnTo>
                  <a:lnTo>
                    <a:pt x="165644" y="51915"/>
                  </a:lnTo>
                  <a:lnTo>
                    <a:pt x="169099" y="27732"/>
                  </a:lnTo>
                  <a:lnTo>
                    <a:pt x="193283" y="0"/>
                  </a:lnTo>
                  <a:lnTo>
                    <a:pt x="217466" y="24277"/>
                  </a:lnTo>
                  <a:lnTo>
                    <a:pt x="238195" y="31187"/>
                  </a:lnTo>
                  <a:lnTo>
                    <a:pt x="276105" y="34641"/>
                  </a:lnTo>
                  <a:lnTo>
                    <a:pt x="296833" y="20822"/>
                  </a:lnTo>
                  <a:lnTo>
                    <a:pt x="355565" y="3455"/>
                  </a:lnTo>
                  <a:lnTo>
                    <a:pt x="407387" y="6910"/>
                  </a:lnTo>
                  <a:lnTo>
                    <a:pt x="421113" y="24277"/>
                  </a:lnTo>
                  <a:lnTo>
                    <a:pt x="469481" y="20822"/>
                  </a:lnTo>
                  <a:lnTo>
                    <a:pt x="497119" y="41551"/>
                  </a:lnTo>
                  <a:lnTo>
                    <a:pt x="504028" y="83009"/>
                  </a:lnTo>
                  <a:lnTo>
                    <a:pt x="514393" y="86463"/>
                  </a:lnTo>
                  <a:lnTo>
                    <a:pt x="514393" y="93373"/>
                  </a:lnTo>
                  <a:lnTo>
                    <a:pt x="479845" y="124466"/>
                  </a:lnTo>
                  <a:lnTo>
                    <a:pt x="472936" y="145195"/>
                  </a:lnTo>
                  <a:lnTo>
                    <a:pt x="469481" y="179837"/>
                  </a:lnTo>
                  <a:lnTo>
                    <a:pt x="452206" y="204020"/>
                  </a:lnTo>
                  <a:lnTo>
                    <a:pt x="462571" y="231659"/>
                  </a:lnTo>
                  <a:lnTo>
                    <a:pt x="466025" y="273117"/>
                  </a:lnTo>
                  <a:lnTo>
                    <a:pt x="466025" y="297300"/>
                  </a:lnTo>
                  <a:lnTo>
                    <a:pt x="469481" y="318029"/>
                  </a:lnTo>
                  <a:lnTo>
                    <a:pt x="493664" y="349216"/>
                  </a:lnTo>
                  <a:lnTo>
                    <a:pt x="497119" y="376854"/>
                  </a:lnTo>
                  <a:lnTo>
                    <a:pt x="466025" y="376854"/>
                  </a:lnTo>
                  <a:lnTo>
                    <a:pt x="438387" y="390673"/>
                  </a:lnTo>
                  <a:lnTo>
                    <a:pt x="441842" y="421767"/>
                  </a:lnTo>
                  <a:lnTo>
                    <a:pt x="434933" y="459770"/>
                  </a:lnTo>
                  <a:lnTo>
                    <a:pt x="452206" y="477044"/>
                  </a:lnTo>
                  <a:lnTo>
                    <a:pt x="476390" y="487408"/>
                  </a:lnTo>
                  <a:lnTo>
                    <a:pt x="476390" y="518595"/>
                  </a:lnTo>
                  <a:lnTo>
                    <a:pt x="452206" y="518595"/>
                  </a:lnTo>
                  <a:lnTo>
                    <a:pt x="438387" y="497866"/>
                  </a:lnTo>
                  <a:lnTo>
                    <a:pt x="417658" y="487408"/>
                  </a:lnTo>
                  <a:lnTo>
                    <a:pt x="403933" y="466679"/>
                  </a:lnTo>
                  <a:lnTo>
                    <a:pt x="379749" y="477044"/>
                  </a:lnTo>
                  <a:lnTo>
                    <a:pt x="314108" y="449405"/>
                  </a:lnTo>
                  <a:lnTo>
                    <a:pt x="269289" y="449405"/>
                  </a:lnTo>
                  <a:lnTo>
                    <a:pt x="272743" y="428676"/>
                  </a:lnTo>
                  <a:lnTo>
                    <a:pt x="255469" y="418312"/>
                  </a:lnTo>
                  <a:lnTo>
                    <a:pt x="252014" y="349216"/>
                  </a:lnTo>
                  <a:lnTo>
                    <a:pt x="207102" y="338851"/>
                  </a:lnTo>
                  <a:lnTo>
                    <a:pt x="189828" y="366490"/>
                  </a:lnTo>
                  <a:lnTo>
                    <a:pt x="138099" y="363035"/>
                  </a:lnTo>
                  <a:lnTo>
                    <a:pt x="120825" y="331848"/>
                  </a:lnTo>
                  <a:lnTo>
                    <a:pt x="113915" y="307665"/>
                  </a:lnTo>
                  <a:lnTo>
                    <a:pt x="10271" y="307665"/>
                  </a:lnTo>
                  <a:lnTo>
                    <a:pt x="0" y="304210"/>
                  </a:lnTo>
                  <a:close/>
                </a:path>
              </a:pathLst>
            </a:custGeom>
            <a:solidFill>
              <a:srgbClr val="CEE3BF"/>
            </a:solidFill>
            <a:ln w="9334" cap="flat">
              <a:noFill/>
              <a:prstDash val="solid"/>
              <a:miter/>
            </a:ln>
          </p:spPr>
          <p:txBody>
            <a:bodyPr rtlCol="0" anchor="ctr"/>
            <a:lstStyle/>
            <a:p>
              <a:endParaRPr lang="en-GB" dirty="0"/>
            </a:p>
          </p:txBody>
        </p:sp>
        <p:sp>
          <p:nvSpPr>
            <p:cNvPr id="1069" name="Freeform: Shape 1068">
              <a:extLst>
                <a:ext uri="{FF2B5EF4-FFF2-40B4-BE49-F238E27FC236}">
                  <a16:creationId xmlns:a16="http://schemas.microsoft.com/office/drawing/2014/main" id="{C2BBC9F1-E749-4119-B4B5-1547B742CEBC}"/>
                </a:ext>
              </a:extLst>
            </p:cNvPr>
            <p:cNvSpPr/>
            <p:nvPr/>
          </p:nvSpPr>
          <p:spPr>
            <a:xfrm>
              <a:off x="6169881" y="4647219"/>
              <a:ext cx="20635" cy="34547"/>
            </a:xfrm>
            <a:custGeom>
              <a:avLst/>
              <a:gdLst>
                <a:gd name="connsiteX0" fmla="*/ 0 w 20635"/>
                <a:gd name="connsiteY0" fmla="*/ 6910 h 34547"/>
                <a:gd name="connsiteX1" fmla="*/ 17180 w 20635"/>
                <a:gd name="connsiteY1" fmla="*/ 0 h 34547"/>
                <a:gd name="connsiteX2" fmla="*/ 20635 w 20635"/>
                <a:gd name="connsiteY2" fmla="*/ 6910 h 34547"/>
                <a:gd name="connsiteX3" fmla="*/ 17180 w 20635"/>
                <a:gd name="connsiteY3" fmla="*/ 20729 h 34547"/>
                <a:gd name="connsiteX4" fmla="*/ 0 w 20635"/>
                <a:gd name="connsiteY4" fmla="*/ 34548 h 34547"/>
                <a:gd name="connsiteX5" fmla="*/ 0 w 20635"/>
                <a:gd name="connsiteY5" fmla="*/ 6910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35" h="34547">
                  <a:moveTo>
                    <a:pt x="0" y="6910"/>
                  </a:moveTo>
                  <a:lnTo>
                    <a:pt x="17180" y="0"/>
                  </a:lnTo>
                  <a:lnTo>
                    <a:pt x="20635" y="6910"/>
                  </a:lnTo>
                  <a:lnTo>
                    <a:pt x="17180" y="20729"/>
                  </a:lnTo>
                  <a:lnTo>
                    <a:pt x="0" y="34548"/>
                  </a:lnTo>
                  <a:lnTo>
                    <a:pt x="0" y="6910"/>
                  </a:lnTo>
                  <a:close/>
                </a:path>
              </a:pathLst>
            </a:custGeom>
            <a:solidFill>
              <a:srgbClr val="CEE3BF"/>
            </a:solidFill>
            <a:ln w="9334" cap="flat">
              <a:noFill/>
              <a:prstDash val="solid"/>
              <a:miter/>
            </a:ln>
          </p:spPr>
          <p:txBody>
            <a:bodyPr rtlCol="0" anchor="ctr"/>
            <a:lstStyle/>
            <a:p>
              <a:endParaRPr lang="en-GB" dirty="0"/>
            </a:p>
          </p:txBody>
        </p:sp>
        <p:sp>
          <p:nvSpPr>
            <p:cNvPr id="1070" name="Freeform: Shape 1069">
              <a:extLst>
                <a:ext uri="{FF2B5EF4-FFF2-40B4-BE49-F238E27FC236}">
                  <a16:creationId xmlns:a16="http://schemas.microsoft.com/office/drawing/2014/main" id="{B6696545-2392-4F25-B0CB-032602C125F4}"/>
                </a:ext>
              </a:extLst>
            </p:cNvPr>
            <p:cNvSpPr/>
            <p:nvPr/>
          </p:nvSpPr>
          <p:spPr>
            <a:xfrm>
              <a:off x="6169881" y="4647219"/>
              <a:ext cx="20635" cy="34547"/>
            </a:xfrm>
            <a:custGeom>
              <a:avLst/>
              <a:gdLst>
                <a:gd name="connsiteX0" fmla="*/ 0 w 20635"/>
                <a:gd name="connsiteY0" fmla="*/ 6910 h 34547"/>
                <a:gd name="connsiteX1" fmla="*/ 17180 w 20635"/>
                <a:gd name="connsiteY1" fmla="*/ 0 h 34547"/>
                <a:gd name="connsiteX2" fmla="*/ 20635 w 20635"/>
                <a:gd name="connsiteY2" fmla="*/ 6910 h 34547"/>
                <a:gd name="connsiteX3" fmla="*/ 17180 w 20635"/>
                <a:gd name="connsiteY3" fmla="*/ 20729 h 34547"/>
                <a:gd name="connsiteX4" fmla="*/ 0 w 20635"/>
                <a:gd name="connsiteY4" fmla="*/ 34548 h 34547"/>
                <a:gd name="connsiteX5" fmla="*/ 0 w 20635"/>
                <a:gd name="connsiteY5" fmla="*/ 6910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35" h="34547">
                  <a:moveTo>
                    <a:pt x="0" y="6910"/>
                  </a:moveTo>
                  <a:lnTo>
                    <a:pt x="17180" y="0"/>
                  </a:lnTo>
                  <a:lnTo>
                    <a:pt x="20635" y="6910"/>
                  </a:lnTo>
                  <a:lnTo>
                    <a:pt x="17180" y="20729"/>
                  </a:lnTo>
                  <a:lnTo>
                    <a:pt x="0" y="34548"/>
                  </a:lnTo>
                  <a:lnTo>
                    <a:pt x="0" y="6910"/>
                  </a:lnTo>
                  <a:close/>
                </a:path>
              </a:pathLst>
            </a:custGeom>
            <a:solidFill>
              <a:srgbClr val="CEE3BF"/>
            </a:solidFill>
            <a:ln w="9334" cap="flat">
              <a:noFill/>
              <a:prstDash val="solid"/>
              <a:miter/>
            </a:ln>
          </p:spPr>
          <p:txBody>
            <a:bodyPr rtlCol="0" anchor="ctr"/>
            <a:lstStyle/>
            <a:p>
              <a:endParaRPr lang="en-GB" dirty="0"/>
            </a:p>
          </p:txBody>
        </p:sp>
        <p:sp>
          <p:nvSpPr>
            <p:cNvPr id="1071" name="Freeform: Shape 1070">
              <a:extLst>
                <a:ext uri="{FF2B5EF4-FFF2-40B4-BE49-F238E27FC236}">
                  <a16:creationId xmlns:a16="http://schemas.microsoft.com/office/drawing/2014/main" id="{2A1F35FA-D582-431D-865D-9D92F9560FAC}"/>
                </a:ext>
              </a:extLst>
            </p:cNvPr>
            <p:cNvSpPr/>
            <p:nvPr/>
          </p:nvSpPr>
          <p:spPr>
            <a:xfrm>
              <a:off x="6143923" y="4426018"/>
              <a:ext cx="201966" cy="228110"/>
            </a:xfrm>
            <a:custGeom>
              <a:avLst/>
              <a:gdLst>
                <a:gd name="connsiteX0" fmla="*/ 0 w 201966"/>
                <a:gd name="connsiteY0" fmla="*/ 200472 h 228110"/>
                <a:gd name="connsiteX1" fmla="*/ 25958 w 201966"/>
                <a:gd name="connsiteY1" fmla="*/ 200472 h 228110"/>
                <a:gd name="connsiteX2" fmla="*/ 25958 w 201966"/>
                <a:gd name="connsiteY2" fmla="*/ 183198 h 228110"/>
                <a:gd name="connsiteX3" fmla="*/ 12138 w 201966"/>
                <a:gd name="connsiteY3" fmla="*/ 183198 h 228110"/>
                <a:gd name="connsiteX4" fmla="*/ 12138 w 201966"/>
                <a:gd name="connsiteY4" fmla="*/ 162469 h 228110"/>
                <a:gd name="connsiteX5" fmla="*/ 25958 w 201966"/>
                <a:gd name="connsiteY5" fmla="*/ 162469 h 228110"/>
                <a:gd name="connsiteX6" fmla="*/ 43138 w 201966"/>
                <a:gd name="connsiteY6" fmla="*/ 148650 h 228110"/>
                <a:gd name="connsiteX7" fmla="*/ 53503 w 201966"/>
                <a:gd name="connsiteY7" fmla="*/ 162469 h 228110"/>
                <a:gd name="connsiteX8" fmla="*/ 84596 w 201966"/>
                <a:gd name="connsiteY8" fmla="*/ 165924 h 228110"/>
                <a:gd name="connsiteX9" fmla="*/ 91506 w 201966"/>
                <a:gd name="connsiteY9" fmla="*/ 152105 h 228110"/>
                <a:gd name="connsiteX10" fmla="*/ 91506 w 201966"/>
                <a:gd name="connsiteY10" fmla="*/ 117557 h 228110"/>
                <a:gd name="connsiteX11" fmla="*/ 77687 w 201966"/>
                <a:gd name="connsiteY11" fmla="*/ 107099 h 228110"/>
                <a:gd name="connsiteX12" fmla="*/ 77687 w 201966"/>
                <a:gd name="connsiteY12" fmla="*/ 86370 h 228110"/>
                <a:gd name="connsiteX13" fmla="*/ 91506 w 201966"/>
                <a:gd name="connsiteY13" fmla="*/ 76006 h 228110"/>
                <a:gd name="connsiteX14" fmla="*/ 84596 w 201966"/>
                <a:gd name="connsiteY14" fmla="*/ 58732 h 228110"/>
                <a:gd name="connsiteX15" fmla="*/ 60413 w 201966"/>
                <a:gd name="connsiteY15" fmla="*/ 62186 h 228110"/>
                <a:gd name="connsiteX16" fmla="*/ 53503 w 201966"/>
                <a:gd name="connsiteY16" fmla="*/ 34548 h 228110"/>
                <a:gd name="connsiteX17" fmla="*/ 101870 w 201966"/>
                <a:gd name="connsiteY17" fmla="*/ 34548 h 228110"/>
                <a:gd name="connsiteX18" fmla="*/ 101870 w 201966"/>
                <a:gd name="connsiteY18" fmla="*/ 48367 h 228110"/>
                <a:gd name="connsiteX19" fmla="*/ 132963 w 201966"/>
                <a:gd name="connsiteY19" fmla="*/ 44912 h 228110"/>
                <a:gd name="connsiteX20" fmla="*/ 136419 w 201966"/>
                <a:gd name="connsiteY20" fmla="*/ 20729 h 228110"/>
                <a:gd name="connsiteX21" fmla="*/ 150238 w 201966"/>
                <a:gd name="connsiteY21" fmla="*/ 0 h 228110"/>
                <a:gd name="connsiteX22" fmla="*/ 201966 w 201966"/>
                <a:gd name="connsiteY22" fmla="*/ 3455 h 228110"/>
                <a:gd name="connsiteX23" fmla="*/ 188147 w 201966"/>
                <a:gd name="connsiteY23" fmla="*/ 79460 h 228110"/>
                <a:gd name="connsiteX24" fmla="*/ 146783 w 201966"/>
                <a:gd name="connsiteY24" fmla="*/ 145195 h 228110"/>
                <a:gd name="connsiteX25" fmla="*/ 139873 w 201966"/>
                <a:gd name="connsiteY25" fmla="*/ 200472 h 228110"/>
                <a:gd name="connsiteX26" fmla="*/ 94961 w 201966"/>
                <a:gd name="connsiteY26" fmla="*/ 221201 h 228110"/>
                <a:gd name="connsiteX27" fmla="*/ 46593 w 201966"/>
                <a:gd name="connsiteY27" fmla="*/ 228111 h 228110"/>
                <a:gd name="connsiteX28" fmla="*/ 43138 w 201966"/>
                <a:gd name="connsiteY28" fmla="*/ 221201 h 228110"/>
                <a:gd name="connsiteX29" fmla="*/ 25958 w 201966"/>
                <a:gd name="connsiteY29" fmla="*/ 228111 h 228110"/>
                <a:gd name="connsiteX30" fmla="*/ 0 w 201966"/>
                <a:gd name="connsiteY30" fmla="*/ 200472 h 2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1966" h="228110">
                  <a:moveTo>
                    <a:pt x="0" y="200472"/>
                  </a:moveTo>
                  <a:lnTo>
                    <a:pt x="25958" y="200472"/>
                  </a:lnTo>
                  <a:lnTo>
                    <a:pt x="25958" y="183198"/>
                  </a:lnTo>
                  <a:lnTo>
                    <a:pt x="12138" y="183198"/>
                  </a:lnTo>
                  <a:lnTo>
                    <a:pt x="12138" y="162469"/>
                  </a:lnTo>
                  <a:lnTo>
                    <a:pt x="25958" y="162469"/>
                  </a:lnTo>
                  <a:lnTo>
                    <a:pt x="43138" y="148650"/>
                  </a:lnTo>
                  <a:lnTo>
                    <a:pt x="53503" y="162469"/>
                  </a:lnTo>
                  <a:lnTo>
                    <a:pt x="84596" y="165924"/>
                  </a:lnTo>
                  <a:lnTo>
                    <a:pt x="91506" y="152105"/>
                  </a:lnTo>
                  <a:lnTo>
                    <a:pt x="91506" y="117557"/>
                  </a:lnTo>
                  <a:lnTo>
                    <a:pt x="77687" y="107099"/>
                  </a:lnTo>
                  <a:lnTo>
                    <a:pt x="77687" y="86370"/>
                  </a:lnTo>
                  <a:lnTo>
                    <a:pt x="91506" y="76006"/>
                  </a:lnTo>
                  <a:lnTo>
                    <a:pt x="84596" y="58732"/>
                  </a:lnTo>
                  <a:lnTo>
                    <a:pt x="60413" y="62186"/>
                  </a:lnTo>
                  <a:lnTo>
                    <a:pt x="53503" y="34548"/>
                  </a:lnTo>
                  <a:lnTo>
                    <a:pt x="101870" y="34548"/>
                  </a:lnTo>
                  <a:lnTo>
                    <a:pt x="101870" y="48367"/>
                  </a:lnTo>
                  <a:lnTo>
                    <a:pt x="132963" y="44912"/>
                  </a:lnTo>
                  <a:lnTo>
                    <a:pt x="136419" y="20729"/>
                  </a:lnTo>
                  <a:lnTo>
                    <a:pt x="150238" y="0"/>
                  </a:lnTo>
                  <a:lnTo>
                    <a:pt x="201966" y="3455"/>
                  </a:lnTo>
                  <a:lnTo>
                    <a:pt x="188147" y="79460"/>
                  </a:lnTo>
                  <a:lnTo>
                    <a:pt x="146783" y="145195"/>
                  </a:lnTo>
                  <a:lnTo>
                    <a:pt x="139873" y="200472"/>
                  </a:lnTo>
                  <a:lnTo>
                    <a:pt x="94961" y="221201"/>
                  </a:lnTo>
                  <a:lnTo>
                    <a:pt x="46593" y="228111"/>
                  </a:lnTo>
                  <a:lnTo>
                    <a:pt x="43138" y="221201"/>
                  </a:lnTo>
                  <a:lnTo>
                    <a:pt x="25958" y="228111"/>
                  </a:lnTo>
                  <a:lnTo>
                    <a:pt x="0" y="200472"/>
                  </a:lnTo>
                  <a:close/>
                </a:path>
              </a:pathLst>
            </a:custGeom>
            <a:solidFill>
              <a:srgbClr val="CEE3BF"/>
            </a:solidFill>
            <a:ln w="9334" cap="flat">
              <a:noFill/>
              <a:prstDash val="solid"/>
              <a:miter/>
            </a:ln>
          </p:spPr>
          <p:txBody>
            <a:bodyPr rtlCol="0" anchor="ctr"/>
            <a:lstStyle/>
            <a:p>
              <a:endParaRPr lang="en-GB" dirty="0"/>
            </a:p>
          </p:txBody>
        </p:sp>
        <p:sp>
          <p:nvSpPr>
            <p:cNvPr id="1072" name="Freeform: Shape 1071">
              <a:extLst>
                <a:ext uri="{FF2B5EF4-FFF2-40B4-BE49-F238E27FC236}">
                  <a16:creationId xmlns:a16="http://schemas.microsoft.com/office/drawing/2014/main" id="{2D93A5A0-DCD9-43EF-A508-8CAC06D126CC}"/>
                </a:ext>
              </a:extLst>
            </p:cNvPr>
            <p:cNvSpPr/>
            <p:nvPr/>
          </p:nvSpPr>
          <p:spPr>
            <a:xfrm>
              <a:off x="6143923" y="4426018"/>
              <a:ext cx="201966" cy="228110"/>
            </a:xfrm>
            <a:custGeom>
              <a:avLst/>
              <a:gdLst>
                <a:gd name="connsiteX0" fmla="*/ 0 w 201966"/>
                <a:gd name="connsiteY0" fmla="*/ 200472 h 228110"/>
                <a:gd name="connsiteX1" fmla="*/ 25958 w 201966"/>
                <a:gd name="connsiteY1" fmla="*/ 200472 h 228110"/>
                <a:gd name="connsiteX2" fmla="*/ 25958 w 201966"/>
                <a:gd name="connsiteY2" fmla="*/ 183198 h 228110"/>
                <a:gd name="connsiteX3" fmla="*/ 12138 w 201966"/>
                <a:gd name="connsiteY3" fmla="*/ 183198 h 228110"/>
                <a:gd name="connsiteX4" fmla="*/ 12138 w 201966"/>
                <a:gd name="connsiteY4" fmla="*/ 162469 h 228110"/>
                <a:gd name="connsiteX5" fmla="*/ 25958 w 201966"/>
                <a:gd name="connsiteY5" fmla="*/ 162469 h 228110"/>
                <a:gd name="connsiteX6" fmla="*/ 43138 w 201966"/>
                <a:gd name="connsiteY6" fmla="*/ 148650 h 228110"/>
                <a:gd name="connsiteX7" fmla="*/ 53503 w 201966"/>
                <a:gd name="connsiteY7" fmla="*/ 162469 h 228110"/>
                <a:gd name="connsiteX8" fmla="*/ 84596 w 201966"/>
                <a:gd name="connsiteY8" fmla="*/ 165924 h 228110"/>
                <a:gd name="connsiteX9" fmla="*/ 91506 w 201966"/>
                <a:gd name="connsiteY9" fmla="*/ 152105 h 228110"/>
                <a:gd name="connsiteX10" fmla="*/ 91506 w 201966"/>
                <a:gd name="connsiteY10" fmla="*/ 117557 h 228110"/>
                <a:gd name="connsiteX11" fmla="*/ 77687 w 201966"/>
                <a:gd name="connsiteY11" fmla="*/ 107099 h 228110"/>
                <a:gd name="connsiteX12" fmla="*/ 77687 w 201966"/>
                <a:gd name="connsiteY12" fmla="*/ 86370 h 228110"/>
                <a:gd name="connsiteX13" fmla="*/ 91506 w 201966"/>
                <a:gd name="connsiteY13" fmla="*/ 76006 h 228110"/>
                <a:gd name="connsiteX14" fmla="*/ 84596 w 201966"/>
                <a:gd name="connsiteY14" fmla="*/ 58732 h 228110"/>
                <a:gd name="connsiteX15" fmla="*/ 60413 w 201966"/>
                <a:gd name="connsiteY15" fmla="*/ 62186 h 228110"/>
                <a:gd name="connsiteX16" fmla="*/ 53503 w 201966"/>
                <a:gd name="connsiteY16" fmla="*/ 34548 h 228110"/>
                <a:gd name="connsiteX17" fmla="*/ 101870 w 201966"/>
                <a:gd name="connsiteY17" fmla="*/ 34548 h 228110"/>
                <a:gd name="connsiteX18" fmla="*/ 101870 w 201966"/>
                <a:gd name="connsiteY18" fmla="*/ 48367 h 228110"/>
                <a:gd name="connsiteX19" fmla="*/ 132963 w 201966"/>
                <a:gd name="connsiteY19" fmla="*/ 44912 h 228110"/>
                <a:gd name="connsiteX20" fmla="*/ 136419 w 201966"/>
                <a:gd name="connsiteY20" fmla="*/ 20729 h 228110"/>
                <a:gd name="connsiteX21" fmla="*/ 150238 w 201966"/>
                <a:gd name="connsiteY21" fmla="*/ 0 h 228110"/>
                <a:gd name="connsiteX22" fmla="*/ 201966 w 201966"/>
                <a:gd name="connsiteY22" fmla="*/ 3455 h 228110"/>
                <a:gd name="connsiteX23" fmla="*/ 188147 w 201966"/>
                <a:gd name="connsiteY23" fmla="*/ 79460 h 228110"/>
                <a:gd name="connsiteX24" fmla="*/ 146783 w 201966"/>
                <a:gd name="connsiteY24" fmla="*/ 145195 h 228110"/>
                <a:gd name="connsiteX25" fmla="*/ 139873 w 201966"/>
                <a:gd name="connsiteY25" fmla="*/ 200472 h 228110"/>
                <a:gd name="connsiteX26" fmla="*/ 94961 w 201966"/>
                <a:gd name="connsiteY26" fmla="*/ 221201 h 228110"/>
                <a:gd name="connsiteX27" fmla="*/ 46593 w 201966"/>
                <a:gd name="connsiteY27" fmla="*/ 228111 h 228110"/>
                <a:gd name="connsiteX28" fmla="*/ 43138 w 201966"/>
                <a:gd name="connsiteY28" fmla="*/ 221201 h 228110"/>
                <a:gd name="connsiteX29" fmla="*/ 25958 w 201966"/>
                <a:gd name="connsiteY29" fmla="*/ 228111 h 228110"/>
                <a:gd name="connsiteX30" fmla="*/ 0 w 201966"/>
                <a:gd name="connsiteY30" fmla="*/ 200472 h 22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1966" h="228110">
                  <a:moveTo>
                    <a:pt x="0" y="200472"/>
                  </a:moveTo>
                  <a:lnTo>
                    <a:pt x="25958" y="200472"/>
                  </a:lnTo>
                  <a:lnTo>
                    <a:pt x="25958" y="183198"/>
                  </a:lnTo>
                  <a:lnTo>
                    <a:pt x="12138" y="183198"/>
                  </a:lnTo>
                  <a:lnTo>
                    <a:pt x="12138" y="162469"/>
                  </a:lnTo>
                  <a:lnTo>
                    <a:pt x="25958" y="162469"/>
                  </a:lnTo>
                  <a:lnTo>
                    <a:pt x="43138" y="148650"/>
                  </a:lnTo>
                  <a:lnTo>
                    <a:pt x="53503" y="162469"/>
                  </a:lnTo>
                  <a:lnTo>
                    <a:pt x="84596" y="165924"/>
                  </a:lnTo>
                  <a:lnTo>
                    <a:pt x="91506" y="152105"/>
                  </a:lnTo>
                  <a:lnTo>
                    <a:pt x="91506" y="117557"/>
                  </a:lnTo>
                  <a:lnTo>
                    <a:pt x="77687" y="107099"/>
                  </a:lnTo>
                  <a:lnTo>
                    <a:pt x="77687" y="86370"/>
                  </a:lnTo>
                  <a:lnTo>
                    <a:pt x="91506" y="76006"/>
                  </a:lnTo>
                  <a:lnTo>
                    <a:pt x="84596" y="58732"/>
                  </a:lnTo>
                  <a:lnTo>
                    <a:pt x="60413" y="62186"/>
                  </a:lnTo>
                  <a:lnTo>
                    <a:pt x="53503" y="34548"/>
                  </a:lnTo>
                  <a:lnTo>
                    <a:pt x="101870" y="34548"/>
                  </a:lnTo>
                  <a:lnTo>
                    <a:pt x="101870" y="48367"/>
                  </a:lnTo>
                  <a:lnTo>
                    <a:pt x="132963" y="44912"/>
                  </a:lnTo>
                  <a:lnTo>
                    <a:pt x="136419" y="20729"/>
                  </a:lnTo>
                  <a:lnTo>
                    <a:pt x="150238" y="0"/>
                  </a:lnTo>
                  <a:lnTo>
                    <a:pt x="201966" y="3455"/>
                  </a:lnTo>
                  <a:lnTo>
                    <a:pt x="188147" y="79460"/>
                  </a:lnTo>
                  <a:lnTo>
                    <a:pt x="146783" y="145195"/>
                  </a:lnTo>
                  <a:lnTo>
                    <a:pt x="139873" y="200472"/>
                  </a:lnTo>
                  <a:lnTo>
                    <a:pt x="94961" y="221201"/>
                  </a:lnTo>
                  <a:lnTo>
                    <a:pt x="46593" y="228111"/>
                  </a:lnTo>
                  <a:lnTo>
                    <a:pt x="43138" y="221201"/>
                  </a:lnTo>
                  <a:lnTo>
                    <a:pt x="25958" y="228111"/>
                  </a:lnTo>
                  <a:lnTo>
                    <a:pt x="0" y="200472"/>
                  </a:lnTo>
                  <a:close/>
                </a:path>
              </a:pathLst>
            </a:custGeom>
            <a:solidFill>
              <a:srgbClr val="CEE3BF"/>
            </a:solidFill>
            <a:ln w="9334" cap="flat">
              <a:noFill/>
              <a:prstDash val="solid"/>
              <a:miter/>
            </a:ln>
          </p:spPr>
          <p:txBody>
            <a:bodyPr rtlCol="0" anchor="ctr"/>
            <a:lstStyle/>
            <a:p>
              <a:endParaRPr lang="en-GB" dirty="0"/>
            </a:p>
          </p:txBody>
        </p:sp>
        <p:sp>
          <p:nvSpPr>
            <p:cNvPr id="1073" name="Freeform: Shape 1072">
              <a:extLst>
                <a:ext uri="{FF2B5EF4-FFF2-40B4-BE49-F238E27FC236}">
                  <a16:creationId xmlns:a16="http://schemas.microsoft.com/office/drawing/2014/main" id="{8328E153-4F69-40B5-A9CD-CA0BEC108E74}"/>
                </a:ext>
              </a:extLst>
            </p:cNvPr>
            <p:cNvSpPr/>
            <p:nvPr/>
          </p:nvSpPr>
          <p:spPr>
            <a:xfrm>
              <a:off x="6767096" y="4398380"/>
              <a:ext cx="217560" cy="255749"/>
            </a:xfrm>
            <a:custGeom>
              <a:avLst/>
              <a:gdLst>
                <a:gd name="connsiteX0" fmla="*/ 13820 w 217560"/>
                <a:gd name="connsiteY0" fmla="*/ 0 h 255749"/>
                <a:gd name="connsiteX1" fmla="*/ 48368 w 217560"/>
                <a:gd name="connsiteY1" fmla="*/ 0 h 255749"/>
                <a:gd name="connsiteX2" fmla="*/ 110461 w 217560"/>
                <a:gd name="connsiteY2" fmla="*/ 27639 h 255749"/>
                <a:gd name="connsiteX3" fmla="*/ 151918 w 217560"/>
                <a:gd name="connsiteY3" fmla="*/ 31093 h 255749"/>
                <a:gd name="connsiteX4" fmla="*/ 186467 w 217560"/>
                <a:gd name="connsiteY4" fmla="*/ 10365 h 255749"/>
                <a:gd name="connsiteX5" fmla="*/ 196831 w 217560"/>
                <a:gd name="connsiteY5" fmla="*/ 24184 h 255749"/>
                <a:gd name="connsiteX6" fmla="*/ 217560 w 217560"/>
                <a:gd name="connsiteY6" fmla="*/ 17274 h 255749"/>
                <a:gd name="connsiteX7" fmla="*/ 217560 w 217560"/>
                <a:gd name="connsiteY7" fmla="*/ 34548 h 255749"/>
                <a:gd name="connsiteX8" fmla="*/ 189921 w 217560"/>
                <a:gd name="connsiteY8" fmla="*/ 51822 h 255749"/>
                <a:gd name="connsiteX9" fmla="*/ 193376 w 217560"/>
                <a:gd name="connsiteY9" fmla="*/ 148650 h 255749"/>
                <a:gd name="connsiteX10" fmla="*/ 210650 w 217560"/>
                <a:gd name="connsiteY10" fmla="*/ 169379 h 255749"/>
                <a:gd name="connsiteX11" fmla="*/ 193376 w 217560"/>
                <a:gd name="connsiteY11" fmla="*/ 183198 h 255749"/>
                <a:gd name="connsiteX12" fmla="*/ 172648 w 217560"/>
                <a:gd name="connsiteY12" fmla="*/ 203927 h 255749"/>
                <a:gd name="connsiteX13" fmla="*/ 158828 w 217560"/>
                <a:gd name="connsiteY13" fmla="*/ 235020 h 255749"/>
                <a:gd name="connsiteX14" fmla="*/ 148464 w 217560"/>
                <a:gd name="connsiteY14" fmla="*/ 255749 h 255749"/>
                <a:gd name="connsiteX15" fmla="*/ 107006 w 217560"/>
                <a:gd name="connsiteY15" fmla="*/ 224656 h 255749"/>
                <a:gd name="connsiteX16" fmla="*/ 100096 w 217560"/>
                <a:gd name="connsiteY16" fmla="*/ 207382 h 255749"/>
                <a:gd name="connsiteX17" fmla="*/ 10365 w 217560"/>
                <a:gd name="connsiteY17" fmla="*/ 159015 h 255749"/>
                <a:gd name="connsiteX18" fmla="*/ 3455 w 217560"/>
                <a:gd name="connsiteY18" fmla="*/ 159015 h 255749"/>
                <a:gd name="connsiteX19" fmla="*/ 10365 w 217560"/>
                <a:gd name="connsiteY19" fmla="*/ 134738 h 255749"/>
                <a:gd name="connsiteX20" fmla="*/ 6910 w 217560"/>
                <a:gd name="connsiteY20" fmla="*/ 114009 h 255749"/>
                <a:gd name="connsiteX21" fmla="*/ 31093 w 217560"/>
                <a:gd name="connsiteY21" fmla="*/ 86370 h 255749"/>
                <a:gd name="connsiteX22" fmla="*/ 20729 w 217560"/>
                <a:gd name="connsiteY22" fmla="*/ 48368 h 255749"/>
                <a:gd name="connsiteX23" fmla="*/ 0 w 217560"/>
                <a:gd name="connsiteY23" fmla="*/ 13819 h 255749"/>
                <a:gd name="connsiteX24" fmla="*/ 13820 w 217560"/>
                <a:gd name="connsiteY24" fmla="*/ 0 h 25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7560" h="255749">
                  <a:moveTo>
                    <a:pt x="13820" y="0"/>
                  </a:moveTo>
                  <a:lnTo>
                    <a:pt x="48368" y="0"/>
                  </a:lnTo>
                  <a:lnTo>
                    <a:pt x="110461" y="27639"/>
                  </a:lnTo>
                  <a:lnTo>
                    <a:pt x="151918" y="31093"/>
                  </a:lnTo>
                  <a:lnTo>
                    <a:pt x="186467" y="10365"/>
                  </a:lnTo>
                  <a:lnTo>
                    <a:pt x="196831" y="24184"/>
                  </a:lnTo>
                  <a:lnTo>
                    <a:pt x="217560" y="17274"/>
                  </a:lnTo>
                  <a:lnTo>
                    <a:pt x="217560" y="34548"/>
                  </a:lnTo>
                  <a:lnTo>
                    <a:pt x="189921" y="51822"/>
                  </a:lnTo>
                  <a:lnTo>
                    <a:pt x="193376" y="148650"/>
                  </a:lnTo>
                  <a:lnTo>
                    <a:pt x="210650" y="169379"/>
                  </a:lnTo>
                  <a:lnTo>
                    <a:pt x="193376" y="183198"/>
                  </a:lnTo>
                  <a:lnTo>
                    <a:pt x="172648" y="203927"/>
                  </a:lnTo>
                  <a:lnTo>
                    <a:pt x="158828" y="235020"/>
                  </a:lnTo>
                  <a:lnTo>
                    <a:pt x="148464" y="255749"/>
                  </a:lnTo>
                  <a:lnTo>
                    <a:pt x="107006" y="224656"/>
                  </a:lnTo>
                  <a:lnTo>
                    <a:pt x="100096" y="207382"/>
                  </a:lnTo>
                  <a:lnTo>
                    <a:pt x="10365" y="159015"/>
                  </a:lnTo>
                  <a:lnTo>
                    <a:pt x="3455" y="159015"/>
                  </a:lnTo>
                  <a:lnTo>
                    <a:pt x="10365" y="134738"/>
                  </a:lnTo>
                  <a:lnTo>
                    <a:pt x="6910" y="114009"/>
                  </a:lnTo>
                  <a:lnTo>
                    <a:pt x="31093" y="86370"/>
                  </a:lnTo>
                  <a:lnTo>
                    <a:pt x="20729" y="48368"/>
                  </a:lnTo>
                  <a:lnTo>
                    <a:pt x="0" y="13819"/>
                  </a:lnTo>
                  <a:lnTo>
                    <a:pt x="13820" y="0"/>
                  </a:lnTo>
                  <a:close/>
                </a:path>
              </a:pathLst>
            </a:custGeom>
            <a:solidFill>
              <a:srgbClr val="CEE3BF"/>
            </a:solidFill>
            <a:ln w="9334" cap="flat">
              <a:noFill/>
              <a:prstDash val="solid"/>
              <a:miter/>
            </a:ln>
          </p:spPr>
          <p:txBody>
            <a:bodyPr rtlCol="0" anchor="ctr"/>
            <a:lstStyle/>
            <a:p>
              <a:endParaRPr lang="en-GB" dirty="0"/>
            </a:p>
          </p:txBody>
        </p:sp>
        <p:sp>
          <p:nvSpPr>
            <p:cNvPr id="1074" name="Freeform: Shape 1073">
              <a:extLst>
                <a:ext uri="{FF2B5EF4-FFF2-40B4-BE49-F238E27FC236}">
                  <a16:creationId xmlns:a16="http://schemas.microsoft.com/office/drawing/2014/main" id="{29465AF5-5050-4FBF-AEB3-CDD656E3D6EB}"/>
                </a:ext>
              </a:extLst>
            </p:cNvPr>
            <p:cNvSpPr/>
            <p:nvPr/>
          </p:nvSpPr>
          <p:spPr>
            <a:xfrm>
              <a:off x="6767096" y="4398380"/>
              <a:ext cx="217560" cy="255749"/>
            </a:xfrm>
            <a:custGeom>
              <a:avLst/>
              <a:gdLst>
                <a:gd name="connsiteX0" fmla="*/ 13820 w 217560"/>
                <a:gd name="connsiteY0" fmla="*/ 0 h 255749"/>
                <a:gd name="connsiteX1" fmla="*/ 48368 w 217560"/>
                <a:gd name="connsiteY1" fmla="*/ 0 h 255749"/>
                <a:gd name="connsiteX2" fmla="*/ 110461 w 217560"/>
                <a:gd name="connsiteY2" fmla="*/ 27639 h 255749"/>
                <a:gd name="connsiteX3" fmla="*/ 151918 w 217560"/>
                <a:gd name="connsiteY3" fmla="*/ 31093 h 255749"/>
                <a:gd name="connsiteX4" fmla="*/ 186467 w 217560"/>
                <a:gd name="connsiteY4" fmla="*/ 10365 h 255749"/>
                <a:gd name="connsiteX5" fmla="*/ 196831 w 217560"/>
                <a:gd name="connsiteY5" fmla="*/ 24184 h 255749"/>
                <a:gd name="connsiteX6" fmla="*/ 217560 w 217560"/>
                <a:gd name="connsiteY6" fmla="*/ 17274 h 255749"/>
                <a:gd name="connsiteX7" fmla="*/ 217560 w 217560"/>
                <a:gd name="connsiteY7" fmla="*/ 34548 h 255749"/>
                <a:gd name="connsiteX8" fmla="*/ 189921 w 217560"/>
                <a:gd name="connsiteY8" fmla="*/ 51822 h 255749"/>
                <a:gd name="connsiteX9" fmla="*/ 193376 w 217560"/>
                <a:gd name="connsiteY9" fmla="*/ 148650 h 255749"/>
                <a:gd name="connsiteX10" fmla="*/ 210650 w 217560"/>
                <a:gd name="connsiteY10" fmla="*/ 169379 h 255749"/>
                <a:gd name="connsiteX11" fmla="*/ 193376 w 217560"/>
                <a:gd name="connsiteY11" fmla="*/ 183198 h 255749"/>
                <a:gd name="connsiteX12" fmla="*/ 172648 w 217560"/>
                <a:gd name="connsiteY12" fmla="*/ 203927 h 255749"/>
                <a:gd name="connsiteX13" fmla="*/ 158828 w 217560"/>
                <a:gd name="connsiteY13" fmla="*/ 235020 h 255749"/>
                <a:gd name="connsiteX14" fmla="*/ 148464 w 217560"/>
                <a:gd name="connsiteY14" fmla="*/ 255749 h 255749"/>
                <a:gd name="connsiteX15" fmla="*/ 107006 w 217560"/>
                <a:gd name="connsiteY15" fmla="*/ 224656 h 255749"/>
                <a:gd name="connsiteX16" fmla="*/ 100096 w 217560"/>
                <a:gd name="connsiteY16" fmla="*/ 207382 h 255749"/>
                <a:gd name="connsiteX17" fmla="*/ 10365 w 217560"/>
                <a:gd name="connsiteY17" fmla="*/ 159015 h 255749"/>
                <a:gd name="connsiteX18" fmla="*/ 3455 w 217560"/>
                <a:gd name="connsiteY18" fmla="*/ 159015 h 255749"/>
                <a:gd name="connsiteX19" fmla="*/ 10365 w 217560"/>
                <a:gd name="connsiteY19" fmla="*/ 134738 h 255749"/>
                <a:gd name="connsiteX20" fmla="*/ 6910 w 217560"/>
                <a:gd name="connsiteY20" fmla="*/ 114009 h 255749"/>
                <a:gd name="connsiteX21" fmla="*/ 31093 w 217560"/>
                <a:gd name="connsiteY21" fmla="*/ 86370 h 255749"/>
                <a:gd name="connsiteX22" fmla="*/ 20729 w 217560"/>
                <a:gd name="connsiteY22" fmla="*/ 48368 h 255749"/>
                <a:gd name="connsiteX23" fmla="*/ 0 w 217560"/>
                <a:gd name="connsiteY23" fmla="*/ 13819 h 255749"/>
                <a:gd name="connsiteX24" fmla="*/ 13820 w 217560"/>
                <a:gd name="connsiteY24" fmla="*/ 0 h 25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7560" h="255749">
                  <a:moveTo>
                    <a:pt x="13820" y="0"/>
                  </a:moveTo>
                  <a:lnTo>
                    <a:pt x="48368" y="0"/>
                  </a:lnTo>
                  <a:lnTo>
                    <a:pt x="110461" y="27639"/>
                  </a:lnTo>
                  <a:lnTo>
                    <a:pt x="151918" y="31093"/>
                  </a:lnTo>
                  <a:lnTo>
                    <a:pt x="186467" y="10365"/>
                  </a:lnTo>
                  <a:lnTo>
                    <a:pt x="196831" y="24184"/>
                  </a:lnTo>
                  <a:lnTo>
                    <a:pt x="217560" y="17274"/>
                  </a:lnTo>
                  <a:lnTo>
                    <a:pt x="217560" y="34548"/>
                  </a:lnTo>
                  <a:lnTo>
                    <a:pt x="189921" y="51822"/>
                  </a:lnTo>
                  <a:lnTo>
                    <a:pt x="193376" y="148650"/>
                  </a:lnTo>
                  <a:lnTo>
                    <a:pt x="210650" y="169379"/>
                  </a:lnTo>
                  <a:lnTo>
                    <a:pt x="193376" y="183198"/>
                  </a:lnTo>
                  <a:lnTo>
                    <a:pt x="172648" y="203927"/>
                  </a:lnTo>
                  <a:lnTo>
                    <a:pt x="158828" y="235020"/>
                  </a:lnTo>
                  <a:lnTo>
                    <a:pt x="148464" y="255749"/>
                  </a:lnTo>
                  <a:lnTo>
                    <a:pt x="107006" y="224656"/>
                  </a:lnTo>
                  <a:lnTo>
                    <a:pt x="100096" y="207382"/>
                  </a:lnTo>
                  <a:lnTo>
                    <a:pt x="10365" y="159015"/>
                  </a:lnTo>
                  <a:lnTo>
                    <a:pt x="3455" y="159015"/>
                  </a:lnTo>
                  <a:lnTo>
                    <a:pt x="10365" y="134738"/>
                  </a:lnTo>
                  <a:lnTo>
                    <a:pt x="6910" y="114009"/>
                  </a:lnTo>
                  <a:lnTo>
                    <a:pt x="31093" y="86370"/>
                  </a:lnTo>
                  <a:lnTo>
                    <a:pt x="20729" y="48368"/>
                  </a:lnTo>
                  <a:lnTo>
                    <a:pt x="0" y="13819"/>
                  </a:lnTo>
                  <a:lnTo>
                    <a:pt x="13820" y="0"/>
                  </a:lnTo>
                  <a:close/>
                </a:path>
              </a:pathLst>
            </a:custGeom>
            <a:solidFill>
              <a:srgbClr val="CEE3BF"/>
            </a:solidFill>
            <a:ln w="9334" cap="flat">
              <a:noFill/>
              <a:prstDash val="solid"/>
              <a:miter/>
            </a:ln>
          </p:spPr>
          <p:txBody>
            <a:bodyPr rtlCol="0" anchor="ctr"/>
            <a:lstStyle/>
            <a:p>
              <a:endParaRPr lang="en-GB" dirty="0"/>
            </a:p>
          </p:txBody>
        </p:sp>
        <p:sp>
          <p:nvSpPr>
            <p:cNvPr id="1075" name="Freeform: Shape 1074">
              <a:extLst>
                <a:ext uri="{FF2B5EF4-FFF2-40B4-BE49-F238E27FC236}">
                  <a16:creationId xmlns:a16="http://schemas.microsoft.com/office/drawing/2014/main" id="{71297D22-18C2-4C06-A6F8-61C5DC105E94}"/>
                </a:ext>
              </a:extLst>
            </p:cNvPr>
            <p:cNvSpPr/>
            <p:nvPr/>
          </p:nvSpPr>
          <p:spPr>
            <a:xfrm>
              <a:off x="6081830" y="4460566"/>
              <a:ext cx="153598" cy="165924"/>
            </a:xfrm>
            <a:custGeom>
              <a:avLst/>
              <a:gdLst>
                <a:gd name="connsiteX0" fmla="*/ 67322 w 153598"/>
                <a:gd name="connsiteY0" fmla="*/ 0 h 165924"/>
                <a:gd name="connsiteX1" fmla="*/ 115596 w 153598"/>
                <a:gd name="connsiteY1" fmla="*/ 0 h 165924"/>
                <a:gd name="connsiteX2" fmla="*/ 122506 w 153598"/>
                <a:gd name="connsiteY2" fmla="*/ 27638 h 165924"/>
                <a:gd name="connsiteX3" fmla="*/ 146689 w 153598"/>
                <a:gd name="connsiteY3" fmla="*/ 24184 h 165924"/>
                <a:gd name="connsiteX4" fmla="*/ 153598 w 153598"/>
                <a:gd name="connsiteY4" fmla="*/ 41458 h 165924"/>
                <a:gd name="connsiteX5" fmla="*/ 139779 w 153598"/>
                <a:gd name="connsiteY5" fmla="*/ 51822 h 165924"/>
                <a:gd name="connsiteX6" fmla="*/ 139779 w 153598"/>
                <a:gd name="connsiteY6" fmla="*/ 72551 h 165924"/>
                <a:gd name="connsiteX7" fmla="*/ 153598 w 153598"/>
                <a:gd name="connsiteY7" fmla="*/ 83009 h 165924"/>
                <a:gd name="connsiteX8" fmla="*/ 153598 w 153598"/>
                <a:gd name="connsiteY8" fmla="*/ 117557 h 165924"/>
                <a:gd name="connsiteX9" fmla="*/ 146689 w 153598"/>
                <a:gd name="connsiteY9" fmla="*/ 131376 h 165924"/>
                <a:gd name="connsiteX10" fmla="*/ 115596 w 153598"/>
                <a:gd name="connsiteY10" fmla="*/ 127921 h 165924"/>
                <a:gd name="connsiteX11" fmla="*/ 105231 w 153598"/>
                <a:gd name="connsiteY11" fmla="*/ 114102 h 165924"/>
                <a:gd name="connsiteX12" fmla="*/ 88051 w 153598"/>
                <a:gd name="connsiteY12" fmla="*/ 127921 h 165924"/>
                <a:gd name="connsiteX13" fmla="*/ 74231 w 153598"/>
                <a:gd name="connsiteY13" fmla="*/ 127921 h 165924"/>
                <a:gd name="connsiteX14" fmla="*/ 74231 w 153598"/>
                <a:gd name="connsiteY14" fmla="*/ 148650 h 165924"/>
                <a:gd name="connsiteX15" fmla="*/ 88051 w 153598"/>
                <a:gd name="connsiteY15" fmla="*/ 148650 h 165924"/>
                <a:gd name="connsiteX16" fmla="*/ 88051 w 153598"/>
                <a:gd name="connsiteY16" fmla="*/ 165924 h 165924"/>
                <a:gd name="connsiteX17" fmla="*/ 62093 w 153598"/>
                <a:gd name="connsiteY17" fmla="*/ 165924 h 165924"/>
                <a:gd name="connsiteX18" fmla="*/ 31093 w 153598"/>
                <a:gd name="connsiteY18" fmla="*/ 141740 h 165924"/>
                <a:gd name="connsiteX19" fmla="*/ 17274 w 153598"/>
                <a:gd name="connsiteY19" fmla="*/ 117557 h 165924"/>
                <a:gd name="connsiteX20" fmla="*/ 0 w 153598"/>
                <a:gd name="connsiteY20" fmla="*/ 83009 h 165924"/>
                <a:gd name="connsiteX21" fmla="*/ 17274 w 153598"/>
                <a:gd name="connsiteY21" fmla="*/ 55277 h 165924"/>
                <a:gd name="connsiteX22" fmla="*/ 20729 w 153598"/>
                <a:gd name="connsiteY22" fmla="*/ 41458 h 165924"/>
                <a:gd name="connsiteX23" fmla="*/ 62093 w 153598"/>
                <a:gd name="connsiteY23" fmla="*/ 38003 h 165924"/>
                <a:gd name="connsiteX24" fmla="*/ 67322 w 153598"/>
                <a:gd name="connsiteY24" fmla="*/ 0 h 16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598" h="165924">
                  <a:moveTo>
                    <a:pt x="67322" y="0"/>
                  </a:moveTo>
                  <a:lnTo>
                    <a:pt x="115596" y="0"/>
                  </a:lnTo>
                  <a:lnTo>
                    <a:pt x="122506" y="27638"/>
                  </a:lnTo>
                  <a:lnTo>
                    <a:pt x="146689" y="24184"/>
                  </a:lnTo>
                  <a:lnTo>
                    <a:pt x="153598" y="41458"/>
                  </a:lnTo>
                  <a:lnTo>
                    <a:pt x="139779" y="51822"/>
                  </a:lnTo>
                  <a:lnTo>
                    <a:pt x="139779" y="72551"/>
                  </a:lnTo>
                  <a:lnTo>
                    <a:pt x="153598" y="83009"/>
                  </a:lnTo>
                  <a:lnTo>
                    <a:pt x="153598" y="117557"/>
                  </a:lnTo>
                  <a:lnTo>
                    <a:pt x="146689" y="131376"/>
                  </a:lnTo>
                  <a:lnTo>
                    <a:pt x="115596" y="127921"/>
                  </a:lnTo>
                  <a:lnTo>
                    <a:pt x="105231" y="114102"/>
                  </a:lnTo>
                  <a:lnTo>
                    <a:pt x="88051" y="127921"/>
                  </a:lnTo>
                  <a:lnTo>
                    <a:pt x="74231" y="127921"/>
                  </a:lnTo>
                  <a:lnTo>
                    <a:pt x="74231" y="148650"/>
                  </a:lnTo>
                  <a:lnTo>
                    <a:pt x="88051" y="148650"/>
                  </a:lnTo>
                  <a:lnTo>
                    <a:pt x="88051" y="165924"/>
                  </a:lnTo>
                  <a:lnTo>
                    <a:pt x="62093" y="165924"/>
                  </a:lnTo>
                  <a:lnTo>
                    <a:pt x="31093" y="141740"/>
                  </a:lnTo>
                  <a:lnTo>
                    <a:pt x="17274" y="117557"/>
                  </a:lnTo>
                  <a:lnTo>
                    <a:pt x="0" y="83009"/>
                  </a:lnTo>
                  <a:lnTo>
                    <a:pt x="17274" y="55277"/>
                  </a:lnTo>
                  <a:lnTo>
                    <a:pt x="20729" y="41458"/>
                  </a:lnTo>
                  <a:lnTo>
                    <a:pt x="62093" y="38003"/>
                  </a:lnTo>
                  <a:lnTo>
                    <a:pt x="67322" y="0"/>
                  </a:lnTo>
                  <a:close/>
                </a:path>
              </a:pathLst>
            </a:custGeom>
            <a:solidFill>
              <a:srgbClr val="CEE3BF"/>
            </a:solidFill>
            <a:ln w="9334" cap="flat">
              <a:noFill/>
              <a:prstDash val="solid"/>
              <a:miter/>
            </a:ln>
          </p:spPr>
          <p:txBody>
            <a:bodyPr rtlCol="0" anchor="ctr"/>
            <a:lstStyle/>
            <a:p>
              <a:endParaRPr lang="en-GB" dirty="0"/>
            </a:p>
          </p:txBody>
        </p:sp>
        <p:sp>
          <p:nvSpPr>
            <p:cNvPr id="1076" name="Freeform: Shape 1075">
              <a:extLst>
                <a:ext uri="{FF2B5EF4-FFF2-40B4-BE49-F238E27FC236}">
                  <a16:creationId xmlns:a16="http://schemas.microsoft.com/office/drawing/2014/main" id="{739F295D-51BC-4575-B4A6-1DABAC71B2EE}"/>
                </a:ext>
              </a:extLst>
            </p:cNvPr>
            <p:cNvSpPr/>
            <p:nvPr/>
          </p:nvSpPr>
          <p:spPr>
            <a:xfrm>
              <a:off x="6081830" y="4460566"/>
              <a:ext cx="153598" cy="165924"/>
            </a:xfrm>
            <a:custGeom>
              <a:avLst/>
              <a:gdLst>
                <a:gd name="connsiteX0" fmla="*/ 67322 w 153598"/>
                <a:gd name="connsiteY0" fmla="*/ 0 h 165924"/>
                <a:gd name="connsiteX1" fmla="*/ 115596 w 153598"/>
                <a:gd name="connsiteY1" fmla="*/ 0 h 165924"/>
                <a:gd name="connsiteX2" fmla="*/ 122506 w 153598"/>
                <a:gd name="connsiteY2" fmla="*/ 27638 h 165924"/>
                <a:gd name="connsiteX3" fmla="*/ 146689 w 153598"/>
                <a:gd name="connsiteY3" fmla="*/ 24184 h 165924"/>
                <a:gd name="connsiteX4" fmla="*/ 153598 w 153598"/>
                <a:gd name="connsiteY4" fmla="*/ 41458 h 165924"/>
                <a:gd name="connsiteX5" fmla="*/ 139779 w 153598"/>
                <a:gd name="connsiteY5" fmla="*/ 51822 h 165924"/>
                <a:gd name="connsiteX6" fmla="*/ 139779 w 153598"/>
                <a:gd name="connsiteY6" fmla="*/ 72551 h 165924"/>
                <a:gd name="connsiteX7" fmla="*/ 153598 w 153598"/>
                <a:gd name="connsiteY7" fmla="*/ 83009 h 165924"/>
                <a:gd name="connsiteX8" fmla="*/ 153598 w 153598"/>
                <a:gd name="connsiteY8" fmla="*/ 117557 h 165924"/>
                <a:gd name="connsiteX9" fmla="*/ 146689 w 153598"/>
                <a:gd name="connsiteY9" fmla="*/ 131376 h 165924"/>
                <a:gd name="connsiteX10" fmla="*/ 115596 w 153598"/>
                <a:gd name="connsiteY10" fmla="*/ 127921 h 165924"/>
                <a:gd name="connsiteX11" fmla="*/ 105231 w 153598"/>
                <a:gd name="connsiteY11" fmla="*/ 114102 h 165924"/>
                <a:gd name="connsiteX12" fmla="*/ 88051 w 153598"/>
                <a:gd name="connsiteY12" fmla="*/ 127921 h 165924"/>
                <a:gd name="connsiteX13" fmla="*/ 74231 w 153598"/>
                <a:gd name="connsiteY13" fmla="*/ 127921 h 165924"/>
                <a:gd name="connsiteX14" fmla="*/ 74231 w 153598"/>
                <a:gd name="connsiteY14" fmla="*/ 148650 h 165924"/>
                <a:gd name="connsiteX15" fmla="*/ 88051 w 153598"/>
                <a:gd name="connsiteY15" fmla="*/ 148650 h 165924"/>
                <a:gd name="connsiteX16" fmla="*/ 88051 w 153598"/>
                <a:gd name="connsiteY16" fmla="*/ 165924 h 165924"/>
                <a:gd name="connsiteX17" fmla="*/ 62093 w 153598"/>
                <a:gd name="connsiteY17" fmla="*/ 165924 h 165924"/>
                <a:gd name="connsiteX18" fmla="*/ 31093 w 153598"/>
                <a:gd name="connsiteY18" fmla="*/ 141740 h 165924"/>
                <a:gd name="connsiteX19" fmla="*/ 17274 w 153598"/>
                <a:gd name="connsiteY19" fmla="*/ 117557 h 165924"/>
                <a:gd name="connsiteX20" fmla="*/ 0 w 153598"/>
                <a:gd name="connsiteY20" fmla="*/ 83009 h 165924"/>
                <a:gd name="connsiteX21" fmla="*/ 17274 w 153598"/>
                <a:gd name="connsiteY21" fmla="*/ 55277 h 165924"/>
                <a:gd name="connsiteX22" fmla="*/ 20729 w 153598"/>
                <a:gd name="connsiteY22" fmla="*/ 41458 h 165924"/>
                <a:gd name="connsiteX23" fmla="*/ 62093 w 153598"/>
                <a:gd name="connsiteY23" fmla="*/ 38003 h 165924"/>
                <a:gd name="connsiteX24" fmla="*/ 67322 w 153598"/>
                <a:gd name="connsiteY24" fmla="*/ 0 h 16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598" h="165924">
                  <a:moveTo>
                    <a:pt x="67322" y="0"/>
                  </a:moveTo>
                  <a:lnTo>
                    <a:pt x="115596" y="0"/>
                  </a:lnTo>
                  <a:lnTo>
                    <a:pt x="122506" y="27638"/>
                  </a:lnTo>
                  <a:lnTo>
                    <a:pt x="146689" y="24184"/>
                  </a:lnTo>
                  <a:lnTo>
                    <a:pt x="153598" y="41458"/>
                  </a:lnTo>
                  <a:lnTo>
                    <a:pt x="139779" y="51822"/>
                  </a:lnTo>
                  <a:lnTo>
                    <a:pt x="139779" y="72551"/>
                  </a:lnTo>
                  <a:lnTo>
                    <a:pt x="153598" y="83009"/>
                  </a:lnTo>
                  <a:lnTo>
                    <a:pt x="153598" y="117557"/>
                  </a:lnTo>
                  <a:lnTo>
                    <a:pt x="146689" y="131376"/>
                  </a:lnTo>
                  <a:lnTo>
                    <a:pt x="115596" y="127921"/>
                  </a:lnTo>
                  <a:lnTo>
                    <a:pt x="105231" y="114102"/>
                  </a:lnTo>
                  <a:lnTo>
                    <a:pt x="88051" y="127921"/>
                  </a:lnTo>
                  <a:lnTo>
                    <a:pt x="74231" y="127921"/>
                  </a:lnTo>
                  <a:lnTo>
                    <a:pt x="74231" y="148650"/>
                  </a:lnTo>
                  <a:lnTo>
                    <a:pt x="88051" y="148650"/>
                  </a:lnTo>
                  <a:lnTo>
                    <a:pt x="88051" y="165924"/>
                  </a:lnTo>
                  <a:lnTo>
                    <a:pt x="62093" y="165924"/>
                  </a:lnTo>
                  <a:lnTo>
                    <a:pt x="31093" y="141740"/>
                  </a:lnTo>
                  <a:lnTo>
                    <a:pt x="17274" y="117557"/>
                  </a:lnTo>
                  <a:lnTo>
                    <a:pt x="0" y="83009"/>
                  </a:lnTo>
                  <a:lnTo>
                    <a:pt x="17274" y="55277"/>
                  </a:lnTo>
                  <a:lnTo>
                    <a:pt x="20729" y="41458"/>
                  </a:lnTo>
                  <a:lnTo>
                    <a:pt x="62093" y="38003"/>
                  </a:lnTo>
                  <a:lnTo>
                    <a:pt x="67322" y="0"/>
                  </a:lnTo>
                  <a:close/>
                </a:path>
              </a:pathLst>
            </a:custGeom>
            <a:solidFill>
              <a:srgbClr val="CEE3BF"/>
            </a:solidFill>
            <a:ln w="9334" cap="flat">
              <a:noFill/>
              <a:prstDash val="solid"/>
              <a:miter/>
            </a:ln>
          </p:spPr>
          <p:txBody>
            <a:bodyPr rtlCol="0" anchor="ctr"/>
            <a:lstStyle/>
            <a:p>
              <a:endParaRPr lang="en-GB" dirty="0"/>
            </a:p>
          </p:txBody>
        </p:sp>
        <p:sp>
          <p:nvSpPr>
            <p:cNvPr id="1077" name="Freeform: Shape 1076">
              <a:extLst>
                <a:ext uri="{FF2B5EF4-FFF2-40B4-BE49-F238E27FC236}">
                  <a16:creationId xmlns:a16="http://schemas.microsoft.com/office/drawing/2014/main" id="{FFDEE1EA-FFC6-4C0E-8999-2924E8458D57}"/>
                </a:ext>
              </a:extLst>
            </p:cNvPr>
            <p:cNvSpPr/>
            <p:nvPr/>
          </p:nvSpPr>
          <p:spPr>
            <a:xfrm>
              <a:off x="5374061" y="4145992"/>
              <a:ext cx="86276" cy="20728"/>
            </a:xfrm>
            <a:custGeom>
              <a:avLst/>
              <a:gdLst>
                <a:gd name="connsiteX0" fmla="*/ 13819 w 86276"/>
                <a:gd name="connsiteY0" fmla="*/ 0 h 20728"/>
                <a:gd name="connsiteX1" fmla="*/ 34548 w 86276"/>
                <a:gd name="connsiteY1" fmla="*/ 0 h 20728"/>
                <a:gd name="connsiteX2" fmla="*/ 55277 w 86276"/>
                <a:gd name="connsiteY2" fmla="*/ 3455 h 20728"/>
                <a:gd name="connsiteX3" fmla="*/ 72551 w 86276"/>
                <a:gd name="connsiteY3" fmla="*/ 6910 h 20728"/>
                <a:gd name="connsiteX4" fmla="*/ 86277 w 86276"/>
                <a:gd name="connsiteY4" fmla="*/ 10365 h 20728"/>
                <a:gd name="connsiteX5" fmla="*/ 79461 w 86276"/>
                <a:gd name="connsiteY5" fmla="*/ 13819 h 20728"/>
                <a:gd name="connsiteX6" fmla="*/ 58732 w 86276"/>
                <a:gd name="connsiteY6" fmla="*/ 13819 h 20728"/>
                <a:gd name="connsiteX7" fmla="*/ 44912 w 86276"/>
                <a:gd name="connsiteY7" fmla="*/ 13819 h 20728"/>
                <a:gd name="connsiteX8" fmla="*/ 27638 w 86276"/>
                <a:gd name="connsiteY8" fmla="*/ 13819 h 20728"/>
                <a:gd name="connsiteX9" fmla="*/ 10364 w 86276"/>
                <a:gd name="connsiteY9" fmla="*/ 20729 h 20728"/>
                <a:gd name="connsiteX10" fmla="*/ 0 w 86276"/>
                <a:gd name="connsiteY10" fmla="*/ 17274 h 20728"/>
                <a:gd name="connsiteX11" fmla="*/ 6910 w 86276"/>
                <a:gd name="connsiteY11" fmla="*/ 0 h 20728"/>
                <a:gd name="connsiteX12" fmla="*/ 13819 w 86276"/>
                <a:gd name="connsiteY12" fmla="*/ 0 h 2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76" h="20728">
                  <a:moveTo>
                    <a:pt x="13819" y="0"/>
                  </a:moveTo>
                  <a:lnTo>
                    <a:pt x="34548" y="0"/>
                  </a:lnTo>
                  <a:lnTo>
                    <a:pt x="55277" y="3455"/>
                  </a:lnTo>
                  <a:lnTo>
                    <a:pt x="72551" y="6910"/>
                  </a:lnTo>
                  <a:lnTo>
                    <a:pt x="86277" y="10365"/>
                  </a:lnTo>
                  <a:lnTo>
                    <a:pt x="79461" y="13819"/>
                  </a:lnTo>
                  <a:lnTo>
                    <a:pt x="58732" y="13819"/>
                  </a:lnTo>
                  <a:lnTo>
                    <a:pt x="44912" y="13819"/>
                  </a:lnTo>
                  <a:lnTo>
                    <a:pt x="27638" y="13819"/>
                  </a:lnTo>
                  <a:lnTo>
                    <a:pt x="10364" y="20729"/>
                  </a:lnTo>
                  <a:lnTo>
                    <a:pt x="0" y="17274"/>
                  </a:lnTo>
                  <a:lnTo>
                    <a:pt x="6910" y="0"/>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078" name="Freeform: Shape 1077">
              <a:extLst>
                <a:ext uri="{FF2B5EF4-FFF2-40B4-BE49-F238E27FC236}">
                  <a16:creationId xmlns:a16="http://schemas.microsoft.com/office/drawing/2014/main" id="{35E6E319-3553-4B72-BEC3-EEC1237DB3C8}"/>
                </a:ext>
              </a:extLst>
            </p:cNvPr>
            <p:cNvSpPr/>
            <p:nvPr/>
          </p:nvSpPr>
          <p:spPr>
            <a:xfrm>
              <a:off x="5374061" y="4145992"/>
              <a:ext cx="86276" cy="20728"/>
            </a:xfrm>
            <a:custGeom>
              <a:avLst/>
              <a:gdLst>
                <a:gd name="connsiteX0" fmla="*/ 13819 w 86276"/>
                <a:gd name="connsiteY0" fmla="*/ 0 h 20728"/>
                <a:gd name="connsiteX1" fmla="*/ 34548 w 86276"/>
                <a:gd name="connsiteY1" fmla="*/ 0 h 20728"/>
                <a:gd name="connsiteX2" fmla="*/ 55277 w 86276"/>
                <a:gd name="connsiteY2" fmla="*/ 3455 h 20728"/>
                <a:gd name="connsiteX3" fmla="*/ 72551 w 86276"/>
                <a:gd name="connsiteY3" fmla="*/ 6910 h 20728"/>
                <a:gd name="connsiteX4" fmla="*/ 86277 w 86276"/>
                <a:gd name="connsiteY4" fmla="*/ 10365 h 20728"/>
                <a:gd name="connsiteX5" fmla="*/ 79461 w 86276"/>
                <a:gd name="connsiteY5" fmla="*/ 13819 h 20728"/>
                <a:gd name="connsiteX6" fmla="*/ 58732 w 86276"/>
                <a:gd name="connsiteY6" fmla="*/ 13819 h 20728"/>
                <a:gd name="connsiteX7" fmla="*/ 44912 w 86276"/>
                <a:gd name="connsiteY7" fmla="*/ 13819 h 20728"/>
                <a:gd name="connsiteX8" fmla="*/ 27638 w 86276"/>
                <a:gd name="connsiteY8" fmla="*/ 13819 h 20728"/>
                <a:gd name="connsiteX9" fmla="*/ 10364 w 86276"/>
                <a:gd name="connsiteY9" fmla="*/ 20729 h 20728"/>
                <a:gd name="connsiteX10" fmla="*/ 0 w 86276"/>
                <a:gd name="connsiteY10" fmla="*/ 17274 h 20728"/>
                <a:gd name="connsiteX11" fmla="*/ 6910 w 86276"/>
                <a:gd name="connsiteY11" fmla="*/ 0 h 20728"/>
                <a:gd name="connsiteX12" fmla="*/ 13819 w 86276"/>
                <a:gd name="connsiteY12" fmla="*/ 0 h 2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76" h="20728">
                  <a:moveTo>
                    <a:pt x="13819" y="0"/>
                  </a:moveTo>
                  <a:lnTo>
                    <a:pt x="34548" y="0"/>
                  </a:lnTo>
                  <a:lnTo>
                    <a:pt x="55277" y="3455"/>
                  </a:lnTo>
                  <a:lnTo>
                    <a:pt x="72551" y="6910"/>
                  </a:lnTo>
                  <a:lnTo>
                    <a:pt x="86277" y="10365"/>
                  </a:lnTo>
                  <a:lnTo>
                    <a:pt x="79461" y="13819"/>
                  </a:lnTo>
                  <a:lnTo>
                    <a:pt x="58732" y="13819"/>
                  </a:lnTo>
                  <a:lnTo>
                    <a:pt x="44912" y="13819"/>
                  </a:lnTo>
                  <a:lnTo>
                    <a:pt x="27638" y="13819"/>
                  </a:lnTo>
                  <a:lnTo>
                    <a:pt x="10364" y="20729"/>
                  </a:lnTo>
                  <a:lnTo>
                    <a:pt x="0" y="17274"/>
                  </a:lnTo>
                  <a:lnTo>
                    <a:pt x="6910" y="0"/>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079" name="Freeform: Shape 1078">
              <a:extLst>
                <a:ext uri="{FF2B5EF4-FFF2-40B4-BE49-F238E27FC236}">
                  <a16:creationId xmlns:a16="http://schemas.microsoft.com/office/drawing/2014/main" id="{A2F6F059-0FA0-47E7-94C0-69AB2DA862E8}"/>
                </a:ext>
              </a:extLst>
            </p:cNvPr>
            <p:cNvSpPr/>
            <p:nvPr/>
          </p:nvSpPr>
          <p:spPr>
            <a:xfrm>
              <a:off x="5374061" y="4145992"/>
              <a:ext cx="86276" cy="20728"/>
            </a:xfrm>
            <a:custGeom>
              <a:avLst/>
              <a:gdLst>
                <a:gd name="connsiteX0" fmla="*/ 13819 w 86276"/>
                <a:gd name="connsiteY0" fmla="*/ 0 h 20728"/>
                <a:gd name="connsiteX1" fmla="*/ 34548 w 86276"/>
                <a:gd name="connsiteY1" fmla="*/ 0 h 20728"/>
                <a:gd name="connsiteX2" fmla="*/ 55277 w 86276"/>
                <a:gd name="connsiteY2" fmla="*/ 3455 h 20728"/>
                <a:gd name="connsiteX3" fmla="*/ 72551 w 86276"/>
                <a:gd name="connsiteY3" fmla="*/ 6910 h 20728"/>
                <a:gd name="connsiteX4" fmla="*/ 86277 w 86276"/>
                <a:gd name="connsiteY4" fmla="*/ 10365 h 20728"/>
                <a:gd name="connsiteX5" fmla="*/ 79461 w 86276"/>
                <a:gd name="connsiteY5" fmla="*/ 13819 h 20728"/>
                <a:gd name="connsiteX6" fmla="*/ 58732 w 86276"/>
                <a:gd name="connsiteY6" fmla="*/ 13819 h 20728"/>
                <a:gd name="connsiteX7" fmla="*/ 44912 w 86276"/>
                <a:gd name="connsiteY7" fmla="*/ 13819 h 20728"/>
                <a:gd name="connsiteX8" fmla="*/ 27638 w 86276"/>
                <a:gd name="connsiteY8" fmla="*/ 13819 h 20728"/>
                <a:gd name="connsiteX9" fmla="*/ 10364 w 86276"/>
                <a:gd name="connsiteY9" fmla="*/ 20729 h 20728"/>
                <a:gd name="connsiteX10" fmla="*/ 0 w 86276"/>
                <a:gd name="connsiteY10" fmla="*/ 17274 h 20728"/>
                <a:gd name="connsiteX11" fmla="*/ 6910 w 86276"/>
                <a:gd name="connsiteY11" fmla="*/ 0 h 20728"/>
                <a:gd name="connsiteX12" fmla="*/ 13819 w 86276"/>
                <a:gd name="connsiteY12" fmla="*/ 0 h 2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76" h="20728">
                  <a:moveTo>
                    <a:pt x="13819" y="0"/>
                  </a:moveTo>
                  <a:lnTo>
                    <a:pt x="34548" y="0"/>
                  </a:lnTo>
                  <a:lnTo>
                    <a:pt x="55277" y="3455"/>
                  </a:lnTo>
                  <a:lnTo>
                    <a:pt x="72551" y="6910"/>
                  </a:lnTo>
                  <a:lnTo>
                    <a:pt x="86277" y="10365"/>
                  </a:lnTo>
                  <a:lnTo>
                    <a:pt x="79461" y="13819"/>
                  </a:lnTo>
                  <a:lnTo>
                    <a:pt x="58732" y="13819"/>
                  </a:lnTo>
                  <a:lnTo>
                    <a:pt x="44912" y="13819"/>
                  </a:lnTo>
                  <a:lnTo>
                    <a:pt x="27638" y="13819"/>
                  </a:lnTo>
                  <a:lnTo>
                    <a:pt x="10364" y="20729"/>
                  </a:lnTo>
                  <a:lnTo>
                    <a:pt x="0" y="17274"/>
                  </a:lnTo>
                  <a:lnTo>
                    <a:pt x="6910" y="0"/>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080" name="Freeform: Shape 1079">
              <a:extLst>
                <a:ext uri="{FF2B5EF4-FFF2-40B4-BE49-F238E27FC236}">
                  <a16:creationId xmlns:a16="http://schemas.microsoft.com/office/drawing/2014/main" id="{4D0283FA-68AC-425E-8399-7F451E589574}"/>
                </a:ext>
              </a:extLst>
            </p:cNvPr>
            <p:cNvSpPr/>
            <p:nvPr/>
          </p:nvSpPr>
          <p:spPr>
            <a:xfrm>
              <a:off x="5374061" y="4145992"/>
              <a:ext cx="86276" cy="20728"/>
            </a:xfrm>
            <a:custGeom>
              <a:avLst/>
              <a:gdLst>
                <a:gd name="connsiteX0" fmla="*/ 13819 w 86276"/>
                <a:gd name="connsiteY0" fmla="*/ 0 h 20728"/>
                <a:gd name="connsiteX1" fmla="*/ 34548 w 86276"/>
                <a:gd name="connsiteY1" fmla="*/ 0 h 20728"/>
                <a:gd name="connsiteX2" fmla="*/ 55277 w 86276"/>
                <a:gd name="connsiteY2" fmla="*/ 3455 h 20728"/>
                <a:gd name="connsiteX3" fmla="*/ 72551 w 86276"/>
                <a:gd name="connsiteY3" fmla="*/ 6910 h 20728"/>
                <a:gd name="connsiteX4" fmla="*/ 86277 w 86276"/>
                <a:gd name="connsiteY4" fmla="*/ 10365 h 20728"/>
                <a:gd name="connsiteX5" fmla="*/ 79461 w 86276"/>
                <a:gd name="connsiteY5" fmla="*/ 13819 h 20728"/>
                <a:gd name="connsiteX6" fmla="*/ 58732 w 86276"/>
                <a:gd name="connsiteY6" fmla="*/ 13819 h 20728"/>
                <a:gd name="connsiteX7" fmla="*/ 44912 w 86276"/>
                <a:gd name="connsiteY7" fmla="*/ 13819 h 20728"/>
                <a:gd name="connsiteX8" fmla="*/ 27638 w 86276"/>
                <a:gd name="connsiteY8" fmla="*/ 13819 h 20728"/>
                <a:gd name="connsiteX9" fmla="*/ 10364 w 86276"/>
                <a:gd name="connsiteY9" fmla="*/ 20729 h 20728"/>
                <a:gd name="connsiteX10" fmla="*/ 0 w 86276"/>
                <a:gd name="connsiteY10" fmla="*/ 17274 h 20728"/>
                <a:gd name="connsiteX11" fmla="*/ 6910 w 86276"/>
                <a:gd name="connsiteY11" fmla="*/ 0 h 20728"/>
                <a:gd name="connsiteX12" fmla="*/ 13819 w 86276"/>
                <a:gd name="connsiteY12" fmla="*/ 0 h 2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76" h="20728">
                  <a:moveTo>
                    <a:pt x="13819" y="0"/>
                  </a:moveTo>
                  <a:lnTo>
                    <a:pt x="34548" y="0"/>
                  </a:lnTo>
                  <a:lnTo>
                    <a:pt x="55277" y="3455"/>
                  </a:lnTo>
                  <a:lnTo>
                    <a:pt x="72551" y="6910"/>
                  </a:lnTo>
                  <a:lnTo>
                    <a:pt x="86277" y="10365"/>
                  </a:lnTo>
                  <a:lnTo>
                    <a:pt x="79461" y="13819"/>
                  </a:lnTo>
                  <a:lnTo>
                    <a:pt x="58732" y="13819"/>
                  </a:lnTo>
                  <a:lnTo>
                    <a:pt x="44912" y="13819"/>
                  </a:lnTo>
                  <a:lnTo>
                    <a:pt x="27638" y="13819"/>
                  </a:lnTo>
                  <a:lnTo>
                    <a:pt x="10364" y="20729"/>
                  </a:lnTo>
                  <a:lnTo>
                    <a:pt x="0" y="17274"/>
                  </a:lnTo>
                  <a:lnTo>
                    <a:pt x="6910" y="0"/>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081" name="Freeform: Shape 1080">
              <a:extLst>
                <a:ext uri="{FF2B5EF4-FFF2-40B4-BE49-F238E27FC236}">
                  <a16:creationId xmlns:a16="http://schemas.microsoft.com/office/drawing/2014/main" id="{3E72621F-6A9A-42B9-AE60-1ABB45246A6A}"/>
                </a:ext>
              </a:extLst>
            </p:cNvPr>
            <p:cNvSpPr/>
            <p:nvPr/>
          </p:nvSpPr>
          <p:spPr>
            <a:xfrm>
              <a:off x="5367152" y="4063077"/>
              <a:ext cx="158827" cy="120918"/>
            </a:xfrm>
            <a:custGeom>
              <a:avLst/>
              <a:gdLst>
                <a:gd name="connsiteX0" fmla="*/ 3455 w 158827"/>
                <a:gd name="connsiteY0" fmla="*/ 58732 h 120918"/>
                <a:gd name="connsiteX1" fmla="*/ 0 w 158827"/>
                <a:gd name="connsiteY1" fmla="*/ 48368 h 120918"/>
                <a:gd name="connsiteX2" fmla="*/ 10364 w 158827"/>
                <a:gd name="connsiteY2" fmla="*/ 34548 h 120918"/>
                <a:gd name="connsiteX3" fmla="*/ 20729 w 158827"/>
                <a:gd name="connsiteY3" fmla="*/ 20729 h 120918"/>
                <a:gd name="connsiteX4" fmla="*/ 24184 w 158827"/>
                <a:gd name="connsiteY4" fmla="*/ 3455 h 120918"/>
                <a:gd name="connsiteX5" fmla="*/ 48367 w 158827"/>
                <a:gd name="connsiteY5" fmla="*/ 0 h 120918"/>
                <a:gd name="connsiteX6" fmla="*/ 72551 w 158827"/>
                <a:gd name="connsiteY6" fmla="*/ 0 h 120918"/>
                <a:gd name="connsiteX7" fmla="*/ 93186 w 158827"/>
                <a:gd name="connsiteY7" fmla="*/ 10365 h 120918"/>
                <a:gd name="connsiteX8" fmla="*/ 107006 w 158827"/>
                <a:gd name="connsiteY8" fmla="*/ 20729 h 120918"/>
                <a:gd name="connsiteX9" fmla="*/ 120825 w 158827"/>
                <a:gd name="connsiteY9" fmla="*/ 41458 h 120918"/>
                <a:gd name="connsiteX10" fmla="*/ 138099 w 158827"/>
                <a:gd name="connsiteY10" fmla="*/ 55277 h 120918"/>
                <a:gd name="connsiteX11" fmla="*/ 141554 w 158827"/>
                <a:gd name="connsiteY11" fmla="*/ 65641 h 120918"/>
                <a:gd name="connsiteX12" fmla="*/ 145009 w 158827"/>
                <a:gd name="connsiteY12" fmla="*/ 86370 h 120918"/>
                <a:gd name="connsiteX13" fmla="*/ 155373 w 158827"/>
                <a:gd name="connsiteY13" fmla="*/ 100190 h 120918"/>
                <a:gd name="connsiteX14" fmla="*/ 158828 w 158827"/>
                <a:gd name="connsiteY14" fmla="*/ 114009 h 120918"/>
                <a:gd name="connsiteX15" fmla="*/ 158828 w 158827"/>
                <a:gd name="connsiteY15" fmla="*/ 120918 h 120918"/>
                <a:gd name="connsiteX16" fmla="*/ 120825 w 158827"/>
                <a:gd name="connsiteY16" fmla="*/ 117464 h 120918"/>
                <a:gd name="connsiteX17" fmla="*/ 110460 w 158827"/>
                <a:gd name="connsiteY17" fmla="*/ 110554 h 120918"/>
                <a:gd name="connsiteX18" fmla="*/ 100096 w 158827"/>
                <a:gd name="connsiteY18" fmla="*/ 110554 h 120918"/>
                <a:gd name="connsiteX19" fmla="*/ 86370 w 158827"/>
                <a:gd name="connsiteY19" fmla="*/ 110554 h 120918"/>
                <a:gd name="connsiteX20" fmla="*/ 65641 w 158827"/>
                <a:gd name="connsiteY20" fmla="*/ 110554 h 120918"/>
                <a:gd name="connsiteX21" fmla="*/ 55277 w 158827"/>
                <a:gd name="connsiteY21" fmla="*/ 110554 h 120918"/>
                <a:gd name="connsiteX22" fmla="*/ 48367 w 158827"/>
                <a:gd name="connsiteY22" fmla="*/ 117464 h 120918"/>
                <a:gd name="connsiteX23" fmla="*/ 17274 w 158827"/>
                <a:gd name="connsiteY23" fmla="*/ 120918 h 120918"/>
                <a:gd name="connsiteX24" fmla="*/ 17274 w 158827"/>
                <a:gd name="connsiteY24" fmla="*/ 103644 h 120918"/>
                <a:gd name="connsiteX25" fmla="*/ 34548 w 158827"/>
                <a:gd name="connsiteY25" fmla="*/ 96735 h 120918"/>
                <a:gd name="connsiteX26" fmla="*/ 51822 w 158827"/>
                <a:gd name="connsiteY26" fmla="*/ 96735 h 120918"/>
                <a:gd name="connsiteX27" fmla="*/ 65641 w 158827"/>
                <a:gd name="connsiteY27" fmla="*/ 96735 h 120918"/>
                <a:gd name="connsiteX28" fmla="*/ 86370 w 158827"/>
                <a:gd name="connsiteY28" fmla="*/ 96735 h 120918"/>
                <a:gd name="connsiteX29" fmla="*/ 93186 w 158827"/>
                <a:gd name="connsiteY29" fmla="*/ 93280 h 120918"/>
                <a:gd name="connsiteX30" fmla="*/ 69096 w 158827"/>
                <a:gd name="connsiteY30" fmla="*/ 86370 h 120918"/>
                <a:gd name="connsiteX31" fmla="*/ 62187 w 158827"/>
                <a:gd name="connsiteY31" fmla="*/ 86370 h 120918"/>
                <a:gd name="connsiteX32" fmla="*/ 38003 w 158827"/>
                <a:gd name="connsiteY32" fmla="*/ 82915 h 120918"/>
                <a:gd name="connsiteX33" fmla="*/ 20729 w 158827"/>
                <a:gd name="connsiteY33" fmla="*/ 82915 h 120918"/>
                <a:gd name="connsiteX34" fmla="*/ 13819 w 158827"/>
                <a:gd name="connsiteY34" fmla="*/ 82915 h 120918"/>
                <a:gd name="connsiteX35" fmla="*/ 6910 w 158827"/>
                <a:gd name="connsiteY35" fmla="*/ 69096 h 120918"/>
                <a:gd name="connsiteX36" fmla="*/ 3455 w 158827"/>
                <a:gd name="connsiteY36" fmla="*/ 58732 h 120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8827" h="120918">
                  <a:moveTo>
                    <a:pt x="3455" y="58732"/>
                  </a:moveTo>
                  <a:lnTo>
                    <a:pt x="0" y="48368"/>
                  </a:lnTo>
                  <a:lnTo>
                    <a:pt x="10364" y="34548"/>
                  </a:lnTo>
                  <a:lnTo>
                    <a:pt x="20729" y="20729"/>
                  </a:lnTo>
                  <a:lnTo>
                    <a:pt x="24184" y="3455"/>
                  </a:lnTo>
                  <a:lnTo>
                    <a:pt x="48367" y="0"/>
                  </a:lnTo>
                  <a:lnTo>
                    <a:pt x="72551" y="0"/>
                  </a:lnTo>
                  <a:lnTo>
                    <a:pt x="93186" y="10365"/>
                  </a:lnTo>
                  <a:lnTo>
                    <a:pt x="107006" y="20729"/>
                  </a:lnTo>
                  <a:lnTo>
                    <a:pt x="120825" y="41458"/>
                  </a:lnTo>
                  <a:lnTo>
                    <a:pt x="138099" y="55277"/>
                  </a:lnTo>
                  <a:lnTo>
                    <a:pt x="141554" y="65641"/>
                  </a:lnTo>
                  <a:lnTo>
                    <a:pt x="145009" y="86370"/>
                  </a:lnTo>
                  <a:lnTo>
                    <a:pt x="155373" y="100190"/>
                  </a:lnTo>
                  <a:lnTo>
                    <a:pt x="158828" y="114009"/>
                  </a:lnTo>
                  <a:lnTo>
                    <a:pt x="158828" y="120918"/>
                  </a:lnTo>
                  <a:lnTo>
                    <a:pt x="120825" y="117464"/>
                  </a:lnTo>
                  <a:lnTo>
                    <a:pt x="110460" y="110554"/>
                  </a:lnTo>
                  <a:lnTo>
                    <a:pt x="100096" y="110554"/>
                  </a:lnTo>
                  <a:lnTo>
                    <a:pt x="86370" y="110554"/>
                  </a:lnTo>
                  <a:lnTo>
                    <a:pt x="65641" y="110554"/>
                  </a:lnTo>
                  <a:lnTo>
                    <a:pt x="55277" y="110554"/>
                  </a:lnTo>
                  <a:lnTo>
                    <a:pt x="48367" y="117464"/>
                  </a:lnTo>
                  <a:lnTo>
                    <a:pt x="17274" y="120918"/>
                  </a:lnTo>
                  <a:lnTo>
                    <a:pt x="17274" y="103644"/>
                  </a:lnTo>
                  <a:lnTo>
                    <a:pt x="34548" y="96735"/>
                  </a:lnTo>
                  <a:lnTo>
                    <a:pt x="51822" y="96735"/>
                  </a:lnTo>
                  <a:lnTo>
                    <a:pt x="65641" y="96735"/>
                  </a:lnTo>
                  <a:lnTo>
                    <a:pt x="86370" y="96735"/>
                  </a:lnTo>
                  <a:lnTo>
                    <a:pt x="93186" y="93280"/>
                  </a:lnTo>
                  <a:lnTo>
                    <a:pt x="69096" y="86370"/>
                  </a:lnTo>
                  <a:lnTo>
                    <a:pt x="62187" y="86370"/>
                  </a:lnTo>
                  <a:lnTo>
                    <a:pt x="38003" y="82915"/>
                  </a:lnTo>
                  <a:lnTo>
                    <a:pt x="20729" y="82915"/>
                  </a:lnTo>
                  <a:lnTo>
                    <a:pt x="13819" y="82915"/>
                  </a:lnTo>
                  <a:lnTo>
                    <a:pt x="6910" y="69096"/>
                  </a:lnTo>
                  <a:lnTo>
                    <a:pt x="3455" y="58732"/>
                  </a:lnTo>
                  <a:close/>
                </a:path>
              </a:pathLst>
            </a:custGeom>
            <a:solidFill>
              <a:srgbClr val="CEE3BF"/>
            </a:solidFill>
            <a:ln w="9334" cap="flat">
              <a:noFill/>
              <a:prstDash val="solid"/>
              <a:miter/>
            </a:ln>
          </p:spPr>
          <p:txBody>
            <a:bodyPr rtlCol="0" anchor="ctr"/>
            <a:lstStyle/>
            <a:p>
              <a:endParaRPr lang="en-GB" dirty="0"/>
            </a:p>
          </p:txBody>
        </p:sp>
        <p:sp>
          <p:nvSpPr>
            <p:cNvPr id="1082" name="Freeform: Shape 1081">
              <a:extLst>
                <a:ext uri="{FF2B5EF4-FFF2-40B4-BE49-F238E27FC236}">
                  <a16:creationId xmlns:a16="http://schemas.microsoft.com/office/drawing/2014/main" id="{D83E13C2-0117-491C-A5BE-2CD53C239AA4}"/>
                </a:ext>
              </a:extLst>
            </p:cNvPr>
            <p:cNvSpPr/>
            <p:nvPr/>
          </p:nvSpPr>
          <p:spPr>
            <a:xfrm>
              <a:off x="5367152" y="4063077"/>
              <a:ext cx="158827" cy="120918"/>
            </a:xfrm>
            <a:custGeom>
              <a:avLst/>
              <a:gdLst>
                <a:gd name="connsiteX0" fmla="*/ 3455 w 158827"/>
                <a:gd name="connsiteY0" fmla="*/ 58732 h 120918"/>
                <a:gd name="connsiteX1" fmla="*/ 0 w 158827"/>
                <a:gd name="connsiteY1" fmla="*/ 48368 h 120918"/>
                <a:gd name="connsiteX2" fmla="*/ 10364 w 158827"/>
                <a:gd name="connsiteY2" fmla="*/ 34548 h 120918"/>
                <a:gd name="connsiteX3" fmla="*/ 20729 w 158827"/>
                <a:gd name="connsiteY3" fmla="*/ 20729 h 120918"/>
                <a:gd name="connsiteX4" fmla="*/ 24184 w 158827"/>
                <a:gd name="connsiteY4" fmla="*/ 3455 h 120918"/>
                <a:gd name="connsiteX5" fmla="*/ 48367 w 158827"/>
                <a:gd name="connsiteY5" fmla="*/ 0 h 120918"/>
                <a:gd name="connsiteX6" fmla="*/ 72551 w 158827"/>
                <a:gd name="connsiteY6" fmla="*/ 0 h 120918"/>
                <a:gd name="connsiteX7" fmla="*/ 93186 w 158827"/>
                <a:gd name="connsiteY7" fmla="*/ 10365 h 120918"/>
                <a:gd name="connsiteX8" fmla="*/ 107006 w 158827"/>
                <a:gd name="connsiteY8" fmla="*/ 20729 h 120918"/>
                <a:gd name="connsiteX9" fmla="*/ 120825 w 158827"/>
                <a:gd name="connsiteY9" fmla="*/ 41458 h 120918"/>
                <a:gd name="connsiteX10" fmla="*/ 138099 w 158827"/>
                <a:gd name="connsiteY10" fmla="*/ 55277 h 120918"/>
                <a:gd name="connsiteX11" fmla="*/ 141554 w 158827"/>
                <a:gd name="connsiteY11" fmla="*/ 65641 h 120918"/>
                <a:gd name="connsiteX12" fmla="*/ 145009 w 158827"/>
                <a:gd name="connsiteY12" fmla="*/ 86370 h 120918"/>
                <a:gd name="connsiteX13" fmla="*/ 155373 w 158827"/>
                <a:gd name="connsiteY13" fmla="*/ 100190 h 120918"/>
                <a:gd name="connsiteX14" fmla="*/ 158828 w 158827"/>
                <a:gd name="connsiteY14" fmla="*/ 114009 h 120918"/>
                <a:gd name="connsiteX15" fmla="*/ 158828 w 158827"/>
                <a:gd name="connsiteY15" fmla="*/ 120918 h 120918"/>
                <a:gd name="connsiteX16" fmla="*/ 120825 w 158827"/>
                <a:gd name="connsiteY16" fmla="*/ 117464 h 120918"/>
                <a:gd name="connsiteX17" fmla="*/ 110460 w 158827"/>
                <a:gd name="connsiteY17" fmla="*/ 110554 h 120918"/>
                <a:gd name="connsiteX18" fmla="*/ 100189 w 158827"/>
                <a:gd name="connsiteY18" fmla="*/ 110554 h 120918"/>
                <a:gd name="connsiteX19" fmla="*/ 86370 w 158827"/>
                <a:gd name="connsiteY19" fmla="*/ 110554 h 120918"/>
                <a:gd name="connsiteX20" fmla="*/ 65641 w 158827"/>
                <a:gd name="connsiteY20" fmla="*/ 110554 h 120918"/>
                <a:gd name="connsiteX21" fmla="*/ 55277 w 158827"/>
                <a:gd name="connsiteY21" fmla="*/ 110554 h 120918"/>
                <a:gd name="connsiteX22" fmla="*/ 48367 w 158827"/>
                <a:gd name="connsiteY22" fmla="*/ 117464 h 120918"/>
                <a:gd name="connsiteX23" fmla="*/ 17274 w 158827"/>
                <a:gd name="connsiteY23" fmla="*/ 120918 h 120918"/>
                <a:gd name="connsiteX24" fmla="*/ 17274 w 158827"/>
                <a:gd name="connsiteY24" fmla="*/ 103644 h 120918"/>
                <a:gd name="connsiteX25" fmla="*/ 34548 w 158827"/>
                <a:gd name="connsiteY25" fmla="*/ 96735 h 120918"/>
                <a:gd name="connsiteX26" fmla="*/ 51822 w 158827"/>
                <a:gd name="connsiteY26" fmla="*/ 96735 h 120918"/>
                <a:gd name="connsiteX27" fmla="*/ 65641 w 158827"/>
                <a:gd name="connsiteY27" fmla="*/ 96735 h 120918"/>
                <a:gd name="connsiteX28" fmla="*/ 86370 w 158827"/>
                <a:gd name="connsiteY28" fmla="*/ 96735 h 120918"/>
                <a:gd name="connsiteX29" fmla="*/ 93186 w 158827"/>
                <a:gd name="connsiteY29" fmla="*/ 93280 h 120918"/>
                <a:gd name="connsiteX30" fmla="*/ 69096 w 158827"/>
                <a:gd name="connsiteY30" fmla="*/ 86370 h 120918"/>
                <a:gd name="connsiteX31" fmla="*/ 62187 w 158827"/>
                <a:gd name="connsiteY31" fmla="*/ 86370 h 120918"/>
                <a:gd name="connsiteX32" fmla="*/ 38003 w 158827"/>
                <a:gd name="connsiteY32" fmla="*/ 82915 h 120918"/>
                <a:gd name="connsiteX33" fmla="*/ 20729 w 158827"/>
                <a:gd name="connsiteY33" fmla="*/ 82915 h 120918"/>
                <a:gd name="connsiteX34" fmla="*/ 13819 w 158827"/>
                <a:gd name="connsiteY34" fmla="*/ 82915 h 120918"/>
                <a:gd name="connsiteX35" fmla="*/ 6910 w 158827"/>
                <a:gd name="connsiteY35" fmla="*/ 69096 h 120918"/>
                <a:gd name="connsiteX36" fmla="*/ 3455 w 158827"/>
                <a:gd name="connsiteY36" fmla="*/ 58732 h 120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8827" h="120918">
                  <a:moveTo>
                    <a:pt x="3455" y="58732"/>
                  </a:moveTo>
                  <a:lnTo>
                    <a:pt x="0" y="48368"/>
                  </a:lnTo>
                  <a:lnTo>
                    <a:pt x="10364" y="34548"/>
                  </a:lnTo>
                  <a:lnTo>
                    <a:pt x="20729" y="20729"/>
                  </a:lnTo>
                  <a:lnTo>
                    <a:pt x="24184" y="3455"/>
                  </a:lnTo>
                  <a:lnTo>
                    <a:pt x="48367" y="0"/>
                  </a:lnTo>
                  <a:lnTo>
                    <a:pt x="72551" y="0"/>
                  </a:lnTo>
                  <a:lnTo>
                    <a:pt x="93186" y="10365"/>
                  </a:lnTo>
                  <a:lnTo>
                    <a:pt x="107006" y="20729"/>
                  </a:lnTo>
                  <a:lnTo>
                    <a:pt x="120825" y="41458"/>
                  </a:lnTo>
                  <a:lnTo>
                    <a:pt x="138099" y="55277"/>
                  </a:lnTo>
                  <a:lnTo>
                    <a:pt x="141554" y="65641"/>
                  </a:lnTo>
                  <a:lnTo>
                    <a:pt x="145009" y="86370"/>
                  </a:lnTo>
                  <a:lnTo>
                    <a:pt x="155373" y="100190"/>
                  </a:lnTo>
                  <a:lnTo>
                    <a:pt x="158828" y="114009"/>
                  </a:lnTo>
                  <a:lnTo>
                    <a:pt x="158828" y="120918"/>
                  </a:lnTo>
                  <a:lnTo>
                    <a:pt x="120825" y="117464"/>
                  </a:lnTo>
                  <a:lnTo>
                    <a:pt x="110460" y="110554"/>
                  </a:lnTo>
                  <a:lnTo>
                    <a:pt x="100189" y="110554"/>
                  </a:lnTo>
                  <a:lnTo>
                    <a:pt x="86370" y="110554"/>
                  </a:lnTo>
                  <a:lnTo>
                    <a:pt x="65641" y="110554"/>
                  </a:lnTo>
                  <a:lnTo>
                    <a:pt x="55277" y="110554"/>
                  </a:lnTo>
                  <a:lnTo>
                    <a:pt x="48367" y="117464"/>
                  </a:lnTo>
                  <a:lnTo>
                    <a:pt x="17274" y="120918"/>
                  </a:lnTo>
                  <a:lnTo>
                    <a:pt x="17274" y="103644"/>
                  </a:lnTo>
                  <a:lnTo>
                    <a:pt x="34548" y="96735"/>
                  </a:lnTo>
                  <a:lnTo>
                    <a:pt x="51822" y="96735"/>
                  </a:lnTo>
                  <a:lnTo>
                    <a:pt x="65641" y="96735"/>
                  </a:lnTo>
                  <a:lnTo>
                    <a:pt x="86370" y="96735"/>
                  </a:lnTo>
                  <a:lnTo>
                    <a:pt x="93186" y="93280"/>
                  </a:lnTo>
                  <a:lnTo>
                    <a:pt x="69096" y="86370"/>
                  </a:lnTo>
                  <a:lnTo>
                    <a:pt x="62187" y="86370"/>
                  </a:lnTo>
                  <a:lnTo>
                    <a:pt x="38003" y="82915"/>
                  </a:lnTo>
                  <a:lnTo>
                    <a:pt x="20729" y="82915"/>
                  </a:lnTo>
                  <a:lnTo>
                    <a:pt x="13819" y="82915"/>
                  </a:lnTo>
                  <a:lnTo>
                    <a:pt x="6910" y="69096"/>
                  </a:lnTo>
                  <a:lnTo>
                    <a:pt x="3455" y="58732"/>
                  </a:lnTo>
                  <a:close/>
                </a:path>
              </a:pathLst>
            </a:custGeom>
            <a:solidFill>
              <a:srgbClr val="CEE3BF"/>
            </a:solidFill>
            <a:ln w="9334" cap="flat">
              <a:noFill/>
              <a:prstDash val="solid"/>
              <a:miter/>
            </a:ln>
          </p:spPr>
          <p:txBody>
            <a:bodyPr rtlCol="0" anchor="ctr"/>
            <a:lstStyle/>
            <a:p>
              <a:endParaRPr lang="en-GB" dirty="0"/>
            </a:p>
          </p:txBody>
        </p:sp>
        <p:sp>
          <p:nvSpPr>
            <p:cNvPr id="1083" name="Freeform: Shape 1082">
              <a:extLst>
                <a:ext uri="{FF2B5EF4-FFF2-40B4-BE49-F238E27FC236}">
                  <a16:creationId xmlns:a16="http://schemas.microsoft.com/office/drawing/2014/main" id="{F3A03903-14C6-4A18-8C67-FAF146A63971}"/>
                </a:ext>
              </a:extLst>
            </p:cNvPr>
            <p:cNvSpPr/>
            <p:nvPr/>
          </p:nvSpPr>
          <p:spPr>
            <a:xfrm>
              <a:off x="7032930" y="3323281"/>
              <a:ext cx="89824" cy="76005"/>
            </a:xfrm>
            <a:custGeom>
              <a:avLst/>
              <a:gdLst>
                <a:gd name="connsiteX0" fmla="*/ 0 w 89824"/>
                <a:gd name="connsiteY0" fmla="*/ 10364 h 76005"/>
                <a:gd name="connsiteX1" fmla="*/ 10364 w 89824"/>
                <a:gd name="connsiteY1" fmla="*/ 6910 h 76005"/>
                <a:gd name="connsiteX2" fmla="*/ 27639 w 89824"/>
                <a:gd name="connsiteY2" fmla="*/ 0 h 76005"/>
                <a:gd name="connsiteX3" fmla="*/ 41458 w 89824"/>
                <a:gd name="connsiteY3" fmla="*/ 0 h 76005"/>
                <a:gd name="connsiteX4" fmla="*/ 48367 w 89824"/>
                <a:gd name="connsiteY4" fmla="*/ 6910 h 76005"/>
                <a:gd name="connsiteX5" fmla="*/ 51822 w 89824"/>
                <a:gd name="connsiteY5" fmla="*/ 17274 h 76005"/>
                <a:gd name="connsiteX6" fmla="*/ 55277 w 89824"/>
                <a:gd name="connsiteY6" fmla="*/ 31093 h 76005"/>
                <a:gd name="connsiteX7" fmla="*/ 62186 w 89824"/>
                <a:gd name="connsiteY7" fmla="*/ 41458 h 76005"/>
                <a:gd name="connsiteX8" fmla="*/ 69096 w 89824"/>
                <a:gd name="connsiteY8" fmla="*/ 48367 h 76005"/>
                <a:gd name="connsiteX9" fmla="*/ 79461 w 89824"/>
                <a:gd name="connsiteY9" fmla="*/ 51822 h 76005"/>
                <a:gd name="connsiteX10" fmla="*/ 86370 w 89824"/>
                <a:gd name="connsiteY10" fmla="*/ 58732 h 76005"/>
                <a:gd name="connsiteX11" fmla="*/ 89825 w 89824"/>
                <a:gd name="connsiteY11" fmla="*/ 65641 h 76005"/>
                <a:gd name="connsiteX12" fmla="*/ 86370 w 89824"/>
                <a:gd name="connsiteY12" fmla="*/ 76006 h 76005"/>
                <a:gd name="connsiteX13" fmla="*/ 72551 w 89824"/>
                <a:gd name="connsiteY13" fmla="*/ 72551 h 76005"/>
                <a:gd name="connsiteX14" fmla="*/ 69096 w 89824"/>
                <a:gd name="connsiteY14" fmla="*/ 58732 h 76005"/>
                <a:gd name="connsiteX15" fmla="*/ 58732 w 89824"/>
                <a:gd name="connsiteY15" fmla="*/ 55277 h 76005"/>
                <a:gd name="connsiteX16" fmla="*/ 48367 w 89824"/>
                <a:gd name="connsiteY16" fmla="*/ 48367 h 76005"/>
                <a:gd name="connsiteX17" fmla="*/ 34548 w 89824"/>
                <a:gd name="connsiteY17" fmla="*/ 48367 h 76005"/>
                <a:gd name="connsiteX18" fmla="*/ 31093 w 89824"/>
                <a:gd name="connsiteY18" fmla="*/ 55277 h 76005"/>
                <a:gd name="connsiteX19" fmla="*/ 20729 w 89824"/>
                <a:gd name="connsiteY19" fmla="*/ 48367 h 76005"/>
                <a:gd name="connsiteX20" fmla="*/ 0 w 89824"/>
                <a:gd name="connsiteY20" fmla="*/ 48367 h 76005"/>
                <a:gd name="connsiteX21" fmla="*/ 0 w 89824"/>
                <a:gd name="connsiteY21" fmla="*/ 27638 h 76005"/>
                <a:gd name="connsiteX22" fmla="*/ 0 w 89824"/>
                <a:gd name="connsiteY22" fmla="*/ 10364 h 7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824" h="76005">
                  <a:moveTo>
                    <a:pt x="0" y="10364"/>
                  </a:moveTo>
                  <a:lnTo>
                    <a:pt x="10364" y="6910"/>
                  </a:lnTo>
                  <a:lnTo>
                    <a:pt x="27639" y="0"/>
                  </a:lnTo>
                  <a:lnTo>
                    <a:pt x="41458" y="0"/>
                  </a:lnTo>
                  <a:lnTo>
                    <a:pt x="48367" y="6910"/>
                  </a:lnTo>
                  <a:lnTo>
                    <a:pt x="51822" y="17274"/>
                  </a:lnTo>
                  <a:lnTo>
                    <a:pt x="55277" y="31093"/>
                  </a:lnTo>
                  <a:lnTo>
                    <a:pt x="62186" y="41458"/>
                  </a:lnTo>
                  <a:lnTo>
                    <a:pt x="69096" y="48367"/>
                  </a:lnTo>
                  <a:lnTo>
                    <a:pt x="79461" y="51822"/>
                  </a:lnTo>
                  <a:lnTo>
                    <a:pt x="86370" y="58732"/>
                  </a:lnTo>
                  <a:lnTo>
                    <a:pt x="89825" y="65641"/>
                  </a:lnTo>
                  <a:lnTo>
                    <a:pt x="86370" y="76006"/>
                  </a:lnTo>
                  <a:lnTo>
                    <a:pt x="72551" y="72551"/>
                  </a:lnTo>
                  <a:lnTo>
                    <a:pt x="69096" y="58732"/>
                  </a:lnTo>
                  <a:lnTo>
                    <a:pt x="58732" y="55277"/>
                  </a:lnTo>
                  <a:lnTo>
                    <a:pt x="48367" y="48367"/>
                  </a:lnTo>
                  <a:lnTo>
                    <a:pt x="34548" y="48367"/>
                  </a:lnTo>
                  <a:lnTo>
                    <a:pt x="31093" y="55277"/>
                  </a:lnTo>
                  <a:lnTo>
                    <a:pt x="20729" y="48367"/>
                  </a:lnTo>
                  <a:lnTo>
                    <a:pt x="0" y="48367"/>
                  </a:lnTo>
                  <a:lnTo>
                    <a:pt x="0" y="27638"/>
                  </a:lnTo>
                  <a:lnTo>
                    <a:pt x="0" y="10364"/>
                  </a:lnTo>
                  <a:close/>
                </a:path>
              </a:pathLst>
            </a:custGeom>
            <a:solidFill>
              <a:srgbClr val="CEE3BF"/>
            </a:solidFill>
            <a:ln w="9334" cap="flat">
              <a:noFill/>
              <a:prstDash val="solid"/>
              <a:miter/>
            </a:ln>
          </p:spPr>
          <p:txBody>
            <a:bodyPr rtlCol="0" anchor="ctr"/>
            <a:lstStyle/>
            <a:p>
              <a:endParaRPr lang="en-GB" dirty="0"/>
            </a:p>
          </p:txBody>
        </p:sp>
        <p:sp>
          <p:nvSpPr>
            <p:cNvPr id="1084" name="Freeform: Shape 1083">
              <a:extLst>
                <a:ext uri="{FF2B5EF4-FFF2-40B4-BE49-F238E27FC236}">
                  <a16:creationId xmlns:a16="http://schemas.microsoft.com/office/drawing/2014/main" id="{EC4CA32E-B260-4F50-8A2B-4348C8524B87}"/>
                </a:ext>
              </a:extLst>
            </p:cNvPr>
            <p:cNvSpPr/>
            <p:nvPr/>
          </p:nvSpPr>
          <p:spPr>
            <a:xfrm>
              <a:off x="7032930" y="3323281"/>
              <a:ext cx="89824" cy="76005"/>
            </a:xfrm>
            <a:custGeom>
              <a:avLst/>
              <a:gdLst>
                <a:gd name="connsiteX0" fmla="*/ 0 w 89824"/>
                <a:gd name="connsiteY0" fmla="*/ 10364 h 76005"/>
                <a:gd name="connsiteX1" fmla="*/ 10364 w 89824"/>
                <a:gd name="connsiteY1" fmla="*/ 6910 h 76005"/>
                <a:gd name="connsiteX2" fmla="*/ 27639 w 89824"/>
                <a:gd name="connsiteY2" fmla="*/ 0 h 76005"/>
                <a:gd name="connsiteX3" fmla="*/ 41458 w 89824"/>
                <a:gd name="connsiteY3" fmla="*/ 0 h 76005"/>
                <a:gd name="connsiteX4" fmla="*/ 48367 w 89824"/>
                <a:gd name="connsiteY4" fmla="*/ 6910 h 76005"/>
                <a:gd name="connsiteX5" fmla="*/ 51822 w 89824"/>
                <a:gd name="connsiteY5" fmla="*/ 17274 h 76005"/>
                <a:gd name="connsiteX6" fmla="*/ 55277 w 89824"/>
                <a:gd name="connsiteY6" fmla="*/ 31093 h 76005"/>
                <a:gd name="connsiteX7" fmla="*/ 62186 w 89824"/>
                <a:gd name="connsiteY7" fmla="*/ 41458 h 76005"/>
                <a:gd name="connsiteX8" fmla="*/ 69096 w 89824"/>
                <a:gd name="connsiteY8" fmla="*/ 48367 h 76005"/>
                <a:gd name="connsiteX9" fmla="*/ 79461 w 89824"/>
                <a:gd name="connsiteY9" fmla="*/ 51822 h 76005"/>
                <a:gd name="connsiteX10" fmla="*/ 86370 w 89824"/>
                <a:gd name="connsiteY10" fmla="*/ 58732 h 76005"/>
                <a:gd name="connsiteX11" fmla="*/ 89825 w 89824"/>
                <a:gd name="connsiteY11" fmla="*/ 65641 h 76005"/>
                <a:gd name="connsiteX12" fmla="*/ 86370 w 89824"/>
                <a:gd name="connsiteY12" fmla="*/ 76006 h 76005"/>
                <a:gd name="connsiteX13" fmla="*/ 72551 w 89824"/>
                <a:gd name="connsiteY13" fmla="*/ 72551 h 76005"/>
                <a:gd name="connsiteX14" fmla="*/ 69096 w 89824"/>
                <a:gd name="connsiteY14" fmla="*/ 58732 h 76005"/>
                <a:gd name="connsiteX15" fmla="*/ 58732 w 89824"/>
                <a:gd name="connsiteY15" fmla="*/ 55277 h 76005"/>
                <a:gd name="connsiteX16" fmla="*/ 48367 w 89824"/>
                <a:gd name="connsiteY16" fmla="*/ 48367 h 76005"/>
                <a:gd name="connsiteX17" fmla="*/ 34548 w 89824"/>
                <a:gd name="connsiteY17" fmla="*/ 48367 h 76005"/>
                <a:gd name="connsiteX18" fmla="*/ 31093 w 89824"/>
                <a:gd name="connsiteY18" fmla="*/ 55277 h 76005"/>
                <a:gd name="connsiteX19" fmla="*/ 20729 w 89824"/>
                <a:gd name="connsiteY19" fmla="*/ 48367 h 76005"/>
                <a:gd name="connsiteX20" fmla="*/ 0 w 89824"/>
                <a:gd name="connsiteY20" fmla="*/ 48367 h 76005"/>
                <a:gd name="connsiteX21" fmla="*/ 0 w 89824"/>
                <a:gd name="connsiteY21" fmla="*/ 27638 h 76005"/>
                <a:gd name="connsiteX22" fmla="*/ 0 w 89824"/>
                <a:gd name="connsiteY22" fmla="*/ 10364 h 7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824" h="76005">
                  <a:moveTo>
                    <a:pt x="0" y="10364"/>
                  </a:moveTo>
                  <a:lnTo>
                    <a:pt x="10364" y="6910"/>
                  </a:lnTo>
                  <a:lnTo>
                    <a:pt x="27639" y="0"/>
                  </a:lnTo>
                  <a:lnTo>
                    <a:pt x="41458" y="0"/>
                  </a:lnTo>
                  <a:lnTo>
                    <a:pt x="48367" y="6910"/>
                  </a:lnTo>
                  <a:lnTo>
                    <a:pt x="51822" y="17274"/>
                  </a:lnTo>
                  <a:lnTo>
                    <a:pt x="55277" y="31093"/>
                  </a:lnTo>
                  <a:lnTo>
                    <a:pt x="62186" y="41458"/>
                  </a:lnTo>
                  <a:lnTo>
                    <a:pt x="69096" y="48367"/>
                  </a:lnTo>
                  <a:lnTo>
                    <a:pt x="79461" y="51822"/>
                  </a:lnTo>
                  <a:lnTo>
                    <a:pt x="86370" y="58732"/>
                  </a:lnTo>
                  <a:lnTo>
                    <a:pt x="89825" y="65641"/>
                  </a:lnTo>
                  <a:lnTo>
                    <a:pt x="86370" y="76006"/>
                  </a:lnTo>
                  <a:lnTo>
                    <a:pt x="72551" y="72551"/>
                  </a:lnTo>
                  <a:lnTo>
                    <a:pt x="69096" y="58732"/>
                  </a:lnTo>
                  <a:lnTo>
                    <a:pt x="58732" y="55277"/>
                  </a:lnTo>
                  <a:lnTo>
                    <a:pt x="48367" y="48367"/>
                  </a:lnTo>
                  <a:lnTo>
                    <a:pt x="34548" y="48367"/>
                  </a:lnTo>
                  <a:lnTo>
                    <a:pt x="31093" y="55277"/>
                  </a:lnTo>
                  <a:lnTo>
                    <a:pt x="20729" y="48367"/>
                  </a:lnTo>
                  <a:lnTo>
                    <a:pt x="0" y="48367"/>
                  </a:lnTo>
                  <a:lnTo>
                    <a:pt x="0" y="27638"/>
                  </a:lnTo>
                  <a:lnTo>
                    <a:pt x="0" y="10364"/>
                  </a:lnTo>
                  <a:close/>
                </a:path>
              </a:pathLst>
            </a:custGeom>
            <a:solidFill>
              <a:srgbClr val="CEE3BF"/>
            </a:solidFill>
            <a:ln w="9334" cap="flat">
              <a:noFill/>
              <a:prstDash val="solid"/>
              <a:miter/>
            </a:ln>
          </p:spPr>
          <p:txBody>
            <a:bodyPr rtlCol="0" anchor="ctr"/>
            <a:lstStyle/>
            <a:p>
              <a:endParaRPr lang="en-GB" dirty="0"/>
            </a:p>
          </p:txBody>
        </p:sp>
        <p:sp>
          <p:nvSpPr>
            <p:cNvPr id="1085" name="Freeform: Shape 1084">
              <a:extLst>
                <a:ext uri="{FF2B5EF4-FFF2-40B4-BE49-F238E27FC236}">
                  <a16:creationId xmlns:a16="http://schemas.microsoft.com/office/drawing/2014/main" id="{6B7AD33A-3DF1-4857-AF01-8BB8C769085D}"/>
                </a:ext>
              </a:extLst>
            </p:cNvPr>
            <p:cNvSpPr/>
            <p:nvPr/>
          </p:nvSpPr>
          <p:spPr>
            <a:xfrm>
              <a:off x="7074387" y="3302552"/>
              <a:ext cx="145008" cy="114008"/>
            </a:xfrm>
            <a:custGeom>
              <a:avLst/>
              <a:gdLst>
                <a:gd name="connsiteX0" fmla="*/ 34548 w 145008"/>
                <a:gd name="connsiteY0" fmla="*/ 0 h 114008"/>
                <a:gd name="connsiteX1" fmla="*/ 44912 w 145008"/>
                <a:gd name="connsiteY1" fmla="*/ 3455 h 114008"/>
                <a:gd name="connsiteX2" fmla="*/ 55183 w 145008"/>
                <a:gd name="connsiteY2" fmla="*/ 13819 h 114008"/>
                <a:gd name="connsiteX3" fmla="*/ 72458 w 145008"/>
                <a:gd name="connsiteY3" fmla="*/ 24184 h 114008"/>
                <a:gd name="connsiteX4" fmla="*/ 79367 w 145008"/>
                <a:gd name="connsiteY4" fmla="*/ 20729 h 114008"/>
                <a:gd name="connsiteX5" fmla="*/ 89732 w 145008"/>
                <a:gd name="connsiteY5" fmla="*/ 10364 h 114008"/>
                <a:gd name="connsiteX6" fmla="*/ 96641 w 145008"/>
                <a:gd name="connsiteY6" fmla="*/ 3455 h 114008"/>
                <a:gd name="connsiteX7" fmla="*/ 103551 w 145008"/>
                <a:gd name="connsiteY7" fmla="*/ 13819 h 114008"/>
                <a:gd name="connsiteX8" fmla="*/ 113915 w 145008"/>
                <a:gd name="connsiteY8" fmla="*/ 34548 h 114008"/>
                <a:gd name="connsiteX9" fmla="*/ 120825 w 145008"/>
                <a:gd name="connsiteY9" fmla="*/ 41458 h 114008"/>
                <a:gd name="connsiteX10" fmla="*/ 138099 w 145008"/>
                <a:gd name="connsiteY10" fmla="*/ 48367 h 114008"/>
                <a:gd name="connsiteX11" fmla="*/ 145008 w 145008"/>
                <a:gd name="connsiteY11" fmla="*/ 51822 h 114008"/>
                <a:gd name="connsiteX12" fmla="*/ 145008 w 145008"/>
                <a:gd name="connsiteY12" fmla="*/ 62186 h 114008"/>
                <a:gd name="connsiteX13" fmla="*/ 124280 w 145008"/>
                <a:gd name="connsiteY13" fmla="*/ 62186 h 114008"/>
                <a:gd name="connsiteX14" fmla="*/ 117370 w 145008"/>
                <a:gd name="connsiteY14" fmla="*/ 65641 h 114008"/>
                <a:gd name="connsiteX15" fmla="*/ 113915 w 145008"/>
                <a:gd name="connsiteY15" fmla="*/ 76006 h 114008"/>
                <a:gd name="connsiteX16" fmla="*/ 117370 w 145008"/>
                <a:gd name="connsiteY16" fmla="*/ 82915 h 114008"/>
                <a:gd name="connsiteX17" fmla="*/ 117370 w 145008"/>
                <a:gd name="connsiteY17" fmla="*/ 86370 h 114008"/>
                <a:gd name="connsiteX18" fmla="*/ 117370 w 145008"/>
                <a:gd name="connsiteY18" fmla="*/ 89825 h 114008"/>
                <a:gd name="connsiteX19" fmla="*/ 117370 w 145008"/>
                <a:gd name="connsiteY19" fmla="*/ 93280 h 114008"/>
                <a:gd name="connsiteX20" fmla="*/ 103551 w 145008"/>
                <a:gd name="connsiteY20" fmla="*/ 93280 h 114008"/>
                <a:gd name="connsiteX21" fmla="*/ 103551 w 145008"/>
                <a:gd name="connsiteY21" fmla="*/ 100189 h 114008"/>
                <a:gd name="connsiteX22" fmla="*/ 103551 w 145008"/>
                <a:gd name="connsiteY22" fmla="*/ 107099 h 114008"/>
                <a:gd name="connsiteX23" fmla="*/ 103551 w 145008"/>
                <a:gd name="connsiteY23" fmla="*/ 114009 h 114008"/>
                <a:gd name="connsiteX24" fmla="*/ 89732 w 145008"/>
                <a:gd name="connsiteY24" fmla="*/ 114009 h 114008"/>
                <a:gd name="connsiteX25" fmla="*/ 79367 w 145008"/>
                <a:gd name="connsiteY25" fmla="*/ 107099 h 114008"/>
                <a:gd name="connsiteX26" fmla="*/ 89732 w 145008"/>
                <a:gd name="connsiteY26" fmla="*/ 100189 h 114008"/>
                <a:gd name="connsiteX27" fmla="*/ 82822 w 145008"/>
                <a:gd name="connsiteY27" fmla="*/ 89825 h 114008"/>
                <a:gd name="connsiteX28" fmla="*/ 82822 w 145008"/>
                <a:gd name="connsiteY28" fmla="*/ 76006 h 114008"/>
                <a:gd name="connsiteX29" fmla="*/ 75912 w 145008"/>
                <a:gd name="connsiteY29" fmla="*/ 72551 h 114008"/>
                <a:gd name="connsiteX30" fmla="*/ 72458 w 145008"/>
                <a:gd name="connsiteY30" fmla="*/ 76006 h 114008"/>
                <a:gd name="connsiteX31" fmla="*/ 65548 w 145008"/>
                <a:gd name="connsiteY31" fmla="*/ 82915 h 114008"/>
                <a:gd name="connsiteX32" fmla="*/ 55183 w 145008"/>
                <a:gd name="connsiteY32" fmla="*/ 89825 h 114008"/>
                <a:gd name="connsiteX33" fmla="*/ 44912 w 145008"/>
                <a:gd name="connsiteY33" fmla="*/ 96735 h 114008"/>
                <a:gd name="connsiteX34" fmla="*/ 48367 w 145008"/>
                <a:gd name="connsiteY34" fmla="*/ 86370 h 114008"/>
                <a:gd name="connsiteX35" fmla="*/ 44912 w 145008"/>
                <a:gd name="connsiteY35" fmla="*/ 79461 h 114008"/>
                <a:gd name="connsiteX36" fmla="*/ 20729 w 145008"/>
                <a:gd name="connsiteY36" fmla="*/ 62186 h 114008"/>
                <a:gd name="connsiteX37" fmla="*/ 10364 w 145008"/>
                <a:gd name="connsiteY37" fmla="*/ 34548 h 114008"/>
                <a:gd name="connsiteX38" fmla="*/ 6910 w 145008"/>
                <a:gd name="connsiteY38" fmla="*/ 27638 h 114008"/>
                <a:gd name="connsiteX39" fmla="*/ 0 w 145008"/>
                <a:gd name="connsiteY39" fmla="*/ 20729 h 114008"/>
                <a:gd name="connsiteX40" fmla="*/ 10364 w 145008"/>
                <a:gd name="connsiteY40" fmla="*/ 13819 h 114008"/>
                <a:gd name="connsiteX41" fmla="*/ 20729 w 145008"/>
                <a:gd name="connsiteY41" fmla="*/ 20729 h 114008"/>
                <a:gd name="connsiteX42" fmla="*/ 31093 w 145008"/>
                <a:gd name="connsiteY42" fmla="*/ 31093 h 114008"/>
                <a:gd name="connsiteX43" fmla="*/ 41458 w 145008"/>
                <a:gd name="connsiteY43" fmla="*/ 31093 h 114008"/>
                <a:gd name="connsiteX44" fmla="*/ 44912 w 145008"/>
                <a:gd name="connsiteY44" fmla="*/ 24184 h 114008"/>
                <a:gd name="connsiteX45" fmla="*/ 38003 w 145008"/>
                <a:gd name="connsiteY45" fmla="*/ 13819 h 114008"/>
                <a:gd name="connsiteX46" fmla="*/ 27639 w 145008"/>
                <a:gd name="connsiteY46" fmla="*/ 3455 h 114008"/>
                <a:gd name="connsiteX47" fmla="*/ 34548 w 145008"/>
                <a:gd name="connsiteY47" fmla="*/ 0 h 114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45008" h="114008">
                  <a:moveTo>
                    <a:pt x="34548" y="0"/>
                  </a:moveTo>
                  <a:lnTo>
                    <a:pt x="44912" y="3455"/>
                  </a:lnTo>
                  <a:lnTo>
                    <a:pt x="55183" y="13819"/>
                  </a:lnTo>
                  <a:lnTo>
                    <a:pt x="72458" y="24184"/>
                  </a:lnTo>
                  <a:lnTo>
                    <a:pt x="79367" y="20729"/>
                  </a:lnTo>
                  <a:lnTo>
                    <a:pt x="89732" y="10364"/>
                  </a:lnTo>
                  <a:lnTo>
                    <a:pt x="96641" y="3455"/>
                  </a:lnTo>
                  <a:lnTo>
                    <a:pt x="103551" y="13819"/>
                  </a:lnTo>
                  <a:lnTo>
                    <a:pt x="113915" y="34548"/>
                  </a:lnTo>
                  <a:lnTo>
                    <a:pt x="120825" y="41458"/>
                  </a:lnTo>
                  <a:lnTo>
                    <a:pt x="138099" y="48367"/>
                  </a:lnTo>
                  <a:lnTo>
                    <a:pt x="145008" y="51822"/>
                  </a:lnTo>
                  <a:lnTo>
                    <a:pt x="145008" y="62186"/>
                  </a:lnTo>
                  <a:lnTo>
                    <a:pt x="124280" y="62186"/>
                  </a:lnTo>
                  <a:lnTo>
                    <a:pt x="117370" y="65641"/>
                  </a:lnTo>
                  <a:lnTo>
                    <a:pt x="113915" y="76006"/>
                  </a:lnTo>
                  <a:lnTo>
                    <a:pt x="117370" y="82915"/>
                  </a:lnTo>
                  <a:lnTo>
                    <a:pt x="117370" y="86370"/>
                  </a:lnTo>
                  <a:lnTo>
                    <a:pt x="117370" y="89825"/>
                  </a:lnTo>
                  <a:lnTo>
                    <a:pt x="117370" y="93280"/>
                  </a:lnTo>
                  <a:lnTo>
                    <a:pt x="103551" y="93280"/>
                  </a:lnTo>
                  <a:lnTo>
                    <a:pt x="103551" y="100189"/>
                  </a:lnTo>
                  <a:lnTo>
                    <a:pt x="103551" y="107099"/>
                  </a:lnTo>
                  <a:lnTo>
                    <a:pt x="103551" y="114009"/>
                  </a:lnTo>
                  <a:lnTo>
                    <a:pt x="89732" y="114009"/>
                  </a:lnTo>
                  <a:lnTo>
                    <a:pt x="79367" y="107099"/>
                  </a:lnTo>
                  <a:lnTo>
                    <a:pt x="89732" y="100189"/>
                  </a:lnTo>
                  <a:lnTo>
                    <a:pt x="82822" y="89825"/>
                  </a:lnTo>
                  <a:lnTo>
                    <a:pt x="82822" y="76006"/>
                  </a:lnTo>
                  <a:lnTo>
                    <a:pt x="75912" y="72551"/>
                  </a:lnTo>
                  <a:lnTo>
                    <a:pt x="72458" y="76006"/>
                  </a:lnTo>
                  <a:lnTo>
                    <a:pt x="65548" y="82915"/>
                  </a:lnTo>
                  <a:lnTo>
                    <a:pt x="55183" y="89825"/>
                  </a:lnTo>
                  <a:lnTo>
                    <a:pt x="44912" y="96735"/>
                  </a:lnTo>
                  <a:lnTo>
                    <a:pt x="48367" y="86370"/>
                  </a:lnTo>
                  <a:lnTo>
                    <a:pt x="44912" y="79461"/>
                  </a:lnTo>
                  <a:lnTo>
                    <a:pt x="20729" y="62186"/>
                  </a:lnTo>
                  <a:lnTo>
                    <a:pt x="10364" y="34548"/>
                  </a:lnTo>
                  <a:lnTo>
                    <a:pt x="6910" y="27638"/>
                  </a:lnTo>
                  <a:lnTo>
                    <a:pt x="0" y="20729"/>
                  </a:lnTo>
                  <a:lnTo>
                    <a:pt x="10364" y="13819"/>
                  </a:lnTo>
                  <a:lnTo>
                    <a:pt x="20729" y="20729"/>
                  </a:lnTo>
                  <a:lnTo>
                    <a:pt x="31093" y="31093"/>
                  </a:lnTo>
                  <a:lnTo>
                    <a:pt x="41458" y="31093"/>
                  </a:lnTo>
                  <a:lnTo>
                    <a:pt x="44912" y="24184"/>
                  </a:lnTo>
                  <a:lnTo>
                    <a:pt x="38003" y="13819"/>
                  </a:lnTo>
                  <a:lnTo>
                    <a:pt x="27639" y="3455"/>
                  </a:lnTo>
                  <a:lnTo>
                    <a:pt x="34548" y="0"/>
                  </a:lnTo>
                  <a:close/>
                </a:path>
              </a:pathLst>
            </a:custGeom>
            <a:solidFill>
              <a:srgbClr val="CEE3BF"/>
            </a:solidFill>
            <a:ln w="9334" cap="flat">
              <a:noFill/>
              <a:prstDash val="solid"/>
              <a:miter/>
            </a:ln>
          </p:spPr>
          <p:txBody>
            <a:bodyPr rtlCol="0" anchor="ctr"/>
            <a:lstStyle/>
            <a:p>
              <a:endParaRPr lang="en-GB" dirty="0"/>
            </a:p>
          </p:txBody>
        </p:sp>
        <p:sp>
          <p:nvSpPr>
            <p:cNvPr id="1086" name="Freeform: Shape 1085">
              <a:extLst>
                <a:ext uri="{FF2B5EF4-FFF2-40B4-BE49-F238E27FC236}">
                  <a16:creationId xmlns:a16="http://schemas.microsoft.com/office/drawing/2014/main" id="{4538956E-FE54-4A39-B91E-95F2E04AA997}"/>
                </a:ext>
              </a:extLst>
            </p:cNvPr>
            <p:cNvSpPr/>
            <p:nvPr/>
          </p:nvSpPr>
          <p:spPr>
            <a:xfrm>
              <a:off x="7074387" y="3302552"/>
              <a:ext cx="145008" cy="114008"/>
            </a:xfrm>
            <a:custGeom>
              <a:avLst/>
              <a:gdLst>
                <a:gd name="connsiteX0" fmla="*/ 34548 w 145008"/>
                <a:gd name="connsiteY0" fmla="*/ 0 h 114008"/>
                <a:gd name="connsiteX1" fmla="*/ 44912 w 145008"/>
                <a:gd name="connsiteY1" fmla="*/ 3455 h 114008"/>
                <a:gd name="connsiteX2" fmla="*/ 55183 w 145008"/>
                <a:gd name="connsiteY2" fmla="*/ 13819 h 114008"/>
                <a:gd name="connsiteX3" fmla="*/ 72458 w 145008"/>
                <a:gd name="connsiteY3" fmla="*/ 24184 h 114008"/>
                <a:gd name="connsiteX4" fmla="*/ 79367 w 145008"/>
                <a:gd name="connsiteY4" fmla="*/ 20729 h 114008"/>
                <a:gd name="connsiteX5" fmla="*/ 89732 w 145008"/>
                <a:gd name="connsiteY5" fmla="*/ 10364 h 114008"/>
                <a:gd name="connsiteX6" fmla="*/ 96641 w 145008"/>
                <a:gd name="connsiteY6" fmla="*/ 3455 h 114008"/>
                <a:gd name="connsiteX7" fmla="*/ 103551 w 145008"/>
                <a:gd name="connsiteY7" fmla="*/ 13819 h 114008"/>
                <a:gd name="connsiteX8" fmla="*/ 113915 w 145008"/>
                <a:gd name="connsiteY8" fmla="*/ 34548 h 114008"/>
                <a:gd name="connsiteX9" fmla="*/ 120825 w 145008"/>
                <a:gd name="connsiteY9" fmla="*/ 41458 h 114008"/>
                <a:gd name="connsiteX10" fmla="*/ 138099 w 145008"/>
                <a:gd name="connsiteY10" fmla="*/ 48367 h 114008"/>
                <a:gd name="connsiteX11" fmla="*/ 145008 w 145008"/>
                <a:gd name="connsiteY11" fmla="*/ 51822 h 114008"/>
                <a:gd name="connsiteX12" fmla="*/ 145008 w 145008"/>
                <a:gd name="connsiteY12" fmla="*/ 62186 h 114008"/>
                <a:gd name="connsiteX13" fmla="*/ 124280 w 145008"/>
                <a:gd name="connsiteY13" fmla="*/ 62186 h 114008"/>
                <a:gd name="connsiteX14" fmla="*/ 117370 w 145008"/>
                <a:gd name="connsiteY14" fmla="*/ 65641 h 114008"/>
                <a:gd name="connsiteX15" fmla="*/ 113915 w 145008"/>
                <a:gd name="connsiteY15" fmla="*/ 76006 h 114008"/>
                <a:gd name="connsiteX16" fmla="*/ 117370 w 145008"/>
                <a:gd name="connsiteY16" fmla="*/ 82915 h 114008"/>
                <a:gd name="connsiteX17" fmla="*/ 117370 w 145008"/>
                <a:gd name="connsiteY17" fmla="*/ 86370 h 114008"/>
                <a:gd name="connsiteX18" fmla="*/ 117370 w 145008"/>
                <a:gd name="connsiteY18" fmla="*/ 89825 h 114008"/>
                <a:gd name="connsiteX19" fmla="*/ 117370 w 145008"/>
                <a:gd name="connsiteY19" fmla="*/ 93280 h 114008"/>
                <a:gd name="connsiteX20" fmla="*/ 103551 w 145008"/>
                <a:gd name="connsiteY20" fmla="*/ 93280 h 114008"/>
                <a:gd name="connsiteX21" fmla="*/ 103551 w 145008"/>
                <a:gd name="connsiteY21" fmla="*/ 100189 h 114008"/>
                <a:gd name="connsiteX22" fmla="*/ 103551 w 145008"/>
                <a:gd name="connsiteY22" fmla="*/ 107099 h 114008"/>
                <a:gd name="connsiteX23" fmla="*/ 103551 w 145008"/>
                <a:gd name="connsiteY23" fmla="*/ 114009 h 114008"/>
                <a:gd name="connsiteX24" fmla="*/ 89732 w 145008"/>
                <a:gd name="connsiteY24" fmla="*/ 114009 h 114008"/>
                <a:gd name="connsiteX25" fmla="*/ 79367 w 145008"/>
                <a:gd name="connsiteY25" fmla="*/ 107099 h 114008"/>
                <a:gd name="connsiteX26" fmla="*/ 89732 w 145008"/>
                <a:gd name="connsiteY26" fmla="*/ 100189 h 114008"/>
                <a:gd name="connsiteX27" fmla="*/ 82822 w 145008"/>
                <a:gd name="connsiteY27" fmla="*/ 89825 h 114008"/>
                <a:gd name="connsiteX28" fmla="*/ 82822 w 145008"/>
                <a:gd name="connsiteY28" fmla="*/ 76006 h 114008"/>
                <a:gd name="connsiteX29" fmla="*/ 75912 w 145008"/>
                <a:gd name="connsiteY29" fmla="*/ 72551 h 114008"/>
                <a:gd name="connsiteX30" fmla="*/ 72458 w 145008"/>
                <a:gd name="connsiteY30" fmla="*/ 76006 h 114008"/>
                <a:gd name="connsiteX31" fmla="*/ 65548 w 145008"/>
                <a:gd name="connsiteY31" fmla="*/ 82915 h 114008"/>
                <a:gd name="connsiteX32" fmla="*/ 55183 w 145008"/>
                <a:gd name="connsiteY32" fmla="*/ 89825 h 114008"/>
                <a:gd name="connsiteX33" fmla="*/ 44912 w 145008"/>
                <a:gd name="connsiteY33" fmla="*/ 96735 h 114008"/>
                <a:gd name="connsiteX34" fmla="*/ 48367 w 145008"/>
                <a:gd name="connsiteY34" fmla="*/ 86370 h 114008"/>
                <a:gd name="connsiteX35" fmla="*/ 44912 w 145008"/>
                <a:gd name="connsiteY35" fmla="*/ 79461 h 114008"/>
                <a:gd name="connsiteX36" fmla="*/ 20729 w 145008"/>
                <a:gd name="connsiteY36" fmla="*/ 62186 h 114008"/>
                <a:gd name="connsiteX37" fmla="*/ 10364 w 145008"/>
                <a:gd name="connsiteY37" fmla="*/ 34548 h 114008"/>
                <a:gd name="connsiteX38" fmla="*/ 6910 w 145008"/>
                <a:gd name="connsiteY38" fmla="*/ 27638 h 114008"/>
                <a:gd name="connsiteX39" fmla="*/ 0 w 145008"/>
                <a:gd name="connsiteY39" fmla="*/ 20729 h 114008"/>
                <a:gd name="connsiteX40" fmla="*/ 10364 w 145008"/>
                <a:gd name="connsiteY40" fmla="*/ 13819 h 114008"/>
                <a:gd name="connsiteX41" fmla="*/ 20729 w 145008"/>
                <a:gd name="connsiteY41" fmla="*/ 20729 h 114008"/>
                <a:gd name="connsiteX42" fmla="*/ 31093 w 145008"/>
                <a:gd name="connsiteY42" fmla="*/ 31093 h 114008"/>
                <a:gd name="connsiteX43" fmla="*/ 41458 w 145008"/>
                <a:gd name="connsiteY43" fmla="*/ 31093 h 114008"/>
                <a:gd name="connsiteX44" fmla="*/ 44912 w 145008"/>
                <a:gd name="connsiteY44" fmla="*/ 24184 h 114008"/>
                <a:gd name="connsiteX45" fmla="*/ 38003 w 145008"/>
                <a:gd name="connsiteY45" fmla="*/ 13819 h 114008"/>
                <a:gd name="connsiteX46" fmla="*/ 27639 w 145008"/>
                <a:gd name="connsiteY46" fmla="*/ 3455 h 114008"/>
                <a:gd name="connsiteX47" fmla="*/ 34548 w 145008"/>
                <a:gd name="connsiteY47" fmla="*/ 0 h 114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45008" h="114008">
                  <a:moveTo>
                    <a:pt x="34548" y="0"/>
                  </a:moveTo>
                  <a:lnTo>
                    <a:pt x="44912" y="3455"/>
                  </a:lnTo>
                  <a:lnTo>
                    <a:pt x="55183" y="13819"/>
                  </a:lnTo>
                  <a:lnTo>
                    <a:pt x="72458" y="24184"/>
                  </a:lnTo>
                  <a:lnTo>
                    <a:pt x="79367" y="20729"/>
                  </a:lnTo>
                  <a:lnTo>
                    <a:pt x="89732" y="10364"/>
                  </a:lnTo>
                  <a:lnTo>
                    <a:pt x="96641" y="3455"/>
                  </a:lnTo>
                  <a:lnTo>
                    <a:pt x="103551" y="13819"/>
                  </a:lnTo>
                  <a:lnTo>
                    <a:pt x="113915" y="34548"/>
                  </a:lnTo>
                  <a:lnTo>
                    <a:pt x="120825" y="41458"/>
                  </a:lnTo>
                  <a:lnTo>
                    <a:pt x="138099" y="48367"/>
                  </a:lnTo>
                  <a:lnTo>
                    <a:pt x="145008" y="51822"/>
                  </a:lnTo>
                  <a:lnTo>
                    <a:pt x="145008" y="62186"/>
                  </a:lnTo>
                  <a:lnTo>
                    <a:pt x="124280" y="62186"/>
                  </a:lnTo>
                  <a:lnTo>
                    <a:pt x="117370" y="65641"/>
                  </a:lnTo>
                  <a:lnTo>
                    <a:pt x="113915" y="76006"/>
                  </a:lnTo>
                  <a:lnTo>
                    <a:pt x="117370" y="82915"/>
                  </a:lnTo>
                  <a:lnTo>
                    <a:pt x="117370" y="86370"/>
                  </a:lnTo>
                  <a:lnTo>
                    <a:pt x="117370" y="89825"/>
                  </a:lnTo>
                  <a:lnTo>
                    <a:pt x="117370" y="93280"/>
                  </a:lnTo>
                  <a:lnTo>
                    <a:pt x="103551" y="93280"/>
                  </a:lnTo>
                  <a:lnTo>
                    <a:pt x="103551" y="100189"/>
                  </a:lnTo>
                  <a:lnTo>
                    <a:pt x="103551" y="107099"/>
                  </a:lnTo>
                  <a:lnTo>
                    <a:pt x="103551" y="114009"/>
                  </a:lnTo>
                  <a:lnTo>
                    <a:pt x="89732" y="114009"/>
                  </a:lnTo>
                  <a:lnTo>
                    <a:pt x="79367" y="107099"/>
                  </a:lnTo>
                  <a:lnTo>
                    <a:pt x="89732" y="100189"/>
                  </a:lnTo>
                  <a:lnTo>
                    <a:pt x="82822" y="89825"/>
                  </a:lnTo>
                  <a:lnTo>
                    <a:pt x="82822" y="76006"/>
                  </a:lnTo>
                  <a:lnTo>
                    <a:pt x="75912" y="72551"/>
                  </a:lnTo>
                  <a:lnTo>
                    <a:pt x="72458" y="76006"/>
                  </a:lnTo>
                  <a:lnTo>
                    <a:pt x="65548" y="82915"/>
                  </a:lnTo>
                  <a:lnTo>
                    <a:pt x="55183" y="89825"/>
                  </a:lnTo>
                  <a:lnTo>
                    <a:pt x="44912" y="96735"/>
                  </a:lnTo>
                  <a:lnTo>
                    <a:pt x="48367" y="86370"/>
                  </a:lnTo>
                  <a:lnTo>
                    <a:pt x="44912" y="79461"/>
                  </a:lnTo>
                  <a:lnTo>
                    <a:pt x="20729" y="62186"/>
                  </a:lnTo>
                  <a:lnTo>
                    <a:pt x="10364" y="34548"/>
                  </a:lnTo>
                  <a:lnTo>
                    <a:pt x="6910" y="27638"/>
                  </a:lnTo>
                  <a:lnTo>
                    <a:pt x="0" y="20729"/>
                  </a:lnTo>
                  <a:lnTo>
                    <a:pt x="10364" y="13819"/>
                  </a:lnTo>
                  <a:lnTo>
                    <a:pt x="20729" y="20729"/>
                  </a:lnTo>
                  <a:lnTo>
                    <a:pt x="31093" y="31093"/>
                  </a:lnTo>
                  <a:lnTo>
                    <a:pt x="41458" y="31093"/>
                  </a:lnTo>
                  <a:lnTo>
                    <a:pt x="44912" y="24184"/>
                  </a:lnTo>
                  <a:lnTo>
                    <a:pt x="38003" y="13819"/>
                  </a:lnTo>
                  <a:lnTo>
                    <a:pt x="27639" y="3455"/>
                  </a:lnTo>
                  <a:lnTo>
                    <a:pt x="34548" y="0"/>
                  </a:lnTo>
                  <a:close/>
                </a:path>
              </a:pathLst>
            </a:custGeom>
            <a:solidFill>
              <a:srgbClr val="CEE3BF"/>
            </a:solidFill>
            <a:ln w="9334" cap="flat">
              <a:noFill/>
              <a:prstDash val="solid"/>
              <a:miter/>
            </a:ln>
          </p:spPr>
          <p:txBody>
            <a:bodyPr rtlCol="0" anchor="ctr"/>
            <a:lstStyle/>
            <a:p>
              <a:endParaRPr lang="en-GB" dirty="0"/>
            </a:p>
          </p:txBody>
        </p:sp>
        <p:sp>
          <p:nvSpPr>
            <p:cNvPr id="1087" name="Freeform: Shape 1086">
              <a:extLst>
                <a:ext uri="{FF2B5EF4-FFF2-40B4-BE49-F238E27FC236}">
                  <a16:creationId xmlns:a16="http://schemas.microsoft.com/office/drawing/2014/main" id="{8279705B-B9E1-4B99-A348-FFD45805B14D}"/>
                </a:ext>
              </a:extLst>
            </p:cNvPr>
            <p:cNvSpPr/>
            <p:nvPr/>
          </p:nvSpPr>
          <p:spPr>
            <a:xfrm>
              <a:off x="6932833" y="3247182"/>
              <a:ext cx="186466" cy="86463"/>
            </a:xfrm>
            <a:custGeom>
              <a:avLst/>
              <a:gdLst>
                <a:gd name="connsiteX0" fmla="*/ 0 w 186466"/>
                <a:gd name="connsiteY0" fmla="*/ 3455 h 86463"/>
                <a:gd name="connsiteX1" fmla="*/ 20729 w 186466"/>
                <a:gd name="connsiteY1" fmla="*/ 0 h 86463"/>
                <a:gd name="connsiteX2" fmla="*/ 31093 w 186466"/>
                <a:gd name="connsiteY2" fmla="*/ 7003 h 86463"/>
                <a:gd name="connsiteX3" fmla="*/ 41458 w 186466"/>
                <a:gd name="connsiteY3" fmla="*/ 13913 h 86463"/>
                <a:gd name="connsiteX4" fmla="*/ 58732 w 186466"/>
                <a:gd name="connsiteY4" fmla="*/ 10364 h 86463"/>
                <a:gd name="connsiteX5" fmla="*/ 72458 w 186466"/>
                <a:gd name="connsiteY5" fmla="*/ 10364 h 86463"/>
                <a:gd name="connsiteX6" fmla="*/ 89732 w 186466"/>
                <a:gd name="connsiteY6" fmla="*/ 20822 h 86463"/>
                <a:gd name="connsiteX7" fmla="*/ 96642 w 186466"/>
                <a:gd name="connsiteY7" fmla="*/ 24277 h 86463"/>
                <a:gd name="connsiteX8" fmla="*/ 113915 w 186466"/>
                <a:gd name="connsiteY8" fmla="*/ 31187 h 86463"/>
                <a:gd name="connsiteX9" fmla="*/ 124280 w 186466"/>
                <a:gd name="connsiteY9" fmla="*/ 31187 h 86463"/>
                <a:gd name="connsiteX10" fmla="*/ 141554 w 186466"/>
                <a:gd name="connsiteY10" fmla="*/ 27732 h 86463"/>
                <a:gd name="connsiteX11" fmla="*/ 158828 w 186466"/>
                <a:gd name="connsiteY11" fmla="*/ 38096 h 86463"/>
                <a:gd name="connsiteX12" fmla="*/ 162283 w 186466"/>
                <a:gd name="connsiteY12" fmla="*/ 41551 h 86463"/>
                <a:gd name="connsiteX13" fmla="*/ 176102 w 186466"/>
                <a:gd name="connsiteY13" fmla="*/ 55370 h 86463"/>
                <a:gd name="connsiteX14" fmla="*/ 169193 w 186466"/>
                <a:gd name="connsiteY14" fmla="*/ 58825 h 86463"/>
                <a:gd name="connsiteX15" fmla="*/ 179557 w 186466"/>
                <a:gd name="connsiteY15" fmla="*/ 69190 h 86463"/>
                <a:gd name="connsiteX16" fmla="*/ 186467 w 186466"/>
                <a:gd name="connsiteY16" fmla="*/ 79554 h 86463"/>
                <a:gd name="connsiteX17" fmla="*/ 183012 w 186466"/>
                <a:gd name="connsiteY17" fmla="*/ 86464 h 86463"/>
                <a:gd name="connsiteX18" fmla="*/ 172648 w 186466"/>
                <a:gd name="connsiteY18" fmla="*/ 86464 h 86463"/>
                <a:gd name="connsiteX19" fmla="*/ 151918 w 186466"/>
                <a:gd name="connsiteY19" fmla="*/ 69190 h 86463"/>
                <a:gd name="connsiteX20" fmla="*/ 141554 w 186466"/>
                <a:gd name="connsiteY20" fmla="*/ 76099 h 86463"/>
                <a:gd name="connsiteX21" fmla="*/ 127735 w 186466"/>
                <a:gd name="connsiteY21" fmla="*/ 76099 h 86463"/>
                <a:gd name="connsiteX22" fmla="*/ 113915 w 186466"/>
                <a:gd name="connsiteY22" fmla="*/ 79554 h 86463"/>
                <a:gd name="connsiteX23" fmla="*/ 100096 w 186466"/>
                <a:gd name="connsiteY23" fmla="*/ 86464 h 86463"/>
                <a:gd name="connsiteX24" fmla="*/ 89732 w 186466"/>
                <a:gd name="connsiteY24" fmla="*/ 79554 h 86463"/>
                <a:gd name="connsiteX25" fmla="*/ 79367 w 186466"/>
                <a:gd name="connsiteY25" fmla="*/ 69190 h 86463"/>
                <a:gd name="connsiteX26" fmla="*/ 65548 w 186466"/>
                <a:gd name="connsiteY26" fmla="*/ 65735 h 86463"/>
                <a:gd name="connsiteX27" fmla="*/ 62093 w 186466"/>
                <a:gd name="connsiteY27" fmla="*/ 76099 h 86463"/>
                <a:gd name="connsiteX28" fmla="*/ 44912 w 186466"/>
                <a:gd name="connsiteY28" fmla="*/ 69190 h 86463"/>
                <a:gd name="connsiteX29" fmla="*/ 51823 w 186466"/>
                <a:gd name="connsiteY29" fmla="*/ 55370 h 86463"/>
                <a:gd name="connsiteX30" fmla="*/ 44912 w 186466"/>
                <a:gd name="connsiteY30" fmla="*/ 38096 h 86463"/>
                <a:gd name="connsiteX31" fmla="*/ 34548 w 186466"/>
                <a:gd name="connsiteY31" fmla="*/ 24277 h 86463"/>
                <a:gd name="connsiteX32" fmla="*/ 20729 w 186466"/>
                <a:gd name="connsiteY32" fmla="*/ 17367 h 86463"/>
                <a:gd name="connsiteX33" fmla="*/ 10365 w 186466"/>
                <a:gd name="connsiteY33" fmla="*/ 10364 h 86463"/>
                <a:gd name="connsiteX34" fmla="*/ 0 w 186466"/>
                <a:gd name="connsiteY34" fmla="*/ 3455 h 8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6466" h="86463">
                  <a:moveTo>
                    <a:pt x="0" y="3455"/>
                  </a:moveTo>
                  <a:lnTo>
                    <a:pt x="20729" y="0"/>
                  </a:lnTo>
                  <a:lnTo>
                    <a:pt x="31093" y="7003"/>
                  </a:lnTo>
                  <a:lnTo>
                    <a:pt x="41458" y="13913"/>
                  </a:lnTo>
                  <a:lnTo>
                    <a:pt x="58732" y="10364"/>
                  </a:lnTo>
                  <a:lnTo>
                    <a:pt x="72458" y="10364"/>
                  </a:lnTo>
                  <a:lnTo>
                    <a:pt x="89732" y="20822"/>
                  </a:lnTo>
                  <a:lnTo>
                    <a:pt x="96642" y="24277"/>
                  </a:lnTo>
                  <a:lnTo>
                    <a:pt x="113915" y="31187"/>
                  </a:lnTo>
                  <a:lnTo>
                    <a:pt x="124280" y="31187"/>
                  </a:lnTo>
                  <a:lnTo>
                    <a:pt x="141554" y="27732"/>
                  </a:lnTo>
                  <a:lnTo>
                    <a:pt x="158828" y="38096"/>
                  </a:lnTo>
                  <a:lnTo>
                    <a:pt x="162283" y="41551"/>
                  </a:lnTo>
                  <a:lnTo>
                    <a:pt x="176102" y="55370"/>
                  </a:lnTo>
                  <a:lnTo>
                    <a:pt x="169193" y="58825"/>
                  </a:lnTo>
                  <a:lnTo>
                    <a:pt x="179557" y="69190"/>
                  </a:lnTo>
                  <a:lnTo>
                    <a:pt x="186467" y="79554"/>
                  </a:lnTo>
                  <a:lnTo>
                    <a:pt x="183012" y="86464"/>
                  </a:lnTo>
                  <a:lnTo>
                    <a:pt x="172648" y="86464"/>
                  </a:lnTo>
                  <a:lnTo>
                    <a:pt x="151918" y="69190"/>
                  </a:lnTo>
                  <a:lnTo>
                    <a:pt x="141554" y="76099"/>
                  </a:lnTo>
                  <a:lnTo>
                    <a:pt x="127735" y="76099"/>
                  </a:lnTo>
                  <a:lnTo>
                    <a:pt x="113915" y="79554"/>
                  </a:lnTo>
                  <a:lnTo>
                    <a:pt x="100096" y="86464"/>
                  </a:lnTo>
                  <a:lnTo>
                    <a:pt x="89732" y="79554"/>
                  </a:lnTo>
                  <a:lnTo>
                    <a:pt x="79367" y="69190"/>
                  </a:lnTo>
                  <a:lnTo>
                    <a:pt x="65548" y="65735"/>
                  </a:lnTo>
                  <a:lnTo>
                    <a:pt x="62093" y="76099"/>
                  </a:lnTo>
                  <a:lnTo>
                    <a:pt x="44912" y="69190"/>
                  </a:lnTo>
                  <a:lnTo>
                    <a:pt x="51823" y="55370"/>
                  </a:lnTo>
                  <a:lnTo>
                    <a:pt x="44912" y="38096"/>
                  </a:lnTo>
                  <a:lnTo>
                    <a:pt x="34548" y="24277"/>
                  </a:lnTo>
                  <a:lnTo>
                    <a:pt x="20729" y="17367"/>
                  </a:lnTo>
                  <a:lnTo>
                    <a:pt x="10365" y="10364"/>
                  </a:lnTo>
                  <a:lnTo>
                    <a:pt x="0" y="3455"/>
                  </a:lnTo>
                  <a:close/>
                </a:path>
              </a:pathLst>
            </a:custGeom>
            <a:solidFill>
              <a:srgbClr val="CEE3BF"/>
            </a:solidFill>
            <a:ln w="9334" cap="flat">
              <a:noFill/>
              <a:prstDash val="solid"/>
              <a:miter/>
            </a:ln>
          </p:spPr>
          <p:txBody>
            <a:bodyPr rtlCol="0" anchor="ctr"/>
            <a:lstStyle/>
            <a:p>
              <a:endParaRPr lang="en-GB" dirty="0"/>
            </a:p>
          </p:txBody>
        </p:sp>
        <p:sp>
          <p:nvSpPr>
            <p:cNvPr id="1088" name="Freeform: Shape 1087">
              <a:extLst>
                <a:ext uri="{FF2B5EF4-FFF2-40B4-BE49-F238E27FC236}">
                  <a16:creationId xmlns:a16="http://schemas.microsoft.com/office/drawing/2014/main" id="{7881F652-7FA4-4E0E-BBFA-C163EB9B6F83}"/>
                </a:ext>
              </a:extLst>
            </p:cNvPr>
            <p:cNvSpPr/>
            <p:nvPr/>
          </p:nvSpPr>
          <p:spPr>
            <a:xfrm>
              <a:off x="6932833" y="3247182"/>
              <a:ext cx="186466" cy="86463"/>
            </a:xfrm>
            <a:custGeom>
              <a:avLst/>
              <a:gdLst>
                <a:gd name="connsiteX0" fmla="*/ 0 w 186466"/>
                <a:gd name="connsiteY0" fmla="*/ 3455 h 86463"/>
                <a:gd name="connsiteX1" fmla="*/ 20729 w 186466"/>
                <a:gd name="connsiteY1" fmla="*/ 0 h 86463"/>
                <a:gd name="connsiteX2" fmla="*/ 31093 w 186466"/>
                <a:gd name="connsiteY2" fmla="*/ 7003 h 86463"/>
                <a:gd name="connsiteX3" fmla="*/ 41458 w 186466"/>
                <a:gd name="connsiteY3" fmla="*/ 13913 h 86463"/>
                <a:gd name="connsiteX4" fmla="*/ 58732 w 186466"/>
                <a:gd name="connsiteY4" fmla="*/ 10364 h 86463"/>
                <a:gd name="connsiteX5" fmla="*/ 72458 w 186466"/>
                <a:gd name="connsiteY5" fmla="*/ 10364 h 86463"/>
                <a:gd name="connsiteX6" fmla="*/ 89732 w 186466"/>
                <a:gd name="connsiteY6" fmla="*/ 20822 h 86463"/>
                <a:gd name="connsiteX7" fmla="*/ 96642 w 186466"/>
                <a:gd name="connsiteY7" fmla="*/ 24277 h 86463"/>
                <a:gd name="connsiteX8" fmla="*/ 113915 w 186466"/>
                <a:gd name="connsiteY8" fmla="*/ 31187 h 86463"/>
                <a:gd name="connsiteX9" fmla="*/ 124280 w 186466"/>
                <a:gd name="connsiteY9" fmla="*/ 31187 h 86463"/>
                <a:gd name="connsiteX10" fmla="*/ 141554 w 186466"/>
                <a:gd name="connsiteY10" fmla="*/ 27732 h 86463"/>
                <a:gd name="connsiteX11" fmla="*/ 158828 w 186466"/>
                <a:gd name="connsiteY11" fmla="*/ 38096 h 86463"/>
                <a:gd name="connsiteX12" fmla="*/ 162283 w 186466"/>
                <a:gd name="connsiteY12" fmla="*/ 41551 h 86463"/>
                <a:gd name="connsiteX13" fmla="*/ 176102 w 186466"/>
                <a:gd name="connsiteY13" fmla="*/ 55370 h 86463"/>
                <a:gd name="connsiteX14" fmla="*/ 169193 w 186466"/>
                <a:gd name="connsiteY14" fmla="*/ 58825 h 86463"/>
                <a:gd name="connsiteX15" fmla="*/ 179557 w 186466"/>
                <a:gd name="connsiteY15" fmla="*/ 69190 h 86463"/>
                <a:gd name="connsiteX16" fmla="*/ 186467 w 186466"/>
                <a:gd name="connsiteY16" fmla="*/ 79554 h 86463"/>
                <a:gd name="connsiteX17" fmla="*/ 183012 w 186466"/>
                <a:gd name="connsiteY17" fmla="*/ 86464 h 86463"/>
                <a:gd name="connsiteX18" fmla="*/ 172648 w 186466"/>
                <a:gd name="connsiteY18" fmla="*/ 86464 h 86463"/>
                <a:gd name="connsiteX19" fmla="*/ 151918 w 186466"/>
                <a:gd name="connsiteY19" fmla="*/ 69190 h 86463"/>
                <a:gd name="connsiteX20" fmla="*/ 141554 w 186466"/>
                <a:gd name="connsiteY20" fmla="*/ 76099 h 86463"/>
                <a:gd name="connsiteX21" fmla="*/ 127735 w 186466"/>
                <a:gd name="connsiteY21" fmla="*/ 76099 h 86463"/>
                <a:gd name="connsiteX22" fmla="*/ 113915 w 186466"/>
                <a:gd name="connsiteY22" fmla="*/ 79554 h 86463"/>
                <a:gd name="connsiteX23" fmla="*/ 100096 w 186466"/>
                <a:gd name="connsiteY23" fmla="*/ 86464 h 86463"/>
                <a:gd name="connsiteX24" fmla="*/ 89732 w 186466"/>
                <a:gd name="connsiteY24" fmla="*/ 79554 h 86463"/>
                <a:gd name="connsiteX25" fmla="*/ 79367 w 186466"/>
                <a:gd name="connsiteY25" fmla="*/ 69190 h 86463"/>
                <a:gd name="connsiteX26" fmla="*/ 65548 w 186466"/>
                <a:gd name="connsiteY26" fmla="*/ 65735 h 86463"/>
                <a:gd name="connsiteX27" fmla="*/ 62093 w 186466"/>
                <a:gd name="connsiteY27" fmla="*/ 76099 h 86463"/>
                <a:gd name="connsiteX28" fmla="*/ 44912 w 186466"/>
                <a:gd name="connsiteY28" fmla="*/ 69190 h 86463"/>
                <a:gd name="connsiteX29" fmla="*/ 51823 w 186466"/>
                <a:gd name="connsiteY29" fmla="*/ 55370 h 86463"/>
                <a:gd name="connsiteX30" fmla="*/ 44912 w 186466"/>
                <a:gd name="connsiteY30" fmla="*/ 38096 h 86463"/>
                <a:gd name="connsiteX31" fmla="*/ 34548 w 186466"/>
                <a:gd name="connsiteY31" fmla="*/ 24277 h 86463"/>
                <a:gd name="connsiteX32" fmla="*/ 20729 w 186466"/>
                <a:gd name="connsiteY32" fmla="*/ 17367 h 86463"/>
                <a:gd name="connsiteX33" fmla="*/ 10365 w 186466"/>
                <a:gd name="connsiteY33" fmla="*/ 10364 h 86463"/>
                <a:gd name="connsiteX34" fmla="*/ 0 w 186466"/>
                <a:gd name="connsiteY34" fmla="*/ 3455 h 8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6466" h="86463">
                  <a:moveTo>
                    <a:pt x="0" y="3455"/>
                  </a:moveTo>
                  <a:lnTo>
                    <a:pt x="20729" y="0"/>
                  </a:lnTo>
                  <a:lnTo>
                    <a:pt x="31093" y="7003"/>
                  </a:lnTo>
                  <a:lnTo>
                    <a:pt x="41458" y="13913"/>
                  </a:lnTo>
                  <a:lnTo>
                    <a:pt x="58732" y="10364"/>
                  </a:lnTo>
                  <a:lnTo>
                    <a:pt x="72458" y="10364"/>
                  </a:lnTo>
                  <a:lnTo>
                    <a:pt x="89732" y="20822"/>
                  </a:lnTo>
                  <a:lnTo>
                    <a:pt x="96642" y="24277"/>
                  </a:lnTo>
                  <a:lnTo>
                    <a:pt x="113915" y="31187"/>
                  </a:lnTo>
                  <a:lnTo>
                    <a:pt x="124280" y="31187"/>
                  </a:lnTo>
                  <a:lnTo>
                    <a:pt x="141554" y="27732"/>
                  </a:lnTo>
                  <a:lnTo>
                    <a:pt x="158828" y="38096"/>
                  </a:lnTo>
                  <a:lnTo>
                    <a:pt x="162283" y="41551"/>
                  </a:lnTo>
                  <a:lnTo>
                    <a:pt x="176102" y="55370"/>
                  </a:lnTo>
                  <a:lnTo>
                    <a:pt x="169193" y="58825"/>
                  </a:lnTo>
                  <a:lnTo>
                    <a:pt x="179557" y="69190"/>
                  </a:lnTo>
                  <a:lnTo>
                    <a:pt x="186467" y="79554"/>
                  </a:lnTo>
                  <a:lnTo>
                    <a:pt x="183012" y="86464"/>
                  </a:lnTo>
                  <a:lnTo>
                    <a:pt x="172648" y="86464"/>
                  </a:lnTo>
                  <a:lnTo>
                    <a:pt x="151918" y="69190"/>
                  </a:lnTo>
                  <a:lnTo>
                    <a:pt x="141554" y="76099"/>
                  </a:lnTo>
                  <a:lnTo>
                    <a:pt x="127735" y="76099"/>
                  </a:lnTo>
                  <a:lnTo>
                    <a:pt x="113915" y="79554"/>
                  </a:lnTo>
                  <a:lnTo>
                    <a:pt x="100096" y="86464"/>
                  </a:lnTo>
                  <a:lnTo>
                    <a:pt x="89732" y="79554"/>
                  </a:lnTo>
                  <a:lnTo>
                    <a:pt x="79367" y="69190"/>
                  </a:lnTo>
                  <a:lnTo>
                    <a:pt x="65548" y="65735"/>
                  </a:lnTo>
                  <a:lnTo>
                    <a:pt x="62093" y="76099"/>
                  </a:lnTo>
                  <a:lnTo>
                    <a:pt x="44912" y="69190"/>
                  </a:lnTo>
                  <a:lnTo>
                    <a:pt x="51823" y="55370"/>
                  </a:lnTo>
                  <a:lnTo>
                    <a:pt x="44912" y="38096"/>
                  </a:lnTo>
                  <a:lnTo>
                    <a:pt x="34548" y="24277"/>
                  </a:lnTo>
                  <a:lnTo>
                    <a:pt x="20729" y="17367"/>
                  </a:lnTo>
                  <a:lnTo>
                    <a:pt x="10365" y="10364"/>
                  </a:lnTo>
                  <a:lnTo>
                    <a:pt x="0" y="3455"/>
                  </a:lnTo>
                  <a:close/>
                </a:path>
              </a:pathLst>
            </a:custGeom>
            <a:solidFill>
              <a:srgbClr val="CEE3BF"/>
            </a:solidFill>
            <a:ln w="9334" cap="flat">
              <a:noFill/>
              <a:prstDash val="solid"/>
              <a:miter/>
            </a:ln>
          </p:spPr>
          <p:txBody>
            <a:bodyPr rtlCol="0" anchor="ctr"/>
            <a:lstStyle/>
            <a:p>
              <a:endParaRPr lang="en-GB" dirty="0"/>
            </a:p>
          </p:txBody>
        </p:sp>
        <p:sp>
          <p:nvSpPr>
            <p:cNvPr id="1089" name="Freeform: Shape 1088">
              <a:extLst>
                <a:ext uri="{FF2B5EF4-FFF2-40B4-BE49-F238E27FC236}">
                  <a16:creationId xmlns:a16="http://schemas.microsoft.com/office/drawing/2014/main" id="{2A32ADAA-CCF0-4516-9565-E01D83BB83BD}"/>
                </a:ext>
              </a:extLst>
            </p:cNvPr>
            <p:cNvSpPr/>
            <p:nvPr/>
          </p:nvSpPr>
          <p:spPr>
            <a:xfrm>
              <a:off x="7281489" y="3278368"/>
              <a:ext cx="383203" cy="238475"/>
            </a:xfrm>
            <a:custGeom>
              <a:avLst/>
              <a:gdLst>
                <a:gd name="connsiteX0" fmla="*/ 34548 w 383203"/>
                <a:gd name="connsiteY0" fmla="*/ 179743 h 238475"/>
                <a:gd name="connsiteX1" fmla="*/ 31093 w 383203"/>
                <a:gd name="connsiteY1" fmla="*/ 138192 h 238475"/>
                <a:gd name="connsiteX2" fmla="*/ 41458 w 383203"/>
                <a:gd name="connsiteY2" fmla="*/ 124373 h 238475"/>
                <a:gd name="connsiteX3" fmla="*/ 20729 w 383203"/>
                <a:gd name="connsiteY3" fmla="*/ 96735 h 238475"/>
                <a:gd name="connsiteX4" fmla="*/ 13819 w 383203"/>
                <a:gd name="connsiteY4" fmla="*/ 86370 h 238475"/>
                <a:gd name="connsiteX5" fmla="*/ 0 w 383203"/>
                <a:gd name="connsiteY5" fmla="*/ 89825 h 238475"/>
                <a:gd name="connsiteX6" fmla="*/ 0 w 383203"/>
                <a:gd name="connsiteY6" fmla="*/ 76006 h 238475"/>
                <a:gd name="connsiteX7" fmla="*/ 10364 w 383203"/>
                <a:gd name="connsiteY7" fmla="*/ 62187 h 238475"/>
                <a:gd name="connsiteX8" fmla="*/ 20729 w 383203"/>
                <a:gd name="connsiteY8" fmla="*/ 69096 h 238475"/>
                <a:gd name="connsiteX9" fmla="*/ 48367 w 383203"/>
                <a:gd name="connsiteY9" fmla="*/ 69096 h 238475"/>
                <a:gd name="connsiteX10" fmla="*/ 58732 w 383203"/>
                <a:gd name="connsiteY10" fmla="*/ 55277 h 238475"/>
                <a:gd name="connsiteX11" fmla="*/ 44912 w 383203"/>
                <a:gd name="connsiteY11" fmla="*/ 41458 h 238475"/>
                <a:gd name="connsiteX12" fmla="*/ 34548 w 383203"/>
                <a:gd name="connsiteY12" fmla="*/ 27639 h 238475"/>
                <a:gd name="connsiteX13" fmla="*/ 24184 w 383203"/>
                <a:gd name="connsiteY13" fmla="*/ 17274 h 238475"/>
                <a:gd name="connsiteX14" fmla="*/ 6910 w 383203"/>
                <a:gd name="connsiteY14" fmla="*/ 24184 h 238475"/>
                <a:gd name="connsiteX15" fmla="*/ 3455 w 383203"/>
                <a:gd name="connsiteY15" fmla="*/ 48367 h 238475"/>
                <a:gd name="connsiteX16" fmla="*/ 0 w 383203"/>
                <a:gd name="connsiteY16" fmla="*/ 38003 h 238475"/>
                <a:gd name="connsiteX17" fmla="*/ 0 w 383203"/>
                <a:gd name="connsiteY17" fmla="*/ 20729 h 238475"/>
                <a:gd name="connsiteX18" fmla="*/ 17274 w 383203"/>
                <a:gd name="connsiteY18" fmla="*/ 10364 h 238475"/>
                <a:gd name="connsiteX19" fmla="*/ 41458 w 383203"/>
                <a:gd name="connsiteY19" fmla="*/ 6910 h 238475"/>
                <a:gd name="connsiteX20" fmla="*/ 62186 w 383203"/>
                <a:gd name="connsiteY20" fmla="*/ 20729 h 238475"/>
                <a:gd name="connsiteX21" fmla="*/ 76006 w 383203"/>
                <a:gd name="connsiteY21" fmla="*/ 44913 h 238475"/>
                <a:gd name="connsiteX22" fmla="*/ 93280 w 383203"/>
                <a:gd name="connsiteY22" fmla="*/ 48367 h 238475"/>
                <a:gd name="connsiteX23" fmla="*/ 117464 w 383203"/>
                <a:gd name="connsiteY23" fmla="*/ 44913 h 238475"/>
                <a:gd name="connsiteX24" fmla="*/ 117464 w 383203"/>
                <a:gd name="connsiteY24" fmla="*/ 24184 h 238475"/>
                <a:gd name="connsiteX25" fmla="*/ 165737 w 383203"/>
                <a:gd name="connsiteY25" fmla="*/ 0 h 238475"/>
                <a:gd name="connsiteX26" fmla="*/ 176102 w 383203"/>
                <a:gd name="connsiteY26" fmla="*/ 10364 h 238475"/>
                <a:gd name="connsiteX27" fmla="*/ 200286 w 383203"/>
                <a:gd name="connsiteY27" fmla="*/ 13819 h 238475"/>
                <a:gd name="connsiteX28" fmla="*/ 203740 w 383203"/>
                <a:gd name="connsiteY28" fmla="*/ 20729 h 238475"/>
                <a:gd name="connsiteX29" fmla="*/ 203740 w 383203"/>
                <a:gd name="connsiteY29" fmla="*/ 48367 h 238475"/>
                <a:gd name="connsiteX30" fmla="*/ 248653 w 383203"/>
                <a:gd name="connsiteY30" fmla="*/ 48367 h 238475"/>
                <a:gd name="connsiteX31" fmla="*/ 272743 w 383203"/>
                <a:gd name="connsiteY31" fmla="*/ 93280 h 238475"/>
                <a:gd name="connsiteX32" fmla="*/ 307291 w 383203"/>
                <a:gd name="connsiteY32" fmla="*/ 114009 h 238475"/>
                <a:gd name="connsiteX33" fmla="*/ 345294 w 383203"/>
                <a:gd name="connsiteY33" fmla="*/ 141647 h 238475"/>
                <a:gd name="connsiteX34" fmla="*/ 366023 w 383203"/>
                <a:gd name="connsiteY34" fmla="*/ 145102 h 238475"/>
                <a:gd name="connsiteX35" fmla="*/ 383203 w 383203"/>
                <a:gd name="connsiteY35" fmla="*/ 155560 h 238475"/>
                <a:gd name="connsiteX36" fmla="*/ 383203 w 383203"/>
                <a:gd name="connsiteY36" fmla="*/ 169379 h 238475"/>
                <a:gd name="connsiteX37" fmla="*/ 362568 w 383203"/>
                <a:gd name="connsiteY37" fmla="*/ 169379 h 238475"/>
                <a:gd name="connsiteX38" fmla="*/ 334930 w 383203"/>
                <a:gd name="connsiteY38" fmla="*/ 179743 h 238475"/>
                <a:gd name="connsiteX39" fmla="*/ 314201 w 383203"/>
                <a:gd name="connsiteY39" fmla="*/ 210837 h 238475"/>
                <a:gd name="connsiteX40" fmla="*/ 293472 w 383203"/>
                <a:gd name="connsiteY40" fmla="*/ 217746 h 238475"/>
                <a:gd name="connsiteX41" fmla="*/ 276198 w 383203"/>
                <a:gd name="connsiteY41" fmla="*/ 238475 h 238475"/>
                <a:gd name="connsiteX42" fmla="*/ 258924 w 383203"/>
                <a:gd name="connsiteY42" fmla="*/ 231566 h 238475"/>
                <a:gd name="connsiteX43" fmla="*/ 238289 w 383203"/>
                <a:gd name="connsiteY43" fmla="*/ 231566 h 238475"/>
                <a:gd name="connsiteX44" fmla="*/ 234834 w 383203"/>
                <a:gd name="connsiteY44" fmla="*/ 193563 h 238475"/>
                <a:gd name="connsiteX45" fmla="*/ 217559 w 383203"/>
                <a:gd name="connsiteY45" fmla="*/ 190108 h 238475"/>
                <a:gd name="connsiteX46" fmla="*/ 117464 w 383203"/>
                <a:gd name="connsiteY46" fmla="*/ 145102 h 238475"/>
                <a:gd name="connsiteX47" fmla="*/ 72551 w 383203"/>
                <a:gd name="connsiteY47" fmla="*/ 152105 h 238475"/>
                <a:gd name="connsiteX48" fmla="*/ 34548 w 383203"/>
                <a:gd name="connsiteY48" fmla="*/ 179743 h 23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83203" h="238475">
                  <a:moveTo>
                    <a:pt x="34548" y="179743"/>
                  </a:moveTo>
                  <a:lnTo>
                    <a:pt x="31093" y="138192"/>
                  </a:lnTo>
                  <a:lnTo>
                    <a:pt x="41458" y="124373"/>
                  </a:lnTo>
                  <a:lnTo>
                    <a:pt x="20729" y="96735"/>
                  </a:lnTo>
                  <a:lnTo>
                    <a:pt x="13819" y="86370"/>
                  </a:lnTo>
                  <a:lnTo>
                    <a:pt x="0" y="89825"/>
                  </a:lnTo>
                  <a:lnTo>
                    <a:pt x="0" y="76006"/>
                  </a:lnTo>
                  <a:lnTo>
                    <a:pt x="10364" y="62187"/>
                  </a:lnTo>
                  <a:lnTo>
                    <a:pt x="20729" y="69096"/>
                  </a:lnTo>
                  <a:lnTo>
                    <a:pt x="48367" y="69096"/>
                  </a:lnTo>
                  <a:lnTo>
                    <a:pt x="58732" y="55277"/>
                  </a:lnTo>
                  <a:lnTo>
                    <a:pt x="44912" y="41458"/>
                  </a:lnTo>
                  <a:lnTo>
                    <a:pt x="34548" y="27639"/>
                  </a:lnTo>
                  <a:lnTo>
                    <a:pt x="24184" y="17274"/>
                  </a:lnTo>
                  <a:lnTo>
                    <a:pt x="6910" y="24184"/>
                  </a:lnTo>
                  <a:lnTo>
                    <a:pt x="3455" y="48367"/>
                  </a:lnTo>
                  <a:lnTo>
                    <a:pt x="0" y="38003"/>
                  </a:lnTo>
                  <a:lnTo>
                    <a:pt x="0" y="20729"/>
                  </a:lnTo>
                  <a:lnTo>
                    <a:pt x="17274" y="10364"/>
                  </a:lnTo>
                  <a:lnTo>
                    <a:pt x="41458" y="6910"/>
                  </a:lnTo>
                  <a:lnTo>
                    <a:pt x="62186" y="20729"/>
                  </a:lnTo>
                  <a:lnTo>
                    <a:pt x="76006" y="44913"/>
                  </a:lnTo>
                  <a:lnTo>
                    <a:pt x="93280" y="48367"/>
                  </a:lnTo>
                  <a:lnTo>
                    <a:pt x="117464" y="44913"/>
                  </a:lnTo>
                  <a:lnTo>
                    <a:pt x="117464" y="24184"/>
                  </a:lnTo>
                  <a:lnTo>
                    <a:pt x="165737" y="0"/>
                  </a:lnTo>
                  <a:lnTo>
                    <a:pt x="176102" y="10364"/>
                  </a:lnTo>
                  <a:lnTo>
                    <a:pt x="200286" y="13819"/>
                  </a:lnTo>
                  <a:lnTo>
                    <a:pt x="203740" y="20729"/>
                  </a:lnTo>
                  <a:lnTo>
                    <a:pt x="203740" y="48367"/>
                  </a:lnTo>
                  <a:lnTo>
                    <a:pt x="248653" y="48367"/>
                  </a:lnTo>
                  <a:lnTo>
                    <a:pt x="272743" y="93280"/>
                  </a:lnTo>
                  <a:lnTo>
                    <a:pt x="307291" y="114009"/>
                  </a:lnTo>
                  <a:lnTo>
                    <a:pt x="345294" y="141647"/>
                  </a:lnTo>
                  <a:lnTo>
                    <a:pt x="366023" y="145102"/>
                  </a:lnTo>
                  <a:lnTo>
                    <a:pt x="383203" y="155560"/>
                  </a:lnTo>
                  <a:lnTo>
                    <a:pt x="383203" y="169379"/>
                  </a:lnTo>
                  <a:lnTo>
                    <a:pt x="362568" y="169379"/>
                  </a:lnTo>
                  <a:lnTo>
                    <a:pt x="334930" y="179743"/>
                  </a:lnTo>
                  <a:lnTo>
                    <a:pt x="314201" y="210837"/>
                  </a:lnTo>
                  <a:lnTo>
                    <a:pt x="293472" y="217746"/>
                  </a:lnTo>
                  <a:lnTo>
                    <a:pt x="276198" y="238475"/>
                  </a:lnTo>
                  <a:lnTo>
                    <a:pt x="258924" y="231566"/>
                  </a:lnTo>
                  <a:lnTo>
                    <a:pt x="238289" y="231566"/>
                  </a:lnTo>
                  <a:lnTo>
                    <a:pt x="234834" y="193563"/>
                  </a:lnTo>
                  <a:lnTo>
                    <a:pt x="217559" y="190108"/>
                  </a:lnTo>
                  <a:lnTo>
                    <a:pt x="117464" y="145102"/>
                  </a:lnTo>
                  <a:lnTo>
                    <a:pt x="72551" y="152105"/>
                  </a:lnTo>
                  <a:lnTo>
                    <a:pt x="34548" y="179743"/>
                  </a:lnTo>
                  <a:close/>
                </a:path>
              </a:pathLst>
            </a:custGeom>
            <a:solidFill>
              <a:srgbClr val="CEE3BF"/>
            </a:solidFill>
            <a:ln w="9334" cap="flat">
              <a:noFill/>
              <a:prstDash val="solid"/>
              <a:miter/>
            </a:ln>
          </p:spPr>
          <p:txBody>
            <a:bodyPr rtlCol="0" anchor="ctr"/>
            <a:lstStyle/>
            <a:p>
              <a:endParaRPr lang="en-GB" dirty="0"/>
            </a:p>
          </p:txBody>
        </p:sp>
        <p:sp>
          <p:nvSpPr>
            <p:cNvPr id="1090" name="Freeform: Shape 1089">
              <a:extLst>
                <a:ext uri="{FF2B5EF4-FFF2-40B4-BE49-F238E27FC236}">
                  <a16:creationId xmlns:a16="http://schemas.microsoft.com/office/drawing/2014/main" id="{B3D904BD-9DCE-4AA8-9BDB-D9B79F8C7DA3}"/>
                </a:ext>
              </a:extLst>
            </p:cNvPr>
            <p:cNvSpPr/>
            <p:nvPr/>
          </p:nvSpPr>
          <p:spPr>
            <a:xfrm>
              <a:off x="7281489" y="3278368"/>
              <a:ext cx="383203" cy="238475"/>
            </a:xfrm>
            <a:custGeom>
              <a:avLst/>
              <a:gdLst>
                <a:gd name="connsiteX0" fmla="*/ 34548 w 383203"/>
                <a:gd name="connsiteY0" fmla="*/ 179743 h 238475"/>
                <a:gd name="connsiteX1" fmla="*/ 31093 w 383203"/>
                <a:gd name="connsiteY1" fmla="*/ 138192 h 238475"/>
                <a:gd name="connsiteX2" fmla="*/ 41458 w 383203"/>
                <a:gd name="connsiteY2" fmla="*/ 124373 h 238475"/>
                <a:gd name="connsiteX3" fmla="*/ 20729 w 383203"/>
                <a:gd name="connsiteY3" fmla="*/ 96735 h 238475"/>
                <a:gd name="connsiteX4" fmla="*/ 13819 w 383203"/>
                <a:gd name="connsiteY4" fmla="*/ 86370 h 238475"/>
                <a:gd name="connsiteX5" fmla="*/ 0 w 383203"/>
                <a:gd name="connsiteY5" fmla="*/ 89825 h 238475"/>
                <a:gd name="connsiteX6" fmla="*/ 0 w 383203"/>
                <a:gd name="connsiteY6" fmla="*/ 76006 h 238475"/>
                <a:gd name="connsiteX7" fmla="*/ 10364 w 383203"/>
                <a:gd name="connsiteY7" fmla="*/ 62187 h 238475"/>
                <a:gd name="connsiteX8" fmla="*/ 20729 w 383203"/>
                <a:gd name="connsiteY8" fmla="*/ 69096 h 238475"/>
                <a:gd name="connsiteX9" fmla="*/ 48367 w 383203"/>
                <a:gd name="connsiteY9" fmla="*/ 69096 h 238475"/>
                <a:gd name="connsiteX10" fmla="*/ 58732 w 383203"/>
                <a:gd name="connsiteY10" fmla="*/ 55277 h 238475"/>
                <a:gd name="connsiteX11" fmla="*/ 44912 w 383203"/>
                <a:gd name="connsiteY11" fmla="*/ 41458 h 238475"/>
                <a:gd name="connsiteX12" fmla="*/ 34548 w 383203"/>
                <a:gd name="connsiteY12" fmla="*/ 27639 h 238475"/>
                <a:gd name="connsiteX13" fmla="*/ 24184 w 383203"/>
                <a:gd name="connsiteY13" fmla="*/ 17274 h 238475"/>
                <a:gd name="connsiteX14" fmla="*/ 6910 w 383203"/>
                <a:gd name="connsiteY14" fmla="*/ 24184 h 238475"/>
                <a:gd name="connsiteX15" fmla="*/ 3455 w 383203"/>
                <a:gd name="connsiteY15" fmla="*/ 48367 h 238475"/>
                <a:gd name="connsiteX16" fmla="*/ 0 w 383203"/>
                <a:gd name="connsiteY16" fmla="*/ 38003 h 238475"/>
                <a:gd name="connsiteX17" fmla="*/ 0 w 383203"/>
                <a:gd name="connsiteY17" fmla="*/ 20729 h 238475"/>
                <a:gd name="connsiteX18" fmla="*/ 17274 w 383203"/>
                <a:gd name="connsiteY18" fmla="*/ 10364 h 238475"/>
                <a:gd name="connsiteX19" fmla="*/ 41458 w 383203"/>
                <a:gd name="connsiteY19" fmla="*/ 6910 h 238475"/>
                <a:gd name="connsiteX20" fmla="*/ 62186 w 383203"/>
                <a:gd name="connsiteY20" fmla="*/ 20729 h 238475"/>
                <a:gd name="connsiteX21" fmla="*/ 76006 w 383203"/>
                <a:gd name="connsiteY21" fmla="*/ 44913 h 238475"/>
                <a:gd name="connsiteX22" fmla="*/ 93280 w 383203"/>
                <a:gd name="connsiteY22" fmla="*/ 48367 h 238475"/>
                <a:gd name="connsiteX23" fmla="*/ 117464 w 383203"/>
                <a:gd name="connsiteY23" fmla="*/ 44913 h 238475"/>
                <a:gd name="connsiteX24" fmla="*/ 117464 w 383203"/>
                <a:gd name="connsiteY24" fmla="*/ 24184 h 238475"/>
                <a:gd name="connsiteX25" fmla="*/ 165737 w 383203"/>
                <a:gd name="connsiteY25" fmla="*/ 0 h 238475"/>
                <a:gd name="connsiteX26" fmla="*/ 176102 w 383203"/>
                <a:gd name="connsiteY26" fmla="*/ 10364 h 238475"/>
                <a:gd name="connsiteX27" fmla="*/ 200286 w 383203"/>
                <a:gd name="connsiteY27" fmla="*/ 13819 h 238475"/>
                <a:gd name="connsiteX28" fmla="*/ 203740 w 383203"/>
                <a:gd name="connsiteY28" fmla="*/ 20729 h 238475"/>
                <a:gd name="connsiteX29" fmla="*/ 203740 w 383203"/>
                <a:gd name="connsiteY29" fmla="*/ 48367 h 238475"/>
                <a:gd name="connsiteX30" fmla="*/ 248653 w 383203"/>
                <a:gd name="connsiteY30" fmla="*/ 48367 h 238475"/>
                <a:gd name="connsiteX31" fmla="*/ 272743 w 383203"/>
                <a:gd name="connsiteY31" fmla="*/ 93280 h 238475"/>
                <a:gd name="connsiteX32" fmla="*/ 307291 w 383203"/>
                <a:gd name="connsiteY32" fmla="*/ 114009 h 238475"/>
                <a:gd name="connsiteX33" fmla="*/ 345294 w 383203"/>
                <a:gd name="connsiteY33" fmla="*/ 141647 h 238475"/>
                <a:gd name="connsiteX34" fmla="*/ 366023 w 383203"/>
                <a:gd name="connsiteY34" fmla="*/ 145102 h 238475"/>
                <a:gd name="connsiteX35" fmla="*/ 383203 w 383203"/>
                <a:gd name="connsiteY35" fmla="*/ 155560 h 238475"/>
                <a:gd name="connsiteX36" fmla="*/ 383203 w 383203"/>
                <a:gd name="connsiteY36" fmla="*/ 169379 h 238475"/>
                <a:gd name="connsiteX37" fmla="*/ 362568 w 383203"/>
                <a:gd name="connsiteY37" fmla="*/ 169379 h 238475"/>
                <a:gd name="connsiteX38" fmla="*/ 334930 w 383203"/>
                <a:gd name="connsiteY38" fmla="*/ 179743 h 238475"/>
                <a:gd name="connsiteX39" fmla="*/ 314201 w 383203"/>
                <a:gd name="connsiteY39" fmla="*/ 210837 h 238475"/>
                <a:gd name="connsiteX40" fmla="*/ 293472 w 383203"/>
                <a:gd name="connsiteY40" fmla="*/ 217746 h 238475"/>
                <a:gd name="connsiteX41" fmla="*/ 276198 w 383203"/>
                <a:gd name="connsiteY41" fmla="*/ 238475 h 238475"/>
                <a:gd name="connsiteX42" fmla="*/ 258924 w 383203"/>
                <a:gd name="connsiteY42" fmla="*/ 231566 h 238475"/>
                <a:gd name="connsiteX43" fmla="*/ 238289 w 383203"/>
                <a:gd name="connsiteY43" fmla="*/ 231566 h 238475"/>
                <a:gd name="connsiteX44" fmla="*/ 234834 w 383203"/>
                <a:gd name="connsiteY44" fmla="*/ 193563 h 238475"/>
                <a:gd name="connsiteX45" fmla="*/ 217559 w 383203"/>
                <a:gd name="connsiteY45" fmla="*/ 190108 h 238475"/>
                <a:gd name="connsiteX46" fmla="*/ 117464 w 383203"/>
                <a:gd name="connsiteY46" fmla="*/ 145102 h 238475"/>
                <a:gd name="connsiteX47" fmla="*/ 72551 w 383203"/>
                <a:gd name="connsiteY47" fmla="*/ 152105 h 238475"/>
                <a:gd name="connsiteX48" fmla="*/ 34548 w 383203"/>
                <a:gd name="connsiteY48" fmla="*/ 179743 h 23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83203" h="238475">
                  <a:moveTo>
                    <a:pt x="34548" y="179743"/>
                  </a:moveTo>
                  <a:lnTo>
                    <a:pt x="31093" y="138192"/>
                  </a:lnTo>
                  <a:lnTo>
                    <a:pt x="41458" y="124373"/>
                  </a:lnTo>
                  <a:lnTo>
                    <a:pt x="20729" y="96735"/>
                  </a:lnTo>
                  <a:lnTo>
                    <a:pt x="13819" y="86370"/>
                  </a:lnTo>
                  <a:lnTo>
                    <a:pt x="0" y="89825"/>
                  </a:lnTo>
                  <a:lnTo>
                    <a:pt x="0" y="76006"/>
                  </a:lnTo>
                  <a:lnTo>
                    <a:pt x="10364" y="62187"/>
                  </a:lnTo>
                  <a:lnTo>
                    <a:pt x="20729" y="69096"/>
                  </a:lnTo>
                  <a:lnTo>
                    <a:pt x="48367" y="69096"/>
                  </a:lnTo>
                  <a:lnTo>
                    <a:pt x="58732" y="55277"/>
                  </a:lnTo>
                  <a:lnTo>
                    <a:pt x="44912" y="41458"/>
                  </a:lnTo>
                  <a:lnTo>
                    <a:pt x="34548" y="27639"/>
                  </a:lnTo>
                  <a:lnTo>
                    <a:pt x="24184" y="17274"/>
                  </a:lnTo>
                  <a:lnTo>
                    <a:pt x="6910" y="24184"/>
                  </a:lnTo>
                  <a:lnTo>
                    <a:pt x="3455" y="48367"/>
                  </a:lnTo>
                  <a:lnTo>
                    <a:pt x="0" y="38003"/>
                  </a:lnTo>
                  <a:lnTo>
                    <a:pt x="0" y="20729"/>
                  </a:lnTo>
                  <a:lnTo>
                    <a:pt x="17274" y="10364"/>
                  </a:lnTo>
                  <a:lnTo>
                    <a:pt x="41458" y="6910"/>
                  </a:lnTo>
                  <a:lnTo>
                    <a:pt x="62186" y="20729"/>
                  </a:lnTo>
                  <a:lnTo>
                    <a:pt x="76006" y="44913"/>
                  </a:lnTo>
                  <a:lnTo>
                    <a:pt x="93280" y="48367"/>
                  </a:lnTo>
                  <a:lnTo>
                    <a:pt x="117464" y="44913"/>
                  </a:lnTo>
                  <a:lnTo>
                    <a:pt x="117464" y="24184"/>
                  </a:lnTo>
                  <a:lnTo>
                    <a:pt x="165737" y="0"/>
                  </a:lnTo>
                  <a:lnTo>
                    <a:pt x="176102" y="10364"/>
                  </a:lnTo>
                  <a:lnTo>
                    <a:pt x="200286" y="13819"/>
                  </a:lnTo>
                  <a:lnTo>
                    <a:pt x="203740" y="20729"/>
                  </a:lnTo>
                  <a:lnTo>
                    <a:pt x="203740" y="48367"/>
                  </a:lnTo>
                  <a:lnTo>
                    <a:pt x="248653" y="48367"/>
                  </a:lnTo>
                  <a:lnTo>
                    <a:pt x="272743" y="93280"/>
                  </a:lnTo>
                  <a:lnTo>
                    <a:pt x="307291" y="114009"/>
                  </a:lnTo>
                  <a:lnTo>
                    <a:pt x="345294" y="141647"/>
                  </a:lnTo>
                  <a:lnTo>
                    <a:pt x="366023" y="145102"/>
                  </a:lnTo>
                  <a:lnTo>
                    <a:pt x="383203" y="155560"/>
                  </a:lnTo>
                  <a:lnTo>
                    <a:pt x="383203" y="169379"/>
                  </a:lnTo>
                  <a:lnTo>
                    <a:pt x="362568" y="169379"/>
                  </a:lnTo>
                  <a:lnTo>
                    <a:pt x="334930" y="179743"/>
                  </a:lnTo>
                  <a:lnTo>
                    <a:pt x="314201" y="210837"/>
                  </a:lnTo>
                  <a:lnTo>
                    <a:pt x="293472" y="217746"/>
                  </a:lnTo>
                  <a:lnTo>
                    <a:pt x="276198" y="238475"/>
                  </a:lnTo>
                  <a:lnTo>
                    <a:pt x="258924" y="231566"/>
                  </a:lnTo>
                  <a:lnTo>
                    <a:pt x="238289" y="231566"/>
                  </a:lnTo>
                  <a:lnTo>
                    <a:pt x="234834" y="193563"/>
                  </a:lnTo>
                  <a:lnTo>
                    <a:pt x="217559" y="190108"/>
                  </a:lnTo>
                  <a:lnTo>
                    <a:pt x="117464" y="145102"/>
                  </a:lnTo>
                  <a:lnTo>
                    <a:pt x="72551" y="152105"/>
                  </a:lnTo>
                  <a:lnTo>
                    <a:pt x="34548" y="179743"/>
                  </a:lnTo>
                  <a:close/>
                </a:path>
              </a:pathLst>
            </a:custGeom>
            <a:solidFill>
              <a:srgbClr val="CEE3BF"/>
            </a:solidFill>
            <a:ln w="9334" cap="flat">
              <a:noFill/>
              <a:prstDash val="solid"/>
              <a:miter/>
            </a:ln>
          </p:spPr>
          <p:txBody>
            <a:bodyPr rtlCol="0" anchor="ctr"/>
            <a:lstStyle/>
            <a:p>
              <a:endParaRPr lang="en-GB" dirty="0"/>
            </a:p>
          </p:txBody>
        </p:sp>
        <p:sp>
          <p:nvSpPr>
            <p:cNvPr id="1091" name="Freeform: Shape 1090">
              <a:extLst>
                <a:ext uri="{FF2B5EF4-FFF2-40B4-BE49-F238E27FC236}">
                  <a16:creationId xmlns:a16="http://schemas.microsoft.com/office/drawing/2014/main" id="{D4DFF940-C6DF-40D3-AA9B-FFE93B0852B6}"/>
                </a:ext>
              </a:extLst>
            </p:cNvPr>
            <p:cNvSpPr/>
            <p:nvPr/>
          </p:nvSpPr>
          <p:spPr>
            <a:xfrm>
              <a:off x="7685422" y="3337100"/>
              <a:ext cx="203740" cy="131376"/>
            </a:xfrm>
            <a:custGeom>
              <a:avLst/>
              <a:gdLst>
                <a:gd name="connsiteX0" fmla="*/ 41458 w 203740"/>
                <a:gd name="connsiteY0" fmla="*/ 24184 h 131376"/>
                <a:gd name="connsiteX1" fmla="*/ 55277 w 203740"/>
                <a:gd name="connsiteY1" fmla="*/ 17274 h 131376"/>
                <a:gd name="connsiteX2" fmla="*/ 62186 w 203740"/>
                <a:gd name="connsiteY2" fmla="*/ 3455 h 131376"/>
                <a:gd name="connsiteX3" fmla="*/ 82915 w 203740"/>
                <a:gd name="connsiteY3" fmla="*/ 0 h 131376"/>
                <a:gd name="connsiteX4" fmla="*/ 93280 w 203740"/>
                <a:gd name="connsiteY4" fmla="*/ 3455 h 131376"/>
                <a:gd name="connsiteX5" fmla="*/ 89825 w 203740"/>
                <a:gd name="connsiteY5" fmla="*/ 13819 h 131376"/>
                <a:gd name="connsiteX6" fmla="*/ 86370 w 203740"/>
                <a:gd name="connsiteY6" fmla="*/ 24184 h 131376"/>
                <a:gd name="connsiteX7" fmla="*/ 89825 w 203740"/>
                <a:gd name="connsiteY7" fmla="*/ 34548 h 131376"/>
                <a:gd name="connsiteX8" fmla="*/ 93280 w 203740"/>
                <a:gd name="connsiteY8" fmla="*/ 48367 h 131376"/>
                <a:gd name="connsiteX9" fmla="*/ 113915 w 203740"/>
                <a:gd name="connsiteY9" fmla="*/ 48367 h 131376"/>
                <a:gd name="connsiteX10" fmla="*/ 138099 w 203740"/>
                <a:gd name="connsiteY10" fmla="*/ 51822 h 131376"/>
                <a:gd name="connsiteX11" fmla="*/ 172647 w 203740"/>
                <a:gd name="connsiteY11" fmla="*/ 51822 h 131376"/>
                <a:gd name="connsiteX12" fmla="*/ 169192 w 203740"/>
                <a:gd name="connsiteY12" fmla="*/ 62187 h 131376"/>
                <a:gd name="connsiteX13" fmla="*/ 172647 w 203740"/>
                <a:gd name="connsiteY13" fmla="*/ 76006 h 131376"/>
                <a:gd name="connsiteX14" fmla="*/ 183011 w 203740"/>
                <a:gd name="connsiteY14" fmla="*/ 79461 h 131376"/>
                <a:gd name="connsiteX15" fmla="*/ 203740 w 203740"/>
                <a:gd name="connsiteY15" fmla="*/ 76006 h 131376"/>
                <a:gd name="connsiteX16" fmla="*/ 203740 w 203740"/>
                <a:gd name="connsiteY16" fmla="*/ 110647 h 131376"/>
                <a:gd name="connsiteX17" fmla="*/ 155373 w 203740"/>
                <a:gd name="connsiteY17" fmla="*/ 110647 h 131376"/>
                <a:gd name="connsiteX18" fmla="*/ 138099 w 203740"/>
                <a:gd name="connsiteY18" fmla="*/ 121012 h 131376"/>
                <a:gd name="connsiteX19" fmla="*/ 110461 w 203740"/>
                <a:gd name="connsiteY19" fmla="*/ 131376 h 131376"/>
                <a:gd name="connsiteX20" fmla="*/ 110461 w 203740"/>
                <a:gd name="connsiteY20" fmla="*/ 121012 h 131376"/>
                <a:gd name="connsiteX21" fmla="*/ 113915 w 203740"/>
                <a:gd name="connsiteY21" fmla="*/ 107192 h 131376"/>
                <a:gd name="connsiteX22" fmla="*/ 110461 w 203740"/>
                <a:gd name="connsiteY22" fmla="*/ 86370 h 131376"/>
                <a:gd name="connsiteX23" fmla="*/ 96735 w 203740"/>
                <a:gd name="connsiteY23" fmla="*/ 76006 h 131376"/>
                <a:gd name="connsiteX24" fmla="*/ 79461 w 203740"/>
                <a:gd name="connsiteY24" fmla="*/ 103738 h 131376"/>
                <a:gd name="connsiteX25" fmla="*/ 65641 w 203740"/>
                <a:gd name="connsiteY25" fmla="*/ 107192 h 131376"/>
                <a:gd name="connsiteX26" fmla="*/ 31093 w 203740"/>
                <a:gd name="connsiteY26" fmla="*/ 127921 h 131376"/>
                <a:gd name="connsiteX27" fmla="*/ 13819 w 203740"/>
                <a:gd name="connsiteY27" fmla="*/ 121012 h 131376"/>
                <a:gd name="connsiteX28" fmla="*/ 13819 w 203740"/>
                <a:gd name="connsiteY28" fmla="*/ 107192 h 131376"/>
                <a:gd name="connsiteX29" fmla="*/ 27638 w 203740"/>
                <a:gd name="connsiteY29" fmla="*/ 89918 h 131376"/>
                <a:gd name="connsiteX30" fmla="*/ 17274 w 203740"/>
                <a:gd name="connsiteY30" fmla="*/ 86370 h 131376"/>
                <a:gd name="connsiteX31" fmla="*/ 20729 w 203740"/>
                <a:gd name="connsiteY31" fmla="*/ 62187 h 131376"/>
                <a:gd name="connsiteX32" fmla="*/ 0 w 203740"/>
                <a:gd name="connsiteY32" fmla="*/ 62187 h 131376"/>
                <a:gd name="connsiteX33" fmla="*/ 0 w 203740"/>
                <a:gd name="connsiteY33" fmla="*/ 44912 h 131376"/>
                <a:gd name="connsiteX34" fmla="*/ 34548 w 203740"/>
                <a:gd name="connsiteY34" fmla="*/ 44912 h 131376"/>
                <a:gd name="connsiteX35" fmla="*/ 31093 w 203740"/>
                <a:gd name="connsiteY35" fmla="*/ 20729 h 131376"/>
                <a:gd name="connsiteX36" fmla="*/ 41458 w 203740"/>
                <a:gd name="connsiteY36" fmla="*/ 24184 h 13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3740" h="131376">
                  <a:moveTo>
                    <a:pt x="41458" y="24184"/>
                  </a:moveTo>
                  <a:lnTo>
                    <a:pt x="55277" y="17274"/>
                  </a:lnTo>
                  <a:lnTo>
                    <a:pt x="62186" y="3455"/>
                  </a:lnTo>
                  <a:lnTo>
                    <a:pt x="82915" y="0"/>
                  </a:lnTo>
                  <a:lnTo>
                    <a:pt x="93280" y="3455"/>
                  </a:lnTo>
                  <a:lnTo>
                    <a:pt x="89825" y="13819"/>
                  </a:lnTo>
                  <a:lnTo>
                    <a:pt x="86370" y="24184"/>
                  </a:lnTo>
                  <a:lnTo>
                    <a:pt x="89825" y="34548"/>
                  </a:lnTo>
                  <a:lnTo>
                    <a:pt x="93280" y="48367"/>
                  </a:lnTo>
                  <a:lnTo>
                    <a:pt x="113915" y="48367"/>
                  </a:lnTo>
                  <a:lnTo>
                    <a:pt x="138099" y="51822"/>
                  </a:lnTo>
                  <a:lnTo>
                    <a:pt x="172647" y="51822"/>
                  </a:lnTo>
                  <a:lnTo>
                    <a:pt x="169192" y="62187"/>
                  </a:lnTo>
                  <a:lnTo>
                    <a:pt x="172647" y="76006"/>
                  </a:lnTo>
                  <a:lnTo>
                    <a:pt x="183011" y="79461"/>
                  </a:lnTo>
                  <a:lnTo>
                    <a:pt x="203740" y="76006"/>
                  </a:lnTo>
                  <a:lnTo>
                    <a:pt x="203740" y="110647"/>
                  </a:lnTo>
                  <a:lnTo>
                    <a:pt x="155373" y="110647"/>
                  </a:lnTo>
                  <a:lnTo>
                    <a:pt x="138099" y="121012"/>
                  </a:lnTo>
                  <a:lnTo>
                    <a:pt x="110461" y="131376"/>
                  </a:lnTo>
                  <a:lnTo>
                    <a:pt x="110461" y="121012"/>
                  </a:lnTo>
                  <a:lnTo>
                    <a:pt x="113915" y="107192"/>
                  </a:lnTo>
                  <a:lnTo>
                    <a:pt x="110461" y="86370"/>
                  </a:lnTo>
                  <a:lnTo>
                    <a:pt x="96735" y="76006"/>
                  </a:lnTo>
                  <a:lnTo>
                    <a:pt x="79461" y="103738"/>
                  </a:lnTo>
                  <a:lnTo>
                    <a:pt x="65641" y="107192"/>
                  </a:lnTo>
                  <a:lnTo>
                    <a:pt x="31093" y="127921"/>
                  </a:lnTo>
                  <a:lnTo>
                    <a:pt x="13819" y="121012"/>
                  </a:lnTo>
                  <a:lnTo>
                    <a:pt x="13819" y="107192"/>
                  </a:lnTo>
                  <a:lnTo>
                    <a:pt x="27638" y="89918"/>
                  </a:lnTo>
                  <a:lnTo>
                    <a:pt x="17274" y="86370"/>
                  </a:lnTo>
                  <a:lnTo>
                    <a:pt x="20729" y="62187"/>
                  </a:lnTo>
                  <a:lnTo>
                    <a:pt x="0" y="62187"/>
                  </a:lnTo>
                  <a:lnTo>
                    <a:pt x="0" y="44912"/>
                  </a:lnTo>
                  <a:lnTo>
                    <a:pt x="34548" y="44912"/>
                  </a:lnTo>
                  <a:lnTo>
                    <a:pt x="31093" y="20729"/>
                  </a:lnTo>
                  <a:lnTo>
                    <a:pt x="41458" y="24184"/>
                  </a:lnTo>
                  <a:close/>
                </a:path>
              </a:pathLst>
            </a:custGeom>
            <a:solidFill>
              <a:srgbClr val="CEE3BF"/>
            </a:solidFill>
            <a:ln w="9334" cap="flat">
              <a:noFill/>
              <a:prstDash val="solid"/>
              <a:miter/>
            </a:ln>
          </p:spPr>
          <p:txBody>
            <a:bodyPr rtlCol="0" anchor="ctr"/>
            <a:lstStyle/>
            <a:p>
              <a:endParaRPr lang="en-GB" dirty="0"/>
            </a:p>
          </p:txBody>
        </p:sp>
        <p:sp>
          <p:nvSpPr>
            <p:cNvPr id="1092" name="Freeform: Shape 1091">
              <a:extLst>
                <a:ext uri="{FF2B5EF4-FFF2-40B4-BE49-F238E27FC236}">
                  <a16:creationId xmlns:a16="http://schemas.microsoft.com/office/drawing/2014/main" id="{CE0CE898-CE26-4DFA-BD4E-2C5BC0FC51EA}"/>
                </a:ext>
              </a:extLst>
            </p:cNvPr>
            <p:cNvSpPr/>
            <p:nvPr/>
          </p:nvSpPr>
          <p:spPr>
            <a:xfrm>
              <a:off x="7374769" y="3184995"/>
              <a:ext cx="459115" cy="273116"/>
            </a:xfrm>
            <a:custGeom>
              <a:avLst/>
              <a:gdLst>
                <a:gd name="connsiteX0" fmla="*/ 0 w 459115"/>
                <a:gd name="connsiteY0" fmla="*/ 141741 h 273116"/>
                <a:gd name="connsiteX1" fmla="*/ 0 w 459115"/>
                <a:gd name="connsiteY1" fmla="*/ 13819 h 273116"/>
                <a:gd name="connsiteX2" fmla="*/ 31000 w 459115"/>
                <a:gd name="connsiteY2" fmla="*/ 6910 h 273116"/>
                <a:gd name="connsiteX3" fmla="*/ 79367 w 459115"/>
                <a:gd name="connsiteY3" fmla="*/ 0 h 273116"/>
                <a:gd name="connsiteX4" fmla="*/ 93186 w 459115"/>
                <a:gd name="connsiteY4" fmla="*/ 10364 h 273116"/>
                <a:gd name="connsiteX5" fmla="*/ 120825 w 459115"/>
                <a:gd name="connsiteY5" fmla="*/ 27639 h 273116"/>
                <a:gd name="connsiteX6" fmla="*/ 138099 w 459115"/>
                <a:gd name="connsiteY6" fmla="*/ 34548 h 273116"/>
                <a:gd name="connsiteX7" fmla="*/ 162189 w 459115"/>
                <a:gd name="connsiteY7" fmla="*/ 65641 h 273116"/>
                <a:gd name="connsiteX8" fmla="*/ 227831 w 459115"/>
                <a:gd name="connsiteY8" fmla="*/ 62187 h 273116"/>
                <a:gd name="connsiteX9" fmla="*/ 241650 w 459115"/>
                <a:gd name="connsiteY9" fmla="*/ 58732 h 273116"/>
                <a:gd name="connsiteX10" fmla="*/ 272743 w 459115"/>
                <a:gd name="connsiteY10" fmla="*/ 89918 h 273116"/>
                <a:gd name="connsiteX11" fmla="*/ 272743 w 459115"/>
                <a:gd name="connsiteY11" fmla="*/ 103738 h 273116"/>
                <a:gd name="connsiteX12" fmla="*/ 289924 w 459115"/>
                <a:gd name="connsiteY12" fmla="*/ 117557 h 273116"/>
                <a:gd name="connsiteX13" fmla="*/ 293378 w 459115"/>
                <a:gd name="connsiteY13" fmla="*/ 145195 h 273116"/>
                <a:gd name="connsiteX14" fmla="*/ 324472 w 459115"/>
                <a:gd name="connsiteY14" fmla="*/ 141741 h 273116"/>
                <a:gd name="connsiteX15" fmla="*/ 331381 w 459115"/>
                <a:gd name="connsiteY15" fmla="*/ 145195 h 273116"/>
                <a:gd name="connsiteX16" fmla="*/ 331381 w 459115"/>
                <a:gd name="connsiteY16" fmla="*/ 162469 h 273116"/>
                <a:gd name="connsiteX17" fmla="*/ 345201 w 459115"/>
                <a:gd name="connsiteY17" fmla="*/ 162469 h 273116"/>
                <a:gd name="connsiteX18" fmla="*/ 348656 w 459115"/>
                <a:gd name="connsiteY18" fmla="*/ 145195 h 273116"/>
                <a:gd name="connsiteX19" fmla="*/ 369384 w 459115"/>
                <a:gd name="connsiteY19" fmla="*/ 127921 h 273116"/>
                <a:gd name="connsiteX20" fmla="*/ 403933 w 459115"/>
                <a:gd name="connsiteY20" fmla="*/ 107193 h 273116"/>
                <a:gd name="connsiteX21" fmla="*/ 397023 w 459115"/>
                <a:gd name="connsiteY21" fmla="*/ 124466 h 273116"/>
                <a:gd name="connsiteX22" fmla="*/ 393568 w 459115"/>
                <a:gd name="connsiteY22" fmla="*/ 131376 h 273116"/>
                <a:gd name="connsiteX23" fmla="*/ 407387 w 459115"/>
                <a:gd name="connsiteY23" fmla="*/ 138286 h 273116"/>
                <a:gd name="connsiteX24" fmla="*/ 428116 w 459115"/>
                <a:gd name="connsiteY24" fmla="*/ 131376 h 273116"/>
                <a:gd name="connsiteX25" fmla="*/ 445297 w 459115"/>
                <a:gd name="connsiteY25" fmla="*/ 141741 h 273116"/>
                <a:gd name="connsiteX26" fmla="*/ 459116 w 459115"/>
                <a:gd name="connsiteY26" fmla="*/ 155560 h 273116"/>
                <a:gd name="connsiteX27" fmla="*/ 445297 w 459115"/>
                <a:gd name="connsiteY27" fmla="*/ 169379 h 273116"/>
                <a:gd name="connsiteX28" fmla="*/ 428116 w 459115"/>
                <a:gd name="connsiteY28" fmla="*/ 176289 h 273116"/>
                <a:gd name="connsiteX29" fmla="*/ 407387 w 459115"/>
                <a:gd name="connsiteY29" fmla="*/ 176289 h 273116"/>
                <a:gd name="connsiteX30" fmla="*/ 400478 w 459115"/>
                <a:gd name="connsiteY30" fmla="*/ 169379 h 273116"/>
                <a:gd name="connsiteX31" fmla="*/ 403933 w 459115"/>
                <a:gd name="connsiteY31" fmla="*/ 155560 h 273116"/>
                <a:gd name="connsiteX32" fmla="*/ 393568 w 459115"/>
                <a:gd name="connsiteY32" fmla="*/ 152105 h 273116"/>
                <a:gd name="connsiteX33" fmla="*/ 372839 w 459115"/>
                <a:gd name="connsiteY33" fmla="*/ 155560 h 273116"/>
                <a:gd name="connsiteX34" fmla="*/ 365930 w 459115"/>
                <a:gd name="connsiteY34" fmla="*/ 169379 h 273116"/>
                <a:gd name="connsiteX35" fmla="*/ 352111 w 459115"/>
                <a:gd name="connsiteY35" fmla="*/ 176289 h 273116"/>
                <a:gd name="connsiteX36" fmla="*/ 341746 w 459115"/>
                <a:gd name="connsiteY36" fmla="*/ 172834 h 273116"/>
                <a:gd name="connsiteX37" fmla="*/ 345201 w 459115"/>
                <a:gd name="connsiteY37" fmla="*/ 197018 h 273116"/>
                <a:gd name="connsiteX38" fmla="*/ 310653 w 459115"/>
                <a:gd name="connsiteY38" fmla="*/ 197018 h 273116"/>
                <a:gd name="connsiteX39" fmla="*/ 310653 w 459115"/>
                <a:gd name="connsiteY39" fmla="*/ 214292 h 273116"/>
                <a:gd name="connsiteX40" fmla="*/ 331381 w 459115"/>
                <a:gd name="connsiteY40" fmla="*/ 214292 h 273116"/>
                <a:gd name="connsiteX41" fmla="*/ 327927 w 459115"/>
                <a:gd name="connsiteY41" fmla="*/ 238475 h 273116"/>
                <a:gd name="connsiteX42" fmla="*/ 338291 w 459115"/>
                <a:gd name="connsiteY42" fmla="*/ 242023 h 273116"/>
                <a:gd name="connsiteX43" fmla="*/ 324472 w 459115"/>
                <a:gd name="connsiteY43" fmla="*/ 259297 h 273116"/>
                <a:gd name="connsiteX44" fmla="*/ 324472 w 459115"/>
                <a:gd name="connsiteY44" fmla="*/ 273117 h 273116"/>
                <a:gd name="connsiteX45" fmla="*/ 289924 w 459115"/>
                <a:gd name="connsiteY45" fmla="*/ 262752 h 273116"/>
                <a:gd name="connsiteX46" fmla="*/ 289924 w 459115"/>
                <a:gd name="connsiteY46" fmla="*/ 248933 h 273116"/>
                <a:gd name="connsiteX47" fmla="*/ 272743 w 459115"/>
                <a:gd name="connsiteY47" fmla="*/ 238475 h 273116"/>
                <a:gd name="connsiteX48" fmla="*/ 252014 w 459115"/>
                <a:gd name="connsiteY48" fmla="*/ 235020 h 273116"/>
                <a:gd name="connsiteX49" fmla="*/ 179464 w 459115"/>
                <a:gd name="connsiteY49" fmla="*/ 186653 h 273116"/>
                <a:gd name="connsiteX50" fmla="*/ 155373 w 459115"/>
                <a:gd name="connsiteY50" fmla="*/ 141741 h 273116"/>
                <a:gd name="connsiteX51" fmla="*/ 110461 w 459115"/>
                <a:gd name="connsiteY51" fmla="*/ 141741 h 273116"/>
                <a:gd name="connsiteX52" fmla="*/ 110461 w 459115"/>
                <a:gd name="connsiteY52" fmla="*/ 114102 h 273116"/>
                <a:gd name="connsiteX53" fmla="*/ 107006 w 459115"/>
                <a:gd name="connsiteY53" fmla="*/ 107193 h 273116"/>
                <a:gd name="connsiteX54" fmla="*/ 82822 w 459115"/>
                <a:gd name="connsiteY54" fmla="*/ 103738 h 273116"/>
                <a:gd name="connsiteX55" fmla="*/ 72458 w 459115"/>
                <a:gd name="connsiteY55" fmla="*/ 93373 h 273116"/>
                <a:gd name="connsiteX56" fmla="*/ 24090 w 459115"/>
                <a:gd name="connsiteY56" fmla="*/ 117557 h 273116"/>
                <a:gd name="connsiteX57" fmla="*/ 24090 w 459115"/>
                <a:gd name="connsiteY57" fmla="*/ 138286 h 273116"/>
                <a:gd name="connsiteX58" fmla="*/ 0 w 459115"/>
                <a:gd name="connsiteY58" fmla="*/ 141741 h 27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59115" h="273116">
                  <a:moveTo>
                    <a:pt x="0" y="141741"/>
                  </a:moveTo>
                  <a:lnTo>
                    <a:pt x="0" y="13819"/>
                  </a:lnTo>
                  <a:lnTo>
                    <a:pt x="31000" y="6910"/>
                  </a:lnTo>
                  <a:lnTo>
                    <a:pt x="79367" y="0"/>
                  </a:lnTo>
                  <a:lnTo>
                    <a:pt x="93186" y="10364"/>
                  </a:lnTo>
                  <a:lnTo>
                    <a:pt x="120825" y="27639"/>
                  </a:lnTo>
                  <a:lnTo>
                    <a:pt x="138099" y="34548"/>
                  </a:lnTo>
                  <a:lnTo>
                    <a:pt x="162189" y="65641"/>
                  </a:lnTo>
                  <a:lnTo>
                    <a:pt x="227831" y="62187"/>
                  </a:lnTo>
                  <a:lnTo>
                    <a:pt x="241650" y="58732"/>
                  </a:lnTo>
                  <a:lnTo>
                    <a:pt x="272743" y="89918"/>
                  </a:lnTo>
                  <a:lnTo>
                    <a:pt x="272743" y="103738"/>
                  </a:lnTo>
                  <a:lnTo>
                    <a:pt x="289924" y="117557"/>
                  </a:lnTo>
                  <a:lnTo>
                    <a:pt x="293378" y="145195"/>
                  </a:lnTo>
                  <a:lnTo>
                    <a:pt x="324472" y="141741"/>
                  </a:lnTo>
                  <a:lnTo>
                    <a:pt x="331381" y="145195"/>
                  </a:lnTo>
                  <a:lnTo>
                    <a:pt x="331381" y="162469"/>
                  </a:lnTo>
                  <a:lnTo>
                    <a:pt x="345201" y="162469"/>
                  </a:lnTo>
                  <a:lnTo>
                    <a:pt x="348656" y="145195"/>
                  </a:lnTo>
                  <a:lnTo>
                    <a:pt x="369384" y="127921"/>
                  </a:lnTo>
                  <a:lnTo>
                    <a:pt x="403933" y="107193"/>
                  </a:lnTo>
                  <a:lnTo>
                    <a:pt x="397023" y="124466"/>
                  </a:lnTo>
                  <a:lnTo>
                    <a:pt x="393568" y="131376"/>
                  </a:lnTo>
                  <a:lnTo>
                    <a:pt x="407387" y="138286"/>
                  </a:lnTo>
                  <a:lnTo>
                    <a:pt x="428116" y="131376"/>
                  </a:lnTo>
                  <a:lnTo>
                    <a:pt x="445297" y="141741"/>
                  </a:lnTo>
                  <a:lnTo>
                    <a:pt x="459116" y="155560"/>
                  </a:lnTo>
                  <a:lnTo>
                    <a:pt x="445297" y="169379"/>
                  </a:lnTo>
                  <a:lnTo>
                    <a:pt x="428116" y="176289"/>
                  </a:lnTo>
                  <a:lnTo>
                    <a:pt x="407387" y="176289"/>
                  </a:lnTo>
                  <a:lnTo>
                    <a:pt x="400478" y="169379"/>
                  </a:lnTo>
                  <a:lnTo>
                    <a:pt x="403933" y="155560"/>
                  </a:lnTo>
                  <a:lnTo>
                    <a:pt x="393568" y="152105"/>
                  </a:lnTo>
                  <a:lnTo>
                    <a:pt x="372839" y="155560"/>
                  </a:lnTo>
                  <a:lnTo>
                    <a:pt x="365930" y="169379"/>
                  </a:lnTo>
                  <a:lnTo>
                    <a:pt x="352111" y="176289"/>
                  </a:lnTo>
                  <a:lnTo>
                    <a:pt x="341746" y="172834"/>
                  </a:lnTo>
                  <a:lnTo>
                    <a:pt x="345201" y="197018"/>
                  </a:lnTo>
                  <a:lnTo>
                    <a:pt x="310653" y="197018"/>
                  </a:lnTo>
                  <a:lnTo>
                    <a:pt x="310653" y="214292"/>
                  </a:lnTo>
                  <a:lnTo>
                    <a:pt x="331381" y="214292"/>
                  </a:lnTo>
                  <a:lnTo>
                    <a:pt x="327927" y="238475"/>
                  </a:lnTo>
                  <a:lnTo>
                    <a:pt x="338291" y="242023"/>
                  </a:lnTo>
                  <a:lnTo>
                    <a:pt x="324472" y="259297"/>
                  </a:lnTo>
                  <a:lnTo>
                    <a:pt x="324472" y="273117"/>
                  </a:lnTo>
                  <a:lnTo>
                    <a:pt x="289924" y="262752"/>
                  </a:lnTo>
                  <a:lnTo>
                    <a:pt x="289924" y="248933"/>
                  </a:lnTo>
                  <a:lnTo>
                    <a:pt x="272743" y="238475"/>
                  </a:lnTo>
                  <a:lnTo>
                    <a:pt x="252014" y="235020"/>
                  </a:lnTo>
                  <a:lnTo>
                    <a:pt x="179464" y="186653"/>
                  </a:lnTo>
                  <a:lnTo>
                    <a:pt x="155373" y="141741"/>
                  </a:lnTo>
                  <a:lnTo>
                    <a:pt x="110461" y="141741"/>
                  </a:lnTo>
                  <a:lnTo>
                    <a:pt x="110461" y="114102"/>
                  </a:lnTo>
                  <a:lnTo>
                    <a:pt x="107006" y="107193"/>
                  </a:lnTo>
                  <a:lnTo>
                    <a:pt x="82822" y="103738"/>
                  </a:lnTo>
                  <a:lnTo>
                    <a:pt x="72458" y="93373"/>
                  </a:lnTo>
                  <a:lnTo>
                    <a:pt x="24090" y="117557"/>
                  </a:lnTo>
                  <a:lnTo>
                    <a:pt x="24090" y="138286"/>
                  </a:lnTo>
                  <a:lnTo>
                    <a:pt x="0" y="141741"/>
                  </a:lnTo>
                  <a:close/>
                </a:path>
              </a:pathLst>
            </a:custGeom>
            <a:solidFill>
              <a:srgbClr val="CEE3BF"/>
            </a:solidFill>
            <a:ln w="9334" cap="flat">
              <a:noFill/>
              <a:prstDash val="solid"/>
              <a:miter/>
            </a:ln>
          </p:spPr>
          <p:txBody>
            <a:bodyPr rtlCol="0" anchor="ctr"/>
            <a:lstStyle/>
            <a:p>
              <a:endParaRPr lang="en-GB" dirty="0"/>
            </a:p>
          </p:txBody>
        </p:sp>
        <p:sp>
          <p:nvSpPr>
            <p:cNvPr id="1093" name="Freeform: Shape 1092">
              <a:extLst>
                <a:ext uri="{FF2B5EF4-FFF2-40B4-BE49-F238E27FC236}">
                  <a16:creationId xmlns:a16="http://schemas.microsoft.com/office/drawing/2014/main" id="{A7F49C5A-0E09-45E1-9B0B-0FA8CB7C8266}"/>
                </a:ext>
              </a:extLst>
            </p:cNvPr>
            <p:cNvSpPr/>
            <p:nvPr/>
          </p:nvSpPr>
          <p:spPr>
            <a:xfrm>
              <a:off x="7768337" y="3257546"/>
              <a:ext cx="272742" cy="131376"/>
            </a:xfrm>
            <a:custGeom>
              <a:avLst/>
              <a:gdLst>
                <a:gd name="connsiteX0" fmla="*/ 10364 w 272742"/>
                <a:gd name="connsiteY0" fmla="*/ 34642 h 131376"/>
                <a:gd name="connsiteX1" fmla="*/ 27545 w 272742"/>
                <a:gd name="connsiteY1" fmla="*/ 13913 h 131376"/>
                <a:gd name="connsiteX2" fmla="*/ 48274 w 272742"/>
                <a:gd name="connsiteY2" fmla="*/ 13913 h 131376"/>
                <a:gd name="connsiteX3" fmla="*/ 55183 w 272742"/>
                <a:gd name="connsiteY3" fmla="*/ 20822 h 131376"/>
                <a:gd name="connsiteX4" fmla="*/ 86277 w 272742"/>
                <a:gd name="connsiteY4" fmla="*/ 17367 h 131376"/>
                <a:gd name="connsiteX5" fmla="*/ 89732 w 272742"/>
                <a:gd name="connsiteY5" fmla="*/ 7003 h 131376"/>
                <a:gd name="connsiteX6" fmla="*/ 103551 w 272742"/>
                <a:gd name="connsiteY6" fmla="*/ 0 h 131376"/>
                <a:gd name="connsiteX7" fmla="*/ 124280 w 272742"/>
                <a:gd name="connsiteY7" fmla="*/ 3548 h 131376"/>
                <a:gd name="connsiteX8" fmla="*/ 127734 w 272742"/>
                <a:gd name="connsiteY8" fmla="*/ 17367 h 131376"/>
                <a:gd name="connsiteX9" fmla="*/ 231285 w 272742"/>
                <a:gd name="connsiteY9" fmla="*/ 13913 h 131376"/>
                <a:gd name="connsiteX10" fmla="*/ 241650 w 272742"/>
                <a:gd name="connsiteY10" fmla="*/ 24277 h 131376"/>
                <a:gd name="connsiteX11" fmla="*/ 255469 w 272742"/>
                <a:gd name="connsiteY11" fmla="*/ 27732 h 131376"/>
                <a:gd name="connsiteX12" fmla="*/ 272743 w 272742"/>
                <a:gd name="connsiteY12" fmla="*/ 34642 h 131376"/>
                <a:gd name="connsiteX13" fmla="*/ 262378 w 272742"/>
                <a:gd name="connsiteY13" fmla="*/ 41551 h 131376"/>
                <a:gd name="connsiteX14" fmla="*/ 238195 w 272742"/>
                <a:gd name="connsiteY14" fmla="*/ 55370 h 131376"/>
                <a:gd name="connsiteX15" fmla="*/ 217466 w 272742"/>
                <a:gd name="connsiteY15" fmla="*/ 62280 h 131376"/>
                <a:gd name="connsiteX16" fmla="*/ 210556 w 272742"/>
                <a:gd name="connsiteY16" fmla="*/ 76099 h 131376"/>
                <a:gd name="connsiteX17" fmla="*/ 176008 w 272742"/>
                <a:gd name="connsiteY17" fmla="*/ 76099 h 131376"/>
                <a:gd name="connsiteX18" fmla="*/ 169099 w 272742"/>
                <a:gd name="connsiteY18" fmla="*/ 93373 h 131376"/>
                <a:gd name="connsiteX19" fmla="*/ 141554 w 272742"/>
                <a:gd name="connsiteY19" fmla="*/ 100283 h 131376"/>
                <a:gd name="connsiteX20" fmla="*/ 141554 w 272742"/>
                <a:gd name="connsiteY20" fmla="*/ 89918 h 131376"/>
                <a:gd name="connsiteX21" fmla="*/ 117370 w 272742"/>
                <a:gd name="connsiteY21" fmla="*/ 89918 h 131376"/>
                <a:gd name="connsiteX22" fmla="*/ 113915 w 272742"/>
                <a:gd name="connsiteY22" fmla="*/ 100283 h 131376"/>
                <a:gd name="connsiteX23" fmla="*/ 100096 w 272742"/>
                <a:gd name="connsiteY23" fmla="*/ 107192 h 131376"/>
                <a:gd name="connsiteX24" fmla="*/ 93186 w 272742"/>
                <a:gd name="connsiteY24" fmla="*/ 114102 h 131376"/>
                <a:gd name="connsiteX25" fmla="*/ 89732 w 272742"/>
                <a:gd name="connsiteY25" fmla="*/ 131376 h 131376"/>
                <a:gd name="connsiteX26" fmla="*/ 55183 w 272742"/>
                <a:gd name="connsiteY26" fmla="*/ 131376 h 131376"/>
                <a:gd name="connsiteX27" fmla="*/ 31000 w 272742"/>
                <a:gd name="connsiteY27" fmla="*/ 127921 h 131376"/>
                <a:gd name="connsiteX28" fmla="*/ 10364 w 272742"/>
                <a:gd name="connsiteY28" fmla="*/ 127921 h 131376"/>
                <a:gd name="connsiteX29" fmla="*/ 6910 w 272742"/>
                <a:gd name="connsiteY29" fmla="*/ 114102 h 131376"/>
                <a:gd name="connsiteX30" fmla="*/ 3455 w 272742"/>
                <a:gd name="connsiteY30" fmla="*/ 103738 h 131376"/>
                <a:gd name="connsiteX31" fmla="*/ 6910 w 272742"/>
                <a:gd name="connsiteY31" fmla="*/ 96828 h 131376"/>
                <a:gd name="connsiteX32" fmla="*/ 13819 w 272742"/>
                <a:gd name="connsiteY32" fmla="*/ 103738 h 131376"/>
                <a:gd name="connsiteX33" fmla="*/ 34548 w 272742"/>
                <a:gd name="connsiteY33" fmla="*/ 103738 h 131376"/>
                <a:gd name="connsiteX34" fmla="*/ 51729 w 272742"/>
                <a:gd name="connsiteY34" fmla="*/ 96828 h 131376"/>
                <a:gd name="connsiteX35" fmla="*/ 65548 w 272742"/>
                <a:gd name="connsiteY35" fmla="*/ 83009 h 131376"/>
                <a:gd name="connsiteX36" fmla="*/ 51729 w 272742"/>
                <a:gd name="connsiteY36" fmla="*/ 69190 h 131376"/>
                <a:gd name="connsiteX37" fmla="*/ 34548 w 272742"/>
                <a:gd name="connsiteY37" fmla="*/ 58825 h 131376"/>
                <a:gd name="connsiteX38" fmla="*/ 13819 w 272742"/>
                <a:gd name="connsiteY38" fmla="*/ 65735 h 131376"/>
                <a:gd name="connsiteX39" fmla="*/ 0 w 272742"/>
                <a:gd name="connsiteY39" fmla="*/ 58825 h 131376"/>
                <a:gd name="connsiteX40" fmla="*/ 3455 w 272742"/>
                <a:gd name="connsiteY40" fmla="*/ 51915 h 131376"/>
                <a:gd name="connsiteX41" fmla="*/ 10364 w 272742"/>
                <a:gd name="connsiteY41" fmla="*/ 34642 h 13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72742" h="131376">
                  <a:moveTo>
                    <a:pt x="10364" y="34642"/>
                  </a:moveTo>
                  <a:lnTo>
                    <a:pt x="27545" y="13913"/>
                  </a:lnTo>
                  <a:lnTo>
                    <a:pt x="48274" y="13913"/>
                  </a:lnTo>
                  <a:lnTo>
                    <a:pt x="55183" y="20822"/>
                  </a:lnTo>
                  <a:lnTo>
                    <a:pt x="86277" y="17367"/>
                  </a:lnTo>
                  <a:lnTo>
                    <a:pt x="89732" y="7003"/>
                  </a:lnTo>
                  <a:lnTo>
                    <a:pt x="103551" y="0"/>
                  </a:lnTo>
                  <a:lnTo>
                    <a:pt x="124280" y="3548"/>
                  </a:lnTo>
                  <a:lnTo>
                    <a:pt x="127734" y="17367"/>
                  </a:lnTo>
                  <a:lnTo>
                    <a:pt x="231285" y="13913"/>
                  </a:lnTo>
                  <a:lnTo>
                    <a:pt x="241650" y="24277"/>
                  </a:lnTo>
                  <a:lnTo>
                    <a:pt x="255469" y="27732"/>
                  </a:lnTo>
                  <a:lnTo>
                    <a:pt x="272743" y="34642"/>
                  </a:lnTo>
                  <a:lnTo>
                    <a:pt x="262378" y="41551"/>
                  </a:lnTo>
                  <a:lnTo>
                    <a:pt x="238195" y="55370"/>
                  </a:lnTo>
                  <a:lnTo>
                    <a:pt x="217466" y="62280"/>
                  </a:lnTo>
                  <a:lnTo>
                    <a:pt x="210556" y="76099"/>
                  </a:lnTo>
                  <a:lnTo>
                    <a:pt x="176008" y="76099"/>
                  </a:lnTo>
                  <a:lnTo>
                    <a:pt x="169099" y="93373"/>
                  </a:lnTo>
                  <a:lnTo>
                    <a:pt x="141554" y="100283"/>
                  </a:lnTo>
                  <a:lnTo>
                    <a:pt x="141554" y="89918"/>
                  </a:lnTo>
                  <a:lnTo>
                    <a:pt x="117370" y="89918"/>
                  </a:lnTo>
                  <a:lnTo>
                    <a:pt x="113915" y="100283"/>
                  </a:lnTo>
                  <a:lnTo>
                    <a:pt x="100096" y="107192"/>
                  </a:lnTo>
                  <a:lnTo>
                    <a:pt x="93186" y="114102"/>
                  </a:lnTo>
                  <a:lnTo>
                    <a:pt x="89732" y="131376"/>
                  </a:lnTo>
                  <a:lnTo>
                    <a:pt x="55183" y="131376"/>
                  </a:lnTo>
                  <a:lnTo>
                    <a:pt x="31000" y="127921"/>
                  </a:lnTo>
                  <a:lnTo>
                    <a:pt x="10364" y="127921"/>
                  </a:lnTo>
                  <a:lnTo>
                    <a:pt x="6910" y="114102"/>
                  </a:lnTo>
                  <a:lnTo>
                    <a:pt x="3455" y="103738"/>
                  </a:lnTo>
                  <a:lnTo>
                    <a:pt x="6910" y="96828"/>
                  </a:lnTo>
                  <a:lnTo>
                    <a:pt x="13819" y="103738"/>
                  </a:lnTo>
                  <a:lnTo>
                    <a:pt x="34548" y="103738"/>
                  </a:lnTo>
                  <a:lnTo>
                    <a:pt x="51729" y="96828"/>
                  </a:lnTo>
                  <a:lnTo>
                    <a:pt x="65548" y="83009"/>
                  </a:lnTo>
                  <a:lnTo>
                    <a:pt x="51729" y="69190"/>
                  </a:lnTo>
                  <a:lnTo>
                    <a:pt x="34548" y="58825"/>
                  </a:lnTo>
                  <a:lnTo>
                    <a:pt x="13819" y="65735"/>
                  </a:lnTo>
                  <a:lnTo>
                    <a:pt x="0" y="58825"/>
                  </a:lnTo>
                  <a:lnTo>
                    <a:pt x="3455" y="51915"/>
                  </a:lnTo>
                  <a:lnTo>
                    <a:pt x="10364" y="34642"/>
                  </a:lnTo>
                  <a:close/>
                </a:path>
              </a:pathLst>
            </a:custGeom>
            <a:solidFill>
              <a:srgbClr val="CEE3BF"/>
            </a:solidFill>
            <a:ln w="9334" cap="flat">
              <a:noFill/>
              <a:prstDash val="solid"/>
              <a:miter/>
            </a:ln>
          </p:spPr>
          <p:txBody>
            <a:bodyPr rtlCol="0" anchor="ctr"/>
            <a:lstStyle/>
            <a:p>
              <a:endParaRPr lang="en-GB" dirty="0"/>
            </a:p>
          </p:txBody>
        </p:sp>
        <p:sp>
          <p:nvSpPr>
            <p:cNvPr id="1094" name="Freeform: Shape 1093">
              <a:extLst>
                <a:ext uri="{FF2B5EF4-FFF2-40B4-BE49-F238E27FC236}">
                  <a16:creationId xmlns:a16="http://schemas.microsoft.com/office/drawing/2014/main" id="{57585B3F-3AC3-4721-A77D-007D004461B7}"/>
                </a:ext>
              </a:extLst>
            </p:cNvPr>
            <p:cNvSpPr/>
            <p:nvPr/>
          </p:nvSpPr>
          <p:spPr>
            <a:xfrm>
              <a:off x="7115845" y="2832418"/>
              <a:ext cx="1104698" cy="515046"/>
            </a:xfrm>
            <a:custGeom>
              <a:avLst/>
              <a:gdLst>
                <a:gd name="connsiteX0" fmla="*/ 186373 w 1104698"/>
                <a:gd name="connsiteY0" fmla="*/ 452860 h 515046"/>
                <a:gd name="connsiteX1" fmla="*/ 162189 w 1104698"/>
                <a:gd name="connsiteY1" fmla="*/ 449405 h 515046"/>
                <a:gd name="connsiteX2" fmla="*/ 134644 w 1104698"/>
                <a:gd name="connsiteY2" fmla="*/ 428676 h 515046"/>
                <a:gd name="connsiteX3" fmla="*/ 113915 w 1104698"/>
                <a:gd name="connsiteY3" fmla="*/ 404399 h 515046"/>
                <a:gd name="connsiteX4" fmla="*/ 100096 w 1104698"/>
                <a:gd name="connsiteY4" fmla="*/ 387125 h 515046"/>
                <a:gd name="connsiteX5" fmla="*/ 110461 w 1104698"/>
                <a:gd name="connsiteY5" fmla="*/ 380216 h 515046"/>
                <a:gd name="connsiteX6" fmla="*/ 134644 w 1104698"/>
                <a:gd name="connsiteY6" fmla="*/ 383670 h 515046"/>
                <a:gd name="connsiteX7" fmla="*/ 131189 w 1104698"/>
                <a:gd name="connsiteY7" fmla="*/ 362942 h 515046"/>
                <a:gd name="connsiteX8" fmla="*/ 141554 w 1104698"/>
                <a:gd name="connsiteY8" fmla="*/ 356032 h 515046"/>
                <a:gd name="connsiteX9" fmla="*/ 162189 w 1104698"/>
                <a:gd name="connsiteY9" fmla="*/ 359487 h 515046"/>
                <a:gd name="connsiteX10" fmla="*/ 179463 w 1104698"/>
                <a:gd name="connsiteY10" fmla="*/ 362942 h 515046"/>
                <a:gd name="connsiteX11" fmla="*/ 186373 w 1104698"/>
                <a:gd name="connsiteY11" fmla="*/ 338758 h 515046"/>
                <a:gd name="connsiteX12" fmla="*/ 172554 w 1104698"/>
                <a:gd name="connsiteY12" fmla="*/ 304210 h 515046"/>
                <a:gd name="connsiteX13" fmla="*/ 141554 w 1104698"/>
                <a:gd name="connsiteY13" fmla="*/ 304210 h 515046"/>
                <a:gd name="connsiteX14" fmla="*/ 110461 w 1104698"/>
                <a:gd name="connsiteY14" fmla="*/ 307665 h 515046"/>
                <a:gd name="connsiteX15" fmla="*/ 69003 w 1104698"/>
                <a:gd name="connsiteY15" fmla="*/ 324939 h 515046"/>
                <a:gd name="connsiteX16" fmla="*/ 62093 w 1104698"/>
                <a:gd name="connsiteY16" fmla="*/ 300755 h 515046"/>
                <a:gd name="connsiteX17" fmla="*/ 41364 w 1104698"/>
                <a:gd name="connsiteY17" fmla="*/ 273117 h 515046"/>
                <a:gd name="connsiteX18" fmla="*/ 17180 w 1104698"/>
                <a:gd name="connsiteY18" fmla="*/ 266207 h 515046"/>
                <a:gd name="connsiteX19" fmla="*/ 0 w 1104698"/>
                <a:gd name="connsiteY19" fmla="*/ 241930 h 515046"/>
                <a:gd name="connsiteX20" fmla="*/ 10364 w 1104698"/>
                <a:gd name="connsiteY20" fmla="*/ 200472 h 515046"/>
                <a:gd name="connsiteX21" fmla="*/ 31000 w 1104698"/>
                <a:gd name="connsiteY21" fmla="*/ 176289 h 515046"/>
                <a:gd name="connsiteX22" fmla="*/ 44819 w 1104698"/>
                <a:gd name="connsiteY22" fmla="*/ 203927 h 515046"/>
                <a:gd name="connsiteX23" fmla="*/ 58638 w 1104698"/>
                <a:gd name="connsiteY23" fmla="*/ 197018 h 515046"/>
                <a:gd name="connsiteX24" fmla="*/ 62093 w 1104698"/>
                <a:gd name="connsiteY24" fmla="*/ 176289 h 515046"/>
                <a:gd name="connsiteX25" fmla="*/ 103551 w 1104698"/>
                <a:gd name="connsiteY25" fmla="*/ 145195 h 515046"/>
                <a:gd name="connsiteX26" fmla="*/ 131189 w 1104698"/>
                <a:gd name="connsiteY26" fmla="*/ 134831 h 515046"/>
                <a:gd name="connsiteX27" fmla="*/ 193283 w 1104698"/>
                <a:gd name="connsiteY27" fmla="*/ 145195 h 515046"/>
                <a:gd name="connsiteX28" fmla="*/ 234740 w 1104698"/>
                <a:gd name="connsiteY28" fmla="*/ 169379 h 515046"/>
                <a:gd name="connsiteX29" fmla="*/ 258924 w 1104698"/>
                <a:gd name="connsiteY29" fmla="*/ 172834 h 515046"/>
                <a:gd name="connsiteX30" fmla="*/ 296833 w 1104698"/>
                <a:gd name="connsiteY30" fmla="*/ 155560 h 515046"/>
                <a:gd name="connsiteX31" fmla="*/ 327927 w 1104698"/>
                <a:gd name="connsiteY31" fmla="*/ 155560 h 515046"/>
                <a:gd name="connsiteX32" fmla="*/ 345200 w 1104698"/>
                <a:gd name="connsiteY32" fmla="*/ 172834 h 515046"/>
                <a:gd name="connsiteX33" fmla="*/ 390113 w 1104698"/>
                <a:gd name="connsiteY33" fmla="*/ 169379 h 515046"/>
                <a:gd name="connsiteX34" fmla="*/ 410749 w 1104698"/>
                <a:gd name="connsiteY34" fmla="*/ 152105 h 515046"/>
                <a:gd name="connsiteX35" fmla="*/ 393568 w 1104698"/>
                <a:gd name="connsiteY35" fmla="*/ 138286 h 515046"/>
                <a:gd name="connsiteX36" fmla="*/ 369384 w 1104698"/>
                <a:gd name="connsiteY36" fmla="*/ 131376 h 515046"/>
                <a:gd name="connsiteX37" fmla="*/ 379749 w 1104698"/>
                <a:gd name="connsiteY37" fmla="*/ 117557 h 515046"/>
                <a:gd name="connsiteX38" fmla="*/ 390113 w 1104698"/>
                <a:gd name="connsiteY38" fmla="*/ 107099 h 515046"/>
                <a:gd name="connsiteX39" fmla="*/ 393568 w 1104698"/>
                <a:gd name="connsiteY39" fmla="*/ 89825 h 515046"/>
                <a:gd name="connsiteX40" fmla="*/ 414297 w 1104698"/>
                <a:gd name="connsiteY40" fmla="*/ 82915 h 515046"/>
                <a:gd name="connsiteX41" fmla="*/ 407387 w 1104698"/>
                <a:gd name="connsiteY41" fmla="*/ 69096 h 515046"/>
                <a:gd name="connsiteX42" fmla="*/ 400478 w 1104698"/>
                <a:gd name="connsiteY42" fmla="*/ 51822 h 515046"/>
                <a:gd name="connsiteX43" fmla="*/ 438387 w 1104698"/>
                <a:gd name="connsiteY43" fmla="*/ 48367 h 515046"/>
                <a:gd name="connsiteX44" fmla="*/ 483300 w 1104698"/>
                <a:gd name="connsiteY44" fmla="*/ 34548 h 515046"/>
                <a:gd name="connsiteX45" fmla="*/ 545393 w 1104698"/>
                <a:gd name="connsiteY45" fmla="*/ 17274 h 515046"/>
                <a:gd name="connsiteX46" fmla="*/ 597215 w 1104698"/>
                <a:gd name="connsiteY46" fmla="*/ 6910 h 515046"/>
                <a:gd name="connsiteX47" fmla="*/ 628308 w 1104698"/>
                <a:gd name="connsiteY47" fmla="*/ 0 h 515046"/>
                <a:gd name="connsiteX48" fmla="*/ 662856 w 1104698"/>
                <a:gd name="connsiteY48" fmla="*/ 3455 h 515046"/>
                <a:gd name="connsiteX49" fmla="*/ 669766 w 1104698"/>
                <a:gd name="connsiteY49" fmla="*/ 27639 h 515046"/>
                <a:gd name="connsiteX50" fmla="*/ 687040 w 1104698"/>
                <a:gd name="connsiteY50" fmla="*/ 38003 h 515046"/>
                <a:gd name="connsiteX51" fmla="*/ 721495 w 1104698"/>
                <a:gd name="connsiteY51" fmla="*/ 48367 h 515046"/>
                <a:gd name="connsiteX52" fmla="*/ 756043 w 1104698"/>
                <a:gd name="connsiteY52" fmla="*/ 65641 h 515046"/>
                <a:gd name="connsiteX53" fmla="*/ 787136 w 1104698"/>
                <a:gd name="connsiteY53" fmla="*/ 48367 h 515046"/>
                <a:gd name="connsiteX54" fmla="*/ 825046 w 1104698"/>
                <a:gd name="connsiteY54" fmla="*/ 38003 h 515046"/>
                <a:gd name="connsiteX55" fmla="*/ 828500 w 1104698"/>
                <a:gd name="connsiteY55" fmla="*/ 55277 h 515046"/>
                <a:gd name="connsiteX56" fmla="*/ 859594 w 1104698"/>
                <a:gd name="connsiteY56" fmla="*/ 76006 h 515046"/>
                <a:gd name="connsiteX57" fmla="*/ 880322 w 1104698"/>
                <a:gd name="connsiteY57" fmla="*/ 103644 h 515046"/>
                <a:gd name="connsiteX58" fmla="*/ 904506 w 1104698"/>
                <a:gd name="connsiteY58" fmla="*/ 145195 h 515046"/>
                <a:gd name="connsiteX59" fmla="*/ 911416 w 1104698"/>
                <a:gd name="connsiteY59" fmla="*/ 159015 h 515046"/>
                <a:gd name="connsiteX60" fmla="*/ 925235 w 1104698"/>
                <a:gd name="connsiteY60" fmla="*/ 159015 h 515046"/>
                <a:gd name="connsiteX61" fmla="*/ 932145 w 1104698"/>
                <a:gd name="connsiteY61" fmla="*/ 145195 h 515046"/>
                <a:gd name="connsiteX62" fmla="*/ 949325 w 1104698"/>
                <a:gd name="connsiteY62" fmla="*/ 155560 h 515046"/>
                <a:gd name="connsiteX63" fmla="*/ 970054 w 1104698"/>
                <a:gd name="connsiteY63" fmla="*/ 165924 h 515046"/>
                <a:gd name="connsiteX64" fmla="*/ 987328 w 1104698"/>
                <a:gd name="connsiteY64" fmla="*/ 162469 h 515046"/>
                <a:gd name="connsiteX65" fmla="*/ 1018422 w 1104698"/>
                <a:gd name="connsiteY65" fmla="*/ 159015 h 515046"/>
                <a:gd name="connsiteX66" fmla="*/ 1035695 w 1104698"/>
                <a:gd name="connsiteY66" fmla="*/ 183198 h 515046"/>
                <a:gd name="connsiteX67" fmla="*/ 1059879 w 1104698"/>
                <a:gd name="connsiteY67" fmla="*/ 200472 h 515046"/>
                <a:gd name="connsiteX68" fmla="*/ 1097789 w 1104698"/>
                <a:gd name="connsiteY68" fmla="*/ 203927 h 515046"/>
                <a:gd name="connsiteX69" fmla="*/ 1104698 w 1104698"/>
                <a:gd name="connsiteY69" fmla="*/ 228111 h 515046"/>
                <a:gd name="connsiteX70" fmla="*/ 1101244 w 1104698"/>
                <a:gd name="connsiteY70" fmla="*/ 245385 h 515046"/>
                <a:gd name="connsiteX71" fmla="*/ 1080608 w 1104698"/>
                <a:gd name="connsiteY71" fmla="*/ 245385 h 515046"/>
                <a:gd name="connsiteX72" fmla="*/ 1073698 w 1104698"/>
                <a:gd name="connsiteY72" fmla="*/ 269662 h 515046"/>
                <a:gd name="connsiteX73" fmla="*/ 1073698 w 1104698"/>
                <a:gd name="connsiteY73" fmla="*/ 293845 h 515046"/>
                <a:gd name="connsiteX74" fmla="*/ 1056425 w 1104698"/>
                <a:gd name="connsiteY74" fmla="*/ 297300 h 515046"/>
                <a:gd name="connsiteX75" fmla="*/ 1028786 w 1104698"/>
                <a:gd name="connsiteY75" fmla="*/ 297300 h 515046"/>
                <a:gd name="connsiteX76" fmla="*/ 1001147 w 1104698"/>
                <a:gd name="connsiteY76" fmla="*/ 293845 h 515046"/>
                <a:gd name="connsiteX77" fmla="*/ 983873 w 1104698"/>
                <a:gd name="connsiteY77" fmla="*/ 335303 h 515046"/>
                <a:gd name="connsiteX78" fmla="*/ 976964 w 1104698"/>
                <a:gd name="connsiteY78" fmla="*/ 359487 h 515046"/>
                <a:gd name="connsiteX79" fmla="*/ 945964 w 1104698"/>
                <a:gd name="connsiteY79" fmla="*/ 359487 h 515046"/>
                <a:gd name="connsiteX80" fmla="*/ 925235 w 1104698"/>
                <a:gd name="connsiteY80" fmla="*/ 369851 h 515046"/>
                <a:gd name="connsiteX81" fmla="*/ 928690 w 1104698"/>
                <a:gd name="connsiteY81" fmla="*/ 400945 h 515046"/>
                <a:gd name="connsiteX82" fmla="*/ 939054 w 1104698"/>
                <a:gd name="connsiteY82" fmla="*/ 428676 h 515046"/>
                <a:gd name="connsiteX83" fmla="*/ 925235 w 1104698"/>
                <a:gd name="connsiteY83" fmla="*/ 442496 h 515046"/>
                <a:gd name="connsiteX84" fmla="*/ 925235 w 1104698"/>
                <a:gd name="connsiteY84" fmla="*/ 459770 h 515046"/>
                <a:gd name="connsiteX85" fmla="*/ 907961 w 1104698"/>
                <a:gd name="connsiteY85" fmla="*/ 452860 h 515046"/>
                <a:gd name="connsiteX86" fmla="*/ 894142 w 1104698"/>
                <a:gd name="connsiteY86" fmla="*/ 449405 h 515046"/>
                <a:gd name="connsiteX87" fmla="*/ 883777 w 1104698"/>
                <a:gd name="connsiteY87" fmla="*/ 439041 h 515046"/>
                <a:gd name="connsiteX88" fmla="*/ 780226 w 1104698"/>
                <a:gd name="connsiteY88" fmla="*/ 442496 h 515046"/>
                <a:gd name="connsiteX89" fmla="*/ 776772 w 1104698"/>
                <a:gd name="connsiteY89" fmla="*/ 428676 h 515046"/>
                <a:gd name="connsiteX90" fmla="*/ 756043 w 1104698"/>
                <a:gd name="connsiteY90" fmla="*/ 425128 h 515046"/>
                <a:gd name="connsiteX91" fmla="*/ 742224 w 1104698"/>
                <a:gd name="connsiteY91" fmla="*/ 432131 h 515046"/>
                <a:gd name="connsiteX92" fmla="*/ 738769 w 1104698"/>
                <a:gd name="connsiteY92" fmla="*/ 442496 h 515046"/>
                <a:gd name="connsiteX93" fmla="*/ 707675 w 1104698"/>
                <a:gd name="connsiteY93" fmla="*/ 445950 h 515046"/>
                <a:gd name="connsiteX94" fmla="*/ 700766 w 1104698"/>
                <a:gd name="connsiteY94" fmla="*/ 439041 h 515046"/>
                <a:gd name="connsiteX95" fmla="*/ 680037 w 1104698"/>
                <a:gd name="connsiteY95" fmla="*/ 439041 h 515046"/>
                <a:gd name="connsiteX96" fmla="*/ 662856 w 1104698"/>
                <a:gd name="connsiteY96" fmla="*/ 459770 h 515046"/>
                <a:gd name="connsiteX97" fmla="*/ 649037 w 1104698"/>
                <a:gd name="connsiteY97" fmla="*/ 466679 h 515046"/>
                <a:gd name="connsiteX98" fmla="*/ 607580 w 1104698"/>
                <a:gd name="connsiteY98" fmla="*/ 497773 h 515046"/>
                <a:gd name="connsiteX99" fmla="*/ 604125 w 1104698"/>
                <a:gd name="connsiteY99" fmla="*/ 515047 h 515046"/>
                <a:gd name="connsiteX100" fmla="*/ 590305 w 1104698"/>
                <a:gd name="connsiteY100" fmla="*/ 515047 h 515046"/>
                <a:gd name="connsiteX101" fmla="*/ 590305 w 1104698"/>
                <a:gd name="connsiteY101" fmla="*/ 497773 h 515046"/>
                <a:gd name="connsiteX102" fmla="*/ 583396 w 1104698"/>
                <a:gd name="connsiteY102" fmla="*/ 494318 h 515046"/>
                <a:gd name="connsiteX103" fmla="*/ 552302 w 1104698"/>
                <a:gd name="connsiteY103" fmla="*/ 497773 h 515046"/>
                <a:gd name="connsiteX104" fmla="*/ 548847 w 1104698"/>
                <a:gd name="connsiteY104" fmla="*/ 470134 h 515046"/>
                <a:gd name="connsiteX105" fmla="*/ 531667 w 1104698"/>
                <a:gd name="connsiteY105" fmla="*/ 456315 h 515046"/>
                <a:gd name="connsiteX106" fmla="*/ 531667 w 1104698"/>
                <a:gd name="connsiteY106" fmla="*/ 442496 h 515046"/>
                <a:gd name="connsiteX107" fmla="*/ 500574 w 1104698"/>
                <a:gd name="connsiteY107" fmla="*/ 411309 h 515046"/>
                <a:gd name="connsiteX108" fmla="*/ 486755 w 1104698"/>
                <a:gd name="connsiteY108" fmla="*/ 414764 h 515046"/>
                <a:gd name="connsiteX109" fmla="*/ 421113 w 1104698"/>
                <a:gd name="connsiteY109" fmla="*/ 418219 h 515046"/>
                <a:gd name="connsiteX110" fmla="*/ 397023 w 1104698"/>
                <a:gd name="connsiteY110" fmla="*/ 387125 h 515046"/>
                <a:gd name="connsiteX111" fmla="*/ 352110 w 1104698"/>
                <a:gd name="connsiteY111" fmla="*/ 362942 h 515046"/>
                <a:gd name="connsiteX112" fmla="*/ 338291 w 1104698"/>
                <a:gd name="connsiteY112" fmla="*/ 352577 h 515046"/>
                <a:gd name="connsiteX113" fmla="*/ 289924 w 1104698"/>
                <a:gd name="connsiteY113" fmla="*/ 359487 h 515046"/>
                <a:gd name="connsiteX114" fmla="*/ 258924 w 1104698"/>
                <a:gd name="connsiteY114" fmla="*/ 366396 h 515046"/>
                <a:gd name="connsiteX115" fmla="*/ 258924 w 1104698"/>
                <a:gd name="connsiteY115" fmla="*/ 494318 h 515046"/>
                <a:gd name="connsiteX116" fmla="*/ 241650 w 1104698"/>
                <a:gd name="connsiteY116" fmla="*/ 490863 h 515046"/>
                <a:gd name="connsiteX117" fmla="*/ 227830 w 1104698"/>
                <a:gd name="connsiteY117" fmla="*/ 466679 h 515046"/>
                <a:gd name="connsiteX118" fmla="*/ 207102 w 1104698"/>
                <a:gd name="connsiteY118" fmla="*/ 452860 h 515046"/>
                <a:gd name="connsiteX119" fmla="*/ 196737 w 1104698"/>
                <a:gd name="connsiteY119" fmla="*/ 456315 h 515046"/>
                <a:gd name="connsiteX120" fmla="*/ 186373 w 1104698"/>
                <a:gd name="connsiteY120" fmla="*/ 452860 h 5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104698" h="515046">
                  <a:moveTo>
                    <a:pt x="186373" y="452860"/>
                  </a:moveTo>
                  <a:lnTo>
                    <a:pt x="162189" y="449405"/>
                  </a:lnTo>
                  <a:lnTo>
                    <a:pt x="134644" y="428676"/>
                  </a:lnTo>
                  <a:lnTo>
                    <a:pt x="113915" y="404399"/>
                  </a:lnTo>
                  <a:lnTo>
                    <a:pt x="100096" y="387125"/>
                  </a:lnTo>
                  <a:lnTo>
                    <a:pt x="110461" y="380216"/>
                  </a:lnTo>
                  <a:lnTo>
                    <a:pt x="134644" y="383670"/>
                  </a:lnTo>
                  <a:lnTo>
                    <a:pt x="131189" y="362942"/>
                  </a:lnTo>
                  <a:lnTo>
                    <a:pt x="141554" y="356032"/>
                  </a:lnTo>
                  <a:lnTo>
                    <a:pt x="162189" y="359487"/>
                  </a:lnTo>
                  <a:lnTo>
                    <a:pt x="179463" y="362942"/>
                  </a:lnTo>
                  <a:lnTo>
                    <a:pt x="186373" y="338758"/>
                  </a:lnTo>
                  <a:lnTo>
                    <a:pt x="172554" y="304210"/>
                  </a:lnTo>
                  <a:lnTo>
                    <a:pt x="141554" y="304210"/>
                  </a:lnTo>
                  <a:lnTo>
                    <a:pt x="110461" y="307665"/>
                  </a:lnTo>
                  <a:lnTo>
                    <a:pt x="69003" y="324939"/>
                  </a:lnTo>
                  <a:lnTo>
                    <a:pt x="62093" y="300755"/>
                  </a:lnTo>
                  <a:lnTo>
                    <a:pt x="41364" y="273117"/>
                  </a:lnTo>
                  <a:lnTo>
                    <a:pt x="17180" y="266207"/>
                  </a:lnTo>
                  <a:lnTo>
                    <a:pt x="0" y="241930"/>
                  </a:lnTo>
                  <a:lnTo>
                    <a:pt x="10364" y="200472"/>
                  </a:lnTo>
                  <a:lnTo>
                    <a:pt x="31000" y="176289"/>
                  </a:lnTo>
                  <a:lnTo>
                    <a:pt x="44819" y="203927"/>
                  </a:lnTo>
                  <a:lnTo>
                    <a:pt x="58638" y="197018"/>
                  </a:lnTo>
                  <a:lnTo>
                    <a:pt x="62093" y="176289"/>
                  </a:lnTo>
                  <a:lnTo>
                    <a:pt x="103551" y="145195"/>
                  </a:lnTo>
                  <a:lnTo>
                    <a:pt x="131189" y="134831"/>
                  </a:lnTo>
                  <a:lnTo>
                    <a:pt x="193283" y="145195"/>
                  </a:lnTo>
                  <a:lnTo>
                    <a:pt x="234740" y="169379"/>
                  </a:lnTo>
                  <a:lnTo>
                    <a:pt x="258924" y="172834"/>
                  </a:lnTo>
                  <a:lnTo>
                    <a:pt x="296833" y="155560"/>
                  </a:lnTo>
                  <a:lnTo>
                    <a:pt x="327927" y="155560"/>
                  </a:lnTo>
                  <a:lnTo>
                    <a:pt x="345200" y="172834"/>
                  </a:lnTo>
                  <a:lnTo>
                    <a:pt x="390113" y="169379"/>
                  </a:lnTo>
                  <a:lnTo>
                    <a:pt x="410749" y="152105"/>
                  </a:lnTo>
                  <a:lnTo>
                    <a:pt x="393568" y="138286"/>
                  </a:lnTo>
                  <a:lnTo>
                    <a:pt x="369384" y="131376"/>
                  </a:lnTo>
                  <a:lnTo>
                    <a:pt x="379749" y="117557"/>
                  </a:lnTo>
                  <a:lnTo>
                    <a:pt x="390113" y="107099"/>
                  </a:lnTo>
                  <a:lnTo>
                    <a:pt x="393568" y="89825"/>
                  </a:lnTo>
                  <a:lnTo>
                    <a:pt x="414297" y="82915"/>
                  </a:lnTo>
                  <a:lnTo>
                    <a:pt x="407387" y="69096"/>
                  </a:lnTo>
                  <a:lnTo>
                    <a:pt x="400478" y="51822"/>
                  </a:lnTo>
                  <a:lnTo>
                    <a:pt x="438387" y="48367"/>
                  </a:lnTo>
                  <a:lnTo>
                    <a:pt x="483300" y="34548"/>
                  </a:lnTo>
                  <a:lnTo>
                    <a:pt x="545393" y="17274"/>
                  </a:lnTo>
                  <a:lnTo>
                    <a:pt x="597215" y="6910"/>
                  </a:lnTo>
                  <a:lnTo>
                    <a:pt x="628308" y="0"/>
                  </a:lnTo>
                  <a:lnTo>
                    <a:pt x="662856" y="3455"/>
                  </a:lnTo>
                  <a:lnTo>
                    <a:pt x="669766" y="27639"/>
                  </a:lnTo>
                  <a:lnTo>
                    <a:pt x="687040" y="38003"/>
                  </a:lnTo>
                  <a:lnTo>
                    <a:pt x="721495" y="48367"/>
                  </a:lnTo>
                  <a:lnTo>
                    <a:pt x="756043" y="65641"/>
                  </a:lnTo>
                  <a:lnTo>
                    <a:pt x="787136" y="48367"/>
                  </a:lnTo>
                  <a:lnTo>
                    <a:pt x="825046" y="38003"/>
                  </a:lnTo>
                  <a:lnTo>
                    <a:pt x="828500" y="55277"/>
                  </a:lnTo>
                  <a:lnTo>
                    <a:pt x="859594" y="76006"/>
                  </a:lnTo>
                  <a:lnTo>
                    <a:pt x="880322" y="103644"/>
                  </a:lnTo>
                  <a:lnTo>
                    <a:pt x="904506" y="145195"/>
                  </a:lnTo>
                  <a:lnTo>
                    <a:pt x="911416" y="159015"/>
                  </a:lnTo>
                  <a:lnTo>
                    <a:pt x="925235" y="159015"/>
                  </a:lnTo>
                  <a:lnTo>
                    <a:pt x="932145" y="145195"/>
                  </a:lnTo>
                  <a:lnTo>
                    <a:pt x="949325" y="155560"/>
                  </a:lnTo>
                  <a:lnTo>
                    <a:pt x="970054" y="165924"/>
                  </a:lnTo>
                  <a:lnTo>
                    <a:pt x="987328" y="162469"/>
                  </a:lnTo>
                  <a:lnTo>
                    <a:pt x="1018422" y="159015"/>
                  </a:lnTo>
                  <a:lnTo>
                    <a:pt x="1035695" y="183198"/>
                  </a:lnTo>
                  <a:lnTo>
                    <a:pt x="1059879" y="200472"/>
                  </a:lnTo>
                  <a:lnTo>
                    <a:pt x="1097789" y="203927"/>
                  </a:lnTo>
                  <a:lnTo>
                    <a:pt x="1104698" y="228111"/>
                  </a:lnTo>
                  <a:lnTo>
                    <a:pt x="1101244" y="245385"/>
                  </a:lnTo>
                  <a:lnTo>
                    <a:pt x="1080608" y="245385"/>
                  </a:lnTo>
                  <a:lnTo>
                    <a:pt x="1073698" y="269662"/>
                  </a:lnTo>
                  <a:lnTo>
                    <a:pt x="1073698" y="293845"/>
                  </a:lnTo>
                  <a:lnTo>
                    <a:pt x="1056425" y="297300"/>
                  </a:lnTo>
                  <a:lnTo>
                    <a:pt x="1028786" y="297300"/>
                  </a:lnTo>
                  <a:lnTo>
                    <a:pt x="1001147" y="293845"/>
                  </a:lnTo>
                  <a:lnTo>
                    <a:pt x="983873" y="335303"/>
                  </a:lnTo>
                  <a:lnTo>
                    <a:pt x="976964" y="359487"/>
                  </a:lnTo>
                  <a:lnTo>
                    <a:pt x="945964" y="359487"/>
                  </a:lnTo>
                  <a:lnTo>
                    <a:pt x="925235" y="369851"/>
                  </a:lnTo>
                  <a:lnTo>
                    <a:pt x="928690" y="400945"/>
                  </a:lnTo>
                  <a:lnTo>
                    <a:pt x="939054" y="428676"/>
                  </a:lnTo>
                  <a:lnTo>
                    <a:pt x="925235" y="442496"/>
                  </a:lnTo>
                  <a:lnTo>
                    <a:pt x="925235" y="459770"/>
                  </a:lnTo>
                  <a:lnTo>
                    <a:pt x="907961" y="452860"/>
                  </a:lnTo>
                  <a:lnTo>
                    <a:pt x="894142" y="449405"/>
                  </a:lnTo>
                  <a:lnTo>
                    <a:pt x="883777" y="439041"/>
                  </a:lnTo>
                  <a:lnTo>
                    <a:pt x="780226" y="442496"/>
                  </a:lnTo>
                  <a:lnTo>
                    <a:pt x="776772" y="428676"/>
                  </a:lnTo>
                  <a:lnTo>
                    <a:pt x="756043" y="425128"/>
                  </a:lnTo>
                  <a:lnTo>
                    <a:pt x="742224" y="432131"/>
                  </a:lnTo>
                  <a:lnTo>
                    <a:pt x="738769" y="442496"/>
                  </a:lnTo>
                  <a:lnTo>
                    <a:pt x="707675" y="445950"/>
                  </a:lnTo>
                  <a:lnTo>
                    <a:pt x="700766" y="439041"/>
                  </a:lnTo>
                  <a:lnTo>
                    <a:pt x="680037" y="439041"/>
                  </a:lnTo>
                  <a:lnTo>
                    <a:pt x="662856" y="459770"/>
                  </a:lnTo>
                  <a:lnTo>
                    <a:pt x="649037" y="466679"/>
                  </a:lnTo>
                  <a:lnTo>
                    <a:pt x="607580" y="497773"/>
                  </a:lnTo>
                  <a:lnTo>
                    <a:pt x="604125" y="515047"/>
                  </a:lnTo>
                  <a:lnTo>
                    <a:pt x="590305" y="515047"/>
                  </a:lnTo>
                  <a:lnTo>
                    <a:pt x="590305" y="497773"/>
                  </a:lnTo>
                  <a:lnTo>
                    <a:pt x="583396" y="494318"/>
                  </a:lnTo>
                  <a:lnTo>
                    <a:pt x="552302" y="497773"/>
                  </a:lnTo>
                  <a:lnTo>
                    <a:pt x="548847" y="470134"/>
                  </a:lnTo>
                  <a:lnTo>
                    <a:pt x="531667" y="456315"/>
                  </a:lnTo>
                  <a:lnTo>
                    <a:pt x="531667" y="442496"/>
                  </a:lnTo>
                  <a:lnTo>
                    <a:pt x="500574" y="411309"/>
                  </a:lnTo>
                  <a:lnTo>
                    <a:pt x="486755" y="414764"/>
                  </a:lnTo>
                  <a:lnTo>
                    <a:pt x="421113" y="418219"/>
                  </a:lnTo>
                  <a:lnTo>
                    <a:pt x="397023" y="387125"/>
                  </a:lnTo>
                  <a:lnTo>
                    <a:pt x="352110" y="362942"/>
                  </a:lnTo>
                  <a:lnTo>
                    <a:pt x="338291" y="352577"/>
                  </a:lnTo>
                  <a:lnTo>
                    <a:pt x="289924" y="359487"/>
                  </a:lnTo>
                  <a:lnTo>
                    <a:pt x="258924" y="366396"/>
                  </a:lnTo>
                  <a:lnTo>
                    <a:pt x="258924" y="494318"/>
                  </a:lnTo>
                  <a:lnTo>
                    <a:pt x="241650" y="490863"/>
                  </a:lnTo>
                  <a:lnTo>
                    <a:pt x="227830" y="466679"/>
                  </a:lnTo>
                  <a:lnTo>
                    <a:pt x="207102" y="452860"/>
                  </a:lnTo>
                  <a:lnTo>
                    <a:pt x="196737" y="456315"/>
                  </a:lnTo>
                  <a:lnTo>
                    <a:pt x="186373" y="452860"/>
                  </a:lnTo>
                  <a:close/>
                </a:path>
              </a:pathLst>
            </a:custGeom>
            <a:solidFill>
              <a:srgbClr val="CEE3BF"/>
            </a:solidFill>
            <a:ln w="9334" cap="flat">
              <a:noFill/>
              <a:prstDash val="solid"/>
              <a:miter/>
            </a:ln>
          </p:spPr>
          <p:txBody>
            <a:bodyPr rtlCol="0" anchor="ctr"/>
            <a:lstStyle/>
            <a:p>
              <a:endParaRPr lang="en-GB" dirty="0"/>
            </a:p>
          </p:txBody>
        </p:sp>
        <p:sp>
          <p:nvSpPr>
            <p:cNvPr id="1095" name="Freeform: Shape 1094">
              <a:extLst>
                <a:ext uri="{FF2B5EF4-FFF2-40B4-BE49-F238E27FC236}">
                  <a16:creationId xmlns:a16="http://schemas.microsoft.com/office/drawing/2014/main" id="{2A3676CB-39E9-4F0C-BC58-E15DF0340A21}"/>
                </a:ext>
              </a:extLst>
            </p:cNvPr>
            <p:cNvSpPr/>
            <p:nvPr/>
          </p:nvSpPr>
          <p:spPr>
            <a:xfrm>
              <a:off x="9722358" y="2866966"/>
              <a:ext cx="72457" cy="300755"/>
            </a:xfrm>
            <a:custGeom>
              <a:avLst/>
              <a:gdLst>
                <a:gd name="connsiteX0" fmla="*/ 0 w 72457"/>
                <a:gd name="connsiteY0" fmla="*/ 286936 h 300755"/>
                <a:gd name="connsiteX1" fmla="*/ 10365 w 72457"/>
                <a:gd name="connsiteY1" fmla="*/ 300755 h 300755"/>
                <a:gd name="connsiteX2" fmla="*/ 17274 w 72457"/>
                <a:gd name="connsiteY2" fmla="*/ 276572 h 300755"/>
                <a:gd name="connsiteX3" fmla="*/ 31093 w 72457"/>
                <a:gd name="connsiteY3" fmla="*/ 280026 h 300755"/>
                <a:gd name="connsiteX4" fmla="*/ 41458 w 72457"/>
                <a:gd name="connsiteY4" fmla="*/ 293845 h 300755"/>
                <a:gd name="connsiteX5" fmla="*/ 44912 w 72457"/>
                <a:gd name="connsiteY5" fmla="*/ 280026 h 300755"/>
                <a:gd name="connsiteX6" fmla="*/ 38003 w 72457"/>
                <a:gd name="connsiteY6" fmla="*/ 266207 h 300755"/>
                <a:gd name="connsiteX7" fmla="*/ 24184 w 72457"/>
                <a:gd name="connsiteY7" fmla="*/ 248933 h 300755"/>
                <a:gd name="connsiteX8" fmla="*/ 17274 w 72457"/>
                <a:gd name="connsiteY8" fmla="*/ 231659 h 300755"/>
                <a:gd name="connsiteX9" fmla="*/ 24184 w 72457"/>
                <a:gd name="connsiteY9" fmla="*/ 217746 h 300755"/>
                <a:gd name="connsiteX10" fmla="*/ 31093 w 72457"/>
                <a:gd name="connsiteY10" fmla="*/ 197018 h 300755"/>
                <a:gd name="connsiteX11" fmla="*/ 38003 w 72457"/>
                <a:gd name="connsiteY11" fmla="*/ 186653 h 300755"/>
                <a:gd name="connsiteX12" fmla="*/ 51823 w 72457"/>
                <a:gd name="connsiteY12" fmla="*/ 183198 h 300755"/>
                <a:gd name="connsiteX13" fmla="*/ 72458 w 72457"/>
                <a:gd name="connsiteY13" fmla="*/ 200472 h 300755"/>
                <a:gd name="connsiteX14" fmla="*/ 72458 w 72457"/>
                <a:gd name="connsiteY14" fmla="*/ 179743 h 300755"/>
                <a:gd name="connsiteX15" fmla="*/ 55277 w 72457"/>
                <a:gd name="connsiteY15" fmla="*/ 152105 h 300755"/>
                <a:gd name="connsiteX16" fmla="*/ 48368 w 72457"/>
                <a:gd name="connsiteY16" fmla="*/ 107193 h 300755"/>
                <a:gd name="connsiteX17" fmla="*/ 41458 w 72457"/>
                <a:gd name="connsiteY17" fmla="*/ 72551 h 300755"/>
                <a:gd name="connsiteX18" fmla="*/ 38003 w 72457"/>
                <a:gd name="connsiteY18" fmla="*/ 44912 h 300755"/>
                <a:gd name="connsiteX19" fmla="*/ 34548 w 72457"/>
                <a:gd name="connsiteY19" fmla="*/ 20729 h 300755"/>
                <a:gd name="connsiteX20" fmla="*/ 27639 w 72457"/>
                <a:gd name="connsiteY20" fmla="*/ 0 h 300755"/>
                <a:gd name="connsiteX21" fmla="*/ 20729 w 72457"/>
                <a:gd name="connsiteY21" fmla="*/ 10364 h 300755"/>
                <a:gd name="connsiteX22" fmla="*/ 20729 w 72457"/>
                <a:gd name="connsiteY22" fmla="*/ 27639 h 300755"/>
                <a:gd name="connsiteX23" fmla="*/ 3455 w 72457"/>
                <a:gd name="connsiteY23" fmla="*/ 34548 h 300755"/>
                <a:gd name="connsiteX24" fmla="*/ 3455 w 72457"/>
                <a:gd name="connsiteY24" fmla="*/ 62187 h 300755"/>
                <a:gd name="connsiteX25" fmla="*/ 3455 w 72457"/>
                <a:gd name="connsiteY25" fmla="*/ 86464 h 300755"/>
                <a:gd name="connsiteX26" fmla="*/ 3455 w 72457"/>
                <a:gd name="connsiteY26" fmla="*/ 107193 h 300755"/>
                <a:gd name="connsiteX27" fmla="*/ 13820 w 72457"/>
                <a:gd name="connsiteY27" fmla="*/ 121012 h 300755"/>
                <a:gd name="connsiteX28" fmla="*/ 10365 w 72457"/>
                <a:gd name="connsiteY28" fmla="*/ 141741 h 300755"/>
                <a:gd name="connsiteX29" fmla="*/ 10365 w 72457"/>
                <a:gd name="connsiteY29" fmla="*/ 176289 h 300755"/>
                <a:gd name="connsiteX30" fmla="*/ 10365 w 72457"/>
                <a:gd name="connsiteY30" fmla="*/ 217746 h 300755"/>
                <a:gd name="connsiteX31" fmla="*/ 10365 w 72457"/>
                <a:gd name="connsiteY31" fmla="*/ 252388 h 300755"/>
                <a:gd name="connsiteX32" fmla="*/ 10365 w 72457"/>
                <a:gd name="connsiteY32" fmla="*/ 273117 h 300755"/>
                <a:gd name="connsiteX33" fmla="*/ 0 w 72457"/>
                <a:gd name="connsiteY33" fmla="*/ 286936 h 300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457" h="300755">
                  <a:moveTo>
                    <a:pt x="0" y="286936"/>
                  </a:moveTo>
                  <a:lnTo>
                    <a:pt x="10365" y="300755"/>
                  </a:lnTo>
                  <a:lnTo>
                    <a:pt x="17274" y="276572"/>
                  </a:lnTo>
                  <a:lnTo>
                    <a:pt x="31093" y="280026"/>
                  </a:lnTo>
                  <a:lnTo>
                    <a:pt x="41458" y="293845"/>
                  </a:lnTo>
                  <a:lnTo>
                    <a:pt x="44912" y="280026"/>
                  </a:lnTo>
                  <a:lnTo>
                    <a:pt x="38003" y="266207"/>
                  </a:lnTo>
                  <a:lnTo>
                    <a:pt x="24184" y="248933"/>
                  </a:lnTo>
                  <a:lnTo>
                    <a:pt x="17274" y="231659"/>
                  </a:lnTo>
                  <a:lnTo>
                    <a:pt x="24184" y="217746"/>
                  </a:lnTo>
                  <a:lnTo>
                    <a:pt x="31093" y="197018"/>
                  </a:lnTo>
                  <a:lnTo>
                    <a:pt x="38003" y="186653"/>
                  </a:lnTo>
                  <a:lnTo>
                    <a:pt x="51823" y="183198"/>
                  </a:lnTo>
                  <a:lnTo>
                    <a:pt x="72458" y="200472"/>
                  </a:lnTo>
                  <a:lnTo>
                    <a:pt x="72458" y="179743"/>
                  </a:lnTo>
                  <a:lnTo>
                    <a:pt x="55277" y="152105"/>
                  </a:lnTo>
                  <a:lnTo>
                    <a:pt x="48368" y="107193"/>
                  </a:lnTo>
                  <a:lnTo>
                    <a:pt x="41458" y="72551"/>
                  </a:lnTo>
                  <a:lnTo>
                    <a:pt x="38003" y="44912"/>
                  </a:lnTo>
                  <a:lnTo>
                    <a:pt x="34548" y="20729"/>
                  </a:lnTo>
                  <a:lnTo>
                    <a:pt x="27639" y="0"/>
                  </a:lnTo>
                  <a:lnTo>
                    <a:pt x="20729" y="10364"/>
                  </a:lnTo>
                  <a:lnTo>
                    <a:pt x="20729" y="27639"/>
                  </a:lnTo>
                  <a:lnTo>
                    <a:pt x="3455" y="34548"/>
                  </a:lnTo>
                  <a:lnTo>
                    <a:pt x="3455" y="62187"/>
                  </a:lnTo>
                  <a:lnTo>
                    <a:pt x="3455" y="86464"/>
                  </a:lnTo>
                  <a:lnTo>
                    <a:pt x="3455" y="107193"/>
                  </a:lnTo>
                  <a:lnTo>
                    <a:pt x="13820" y="121012"/>
                  </a:lnTo>
                  <a:lnTo>
                    <a:pt x="10365" y="141741"/>
                  </a:lnTo>
                  <a:lnTo>
                    <a:pt x="10365" y="176289"/>
                  </a:lnTo>
                  <a:lnTo>
                    <a:pt x="10365" y="217746"/>
                  </a:lnTo>
                  <a:lnTo>
                    <a:pt x="10365" y="252388"/>
                  </a:lnTo>
                  <a:lnTo>
                    <a:pt x="10365" y="273117"/>
                  </a:lnTo>
                  <a:lnTo>
                    <a:pt x="0" y="286936"/>
                  </a:lnTo>
                  <a:close/>
                </a:path>
              </a:pathLst>
            </a:custGeom>
            <a:solidFill>
              <a:srgbClr val="CEE3BF"/>
            </a:solidFill>
            <a:ln w="9334" cap="flat">
              <a:noFill/>
              <a:prstDash val="solid"/>
              <a:miter/>
            </a:ln>
          </p:spPr>
          <p:txBody>
            <a:bodyPr rtlCol="0" anchor="ctr"/>
            <a:lstStyle/>
            <a:p>
              <a:endParaRPr lang="en-GB" dirty="0"/>
            </a:p>
          </p:txBody>
        </p:sp>
        <p:sp>
          <p:nvSpPr>
            <p:cNvPr id="1096" name="Freeform: Shape 1095">
              <a:extLst>
                <a:ext uri="{FF2B5EF4-FFF2-40B4-BE49-F238E27FC236}">
                  <a16:creationId xmlns:a16="http://schemas.microsoft.com/office/drawing/2014/main" id="{A16BC34A-D20F-40C8-9851-328240EDF204}"/>
                </a:ext>
              </a:extLst>
            </p:cNvPr>
            <p:cNvSpPr/>
            <p:nvPr/>
          </p:nvSpPr>
          <p:spPr>
            <a:xfrm>
              <a:off x="9722358" y="2866966"/>
              <a:ext cx="72457" cy="300755"/>
            </a:xfrm>
            <a:custGeom>
              <a:avLst/>
              <a:gdLst>
                <a:gd name="connsiteX0" fmla="*/ 0 w 72457"/>
                <a:gd name="connsiteY0" fmla="*/ 286936 h 300755"/>
                <a:gd name="connsiteX1" fmla="*/ 10365 w 72457"/>
                <a:gd name="connsiteY1" fmla="*/ 300755 h 300755"/>
                <a:gd name="connsiteX2" fmla="*/ 17274 w 72457"/>
                <a:gd name="connsiteY2" fmla="*/ 276572 h 300755"/>
                <a:gd name="connsiteX3" fmla="*/ 31093 w 72457"/>
                <a:gd name="connsiteY3" fmla="*/ 280026 h 300755"/>
                <a:gd name="connsiteX4" fmla="*/ 41458 w 72457"/>
                <a:gd name="connsiteY4" fmla="*/ 293845 h 300755"/>
                <a:gd name="connsiteX5" fmla="*/ 44912 w 72457"/>
                <a:gd name="connsiteY5" fmla="*/ 280026 h 300755"/>
                <a:gd name="connsiteX6" fmla="*/ 38003 w 72457"/>
                <a:gd name="connsiteY6" fmla="*/ 266207 h 300755"/>
                <a:gd name="connsiteX7" fmla="*/ 24184 w 72457"/>
                <a:gd name="connsiteY7" fmla="*/ 248933 h 300755"/>
                <a:gd name="connsiteX8" fmla="*/ 17274 w 72457"/>
                <a:gd name="connsiteY8" fmla="*/ 231659 h 300755"/>
                <a:gd name="connsiteX9" fmla="*/ 24184 w 72457"/>
                <a:gd name="connsiteY9" fmla="*/ 217746 h 300755"/>
                <a:gd name="connsiteX10" fmla="*/ 31093 w 72457"/>
                <a:gd name="connsiteY10" fmla="*/ 197018 h 300755"/>
                <a:gd name="connsiteX11" fmla="*/ 38003 w 72457"/>
                <a:gd name="connsiteY11" fmla="*/ 186653 h 300755"/>
                <a:gd name="connsiteX12" fmla="*/ 51823 w 72457"/>
                <a:gd name="connsiteY12" fmla="*/ 183198 h 300755"/>
                <a:gd name="connsiteX13" fmla="*/ 72458 w 72457"/>
                <a:gd name="connsiteY13" fmla="*/ 200472 h 300755"/>
                <a:gd name="connsiteX14" fmla="*/ 72458 w 72457"/>
                <a:gd name="connsiteY14" fmla="*/ 179743 h 300755"/>
                <a:gd name="connsiteX15" fmla="*/ 55277 w 72457"/>
                <a:gd name="connsiteY15" fmla="*/ 152105 h 300755"/>
                <a:gd name="connsiteX16" fmla="*/ 48368 w 72457"/>
                <a:gd name="connsiteY16" fmla="*/ 107193 h 300755"/>
                <a:gd name="connsiteX17" fmla="*/ 41458 w 72457"/>
                <a:gd name="connsiteY17" fmla="*/ 72551 h 300755"/>
                <a:gd name="connsiteX18" fmla="*/ 38003 w 72457"/>
                <a:gd name="connsiteY18" fmla="*/ 44912 h 300755"/>
                <a:gd name="connsiteX19" fmla="*/ 34548 w 72457"/>
                <a:gd name="connsiteY19" fmla="*/ 20729 h 300755"/>
                <a:gd name="connsiteX20" fmla="*/ 27639 w 72457"/>
                <a:gd name="connsiteY20" fmla="*/ 0 h 300755"/>
                <a:gd name="connsiteX21" fmla="*/ 20729 w 72457"/>
                <a:gd name="connsiteY21" fmla="*/ 10364 h 300755"/>
                <a:gd name="connsiteX22" fmla="*/ 20729 w 72457"/>
                <a:gd name="connsiteY22" fmla="*/ 27639 h 300755"/>
                <a:gd name="connsiteX23" fmla="*/ 3455 w 72457"/>
                <a:gd name="connsiteY23" fmla="*/ 34548 h 300755"/>
                <a:gd name="connsiteX24" fmla="*/ 3455 w 72457"/>
                <a:gd name="connsiteY24" fmla="*/ 62187 h 300755"/>
                <a:gd name="connsiteX25" fmla="*/ 3455 w 72457"/>
                <a:gd name="connsiteY25" fmla="*/ 86464 h 300755"/>
                <a:gd name="connsiteX26" fmla="*/ 3455 w 72457"/>
                <a:gd name="connsiteY26" fmla="*/ 107193 h 300755"/>
                <a:gd name="connsiteX27" fmla="*/ 13820 w 72457"/>
                <a:gd name="connsiteY27" fmla="*/ 121012 h 300755"/>
                <a:gd name="connsiteX28" fmla="*/ 10365 w 72457"/>
                <a:gd name="connsiteY28" fmla="*/ 141741 h 300755"/>
                <a:gd name="connsiteX29" fmla="*/ 10365 w 72457"/>
                <a:gd name="connsiteY29" fmla="*/ 176289 h 300755"/>
                <a:gd name="connsiteX30" fmla="*/ 10365 w 72457"/>
                <a:gd name="connsiteY30" fmla="*/ 217746 h 300755"/>
                <a:gd name="connsiteX31" fmla="*/ 10365 w 72457"/>
                <a:gd name="connsiteY31" fmla="*/ 252388 h 300755"/>
                <a:gd name="connsiteX32" fmla="*/ 10365 w 72457"/>
                <a:gd name="connsiteY32" fmla="*/ 273117 h 300755"/>
                <a:gd name="connsiteX33" fmla="*/ 0 w 72457"/>
                <a:gd name="connsiteY33" fmla="*/ 286936 h 300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2457" h="300755">
                  <a:moveTo>
                    <a:pt x="0" y="286936"/>
                  </a:moveTo>
                  <a:lnTo>
                    <a:pt x="10365" y="300755"/>
                  </a:lnTo>
                  <a:lnTo>
                    <a:pt x="17274" y="276572"/>
                  </a:lnTo>
                  <a:lnTo>
                    <a:pt x="31093" y="280026"/>
                  </a:lnTo>
                  <a:lnTo>
                    <a:pt x="41458" y="293845"/>
                  </a:lnTo>
                  <a:lnTo>
                    <a:pt x="44912" y="280026"/>
                  </a:lnTo>
                  <a:lnTo>
                    <a:pt x="38003" y="266207"/>
                  </a:lnTo>
                  <a:lnTo>
                    <a:pt x="24184" y="248933"/>
                  </a:lnTo>
                  <a:lnTo>
                    <a:pt x="17274" y="231659"/>
                  </a:lnTo>
                  <a:lnTo>
                    <a:pt x="24184" y="217746"/>
                  </a:lnTo>
                  <a:lnTo>
                    <a:pt x="31093" y="197018"/>
                  </a:lnTo>
                  <a:lnTo>
                    <a:pt x="38003" y="186653"/>
                  </a:lnTo>
                  <a:lnTo>
                    <a:pt x="51823" y="183198"/>
                  </a:lnTo>
                  <a:lnTo>
                    <a:pt x="72458" y="200472"/>
                  </a:lnTo>
                  <a:lnTo>
                    <a:pt x="72458" y="179743"/>
                  </a:lnTo>
                  <a:lnTo>
                    <a:pt x="55277" y="152105"/>
                  </a:lnTo>
                  <a:lnTo>
                    <a:pt x="48368" y="107193"/>
                  </a:lnTo>
                  <a:lnTo>
                    <a:pt x="41458" y="72551"/>
                  </a:lnTo>
                  <a:lnTo>
                    <a:pt x="38003" y="44912"/>
                  </a:lnTo>
                  <a:lnTo>
                    <a:pt x="34548" y="20729"/>
                  </a:lnTo>
                  <a:lnTo>
                    <a:pt x="27639" y="0"/>
                  </a:lnTo>
                  <a:lnTo>
                    <a:pt x="20729" y="10364"/>
                  </a:lnTo>
                  <a:lnTo>
                    <a:pt x="20729" y="27639"/>
                  </a:lnTo>
                  <a:lnTo>
                    <a:pt x="3455" y="34548"/>
                  </a:lnTo>
                  <a:lnTo>
                    <a:pt x="3455" y="62187"/>
                  </a:lnTo>
                  <a:lnTo>
                    <a:pt x="3455" y="86464"/>
                  </a:lnTo>
                  <a:lnTo>
                    <a:pt x="3455" y="107193"/>
                  </a:lnTo>
                  <a:lnTo>
                    <a:pt x="13820" y="121012"/>
                  </a:lnTo>
                  <a:lnTo>
                    <a:pt x="10365" y="141741"/>
                  </a:lnTo>
                  <a:lnTo>
                    <a:pt x="10365" y="176289"/>
                  </a:lnTo>
                  <a:lnTo>
                    <a:pt x="10365" y="217746"/>
                  </a:lnTo>
                  <a:lnTo>
                    <a:pt x="10365" y="252388"/>
                  </a:lnTo>
                  <a:lnTo>
                    <a:pt x="10365" y="273117"/>
                  </a:lnTo>
                  <a:lnTo>
                    <a:pt x="0" y="286936"/>
                  </a:lnTo>
                  <a:close/>
                </a:path>
              </a:pathLst>
            </a:custGeom>
            <a:solidFill>
              <a:srgbClr val="CEE3BF"/>
            </a:solidFill>
            <a:ln w="9334" cap="flat">
              <a:noFill/>
              <a:prstDash val="solid"/>
              <a:miter/>
            </a:ln>
          </p:spPr>
          <p:txBody>
            <a:bodyPr rtlCol="0" anchor="ctr"/>
            <a:lstStyle/>
            <a:p>
              <a:endParaRPr lang="en-GB" dirty="0"/>
            </a:p>
          </p:txBody>
        </p:sp>
        <p:sp>
          <p:nvSpPr>
            <p:cNvPr id="1097" name="Freeform: Shape 1096">
              <a:extLst>
                <a:ext uri="{FF2B5EF4-FFF2-40B4-BE49-F238E27FC236}">
                  <a16:creationId xmlns:a16="http://schemas.microsoft.com/office/drawing/2014/main" id="{17C9DC05-3841-4299-9F3C-510C465ADBC6}"/>
                </a:ext>
              </a:extLst>
            </p:cNvPr>
            <p:cNvSpPr/>
            <p:nvPr/>
          </p:nvSpPr>
          <p:spPr>
            <a:xfrm>
              <a:off x="7064023" y="3371648"/>
              <a:ext cx="41457" cy="34548"/>
            </a:xfrm>
            <a:custGeom>
              <a:avLst/>
              <a:gdLst>
                <a:gd name="connsiteX0" fmla="*/ 38003 w 41457"/>
                <a:gd name="connsiteY0" fmla="*/ 34548 h 34548"/>
                <a:gd name="connsiteX1" fmla="*/ 24183 w 41457"/>
                <a:gd name="connsiteY1" fmla="*/ 27639 h 34548"/>
                <a:gd name="connsiteX2" fmla="*/ 13819 w 41457"/>
                <a:gd name="connsiteY2" fmla="*/ 20729 h 34548"/>
                <a:gd name="connsiteX3" fmla="*/ 0 w 41457"/>
                <a:gd name="connsiteY3" fmla="*/ 6910 h 34548"/>
                <a:gd name="connsiteX4" fmla="*/ 3455 w 41457"/>
                <a:gd name="connsiteY4" fmla="*/ 0 h 34548"/>
                <a:gd name="connsiteX5" fmla="*/ 17274 w 41457"/>
                <a:gd name="connsiteY5" fmla="*/ 0 h 34548"/>
                <a:gd name="connsiteX6" fmla="*/ 27638 w 41457"/>
                <a:gd name="connsiteY6" fmla="*/ 6910 h 34548"/>
                <a:gd name="connsiteX7" fmla="*/ 38003 w 41457"/>
                <a:gd name="connsiteY7" fmla="*/ 10364 h 34548"/>
                <a:gd name="connsiteX8" fmla="*/ 41458 w 41457"/>
                <a:gd name="connsiteY8" fmla="*/ 24184 h 34548"/>
                <a:gd name="connsiteX9" fmla="*/ 38003 w 41457"/>
                <a:gd name="connsiteY9" fmla="*/ 34548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457" h="34548">
                  <a:moveTo>
                    <a:pt x="38003" y="34548"/>
                  </a:moveTo>
                  <a:lnTo>
                    <a:pt x="24183" y="27639"/>
                  </a:lnTo>
                  <a:lnTo>
                    <a:pt x="13819" y="20729"/>
                  </a:lnTo>
                  <a:lnTo>
                    <a:pt x="0" y="6910"/>
                  </a:lnTo>
                  <a:lnTo>
                    <a:pt x="3455" y="0"/>
                  </a:lnTo>
                  <a:lnTo>
                    <a:pt x="17274" y="0"/>
                  </a:lnTo>
                  <a:lnTo>
                    <a:pt x="27638" y="6910"/>
                  </a:lnTo>
                  <a:lnTo>
                    <a:pt x="38003" y="10364"/>
                  </a:lnTo>
                  <a:lnTo>
                    <a:pt x="41458" y="24184"/>
                  </a:lnTo>
                  <a:lnTo>
                    <a:pt x="38003" y="34548"/>
                  </a:lnTo>
                  <a:close/>
                </a:path>
              </a:pathLst>
            </a:custGeom>
            <a:solidFill>
              <a:srgbClr val="CEE3BF"/>
            </a:solidFill>
            <a:ln w="9334" cap="flat">
              <a:noFill/>
              <a:prstDash val="solid"/>
              <a:miter/>
            </a:ln>
          </p:spPr>
          <p:txBody>
            <a:bodyPr rtlCol="0" anchor="ctr"/>
            <a:lstStyle/>
            <a:p>
              <a:endParaRPr lang="en-GB" dirty="0"/>
            </a:p>
          </p:txBody>
        </p:sp>
        <p:sp>
          <p:nvSpPr>
            <p:cNvPr id="1098" name="Freeform: Shape 1097">
              <a:extLst>
                <a:ext uri="{FF2B5EF4-FFF2-40B4-BE49-F238E27FC236}">
                  <a16:creationId xmlns:a16="http://schemas.microsoft.com/office/drawing/2014/main" id="{3F0FF35A-E8DD-4B78-8B52-C9F151E8CF51}"/>
                </a:ext>
              </a:extLst>
            </p:cNvPr>
            <p:cNvSpPr/>
            <p:nvPr/>
          </p:nvSpPr>
          <p:spPr>
            <a:xfrm>
              <a:off x="7064023" y="3371648"/>
              <a:ext cx="41457" cy="34548"/>
            </a:xfrm>
            <a:custGeom>
              <a:avLst/>
              <a:gdLst>
                <a:gd name="connsiteX0" fmla="*/ 38003 w 41457"/>
                <a:gd name="connsiteY0" fmla="*/ 34548 h 34548"/>
                <a:gd name="connsiteX1" fmla="*/ 24183 w 41457"/>
                <a:gd name="connsiteY1" fmla="*/ 27639 h 34548"/>
                <a:gd name="connsiteX2" fmla="*/ 13819 w 41457"/>
                <a:gd name="connsiteY2" fmla="*/ 20729 h 34548"/>
                <a:gd name="connsiteX3" fmla="*/ 0 w 41457"/>
                <a:gd name="connsiteY3" fmla="*/ 6910 h 34548"/>
                <a:gd name="connsiteX4" fmla="*/ 3455 w 41457"/>
                <a:gd name="connsiteY4" fmla="*/ 0 h 34548"/>
                <a:gd name="connsiteX5" fmla="*/ 17274 w 41457"/>
                <a:gd name="connsiteY5" fmla="*/ 0 h 34548"/>
                <a:gd name="connsiteX6" fmla="*/ 27638 w 41457"/>
                <a:gd name="connsiteY6" fmla="*/ 6910 h 34548"/>
                <a:gd name="connsiteX7" fmla="*/ 38003 w 41457"/>
                <a:gd name="connsiteY7" fmla="*/ 10364 h 34548"/>
                <a:gd name="connsiteX8" fmla="*/ 41458 w 41457"/>
                <a:gd name="connsiteY8" fmla="*/ 24184 h 34548"/>
                <a:gd name="connsiteX9" fmla="*/ 38003 w 41457"/>
                <a:gd name="connsiteY9" fmla="*/ 34548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457" h="34548">
                  <a:moveTo>
                    <a:pt x="38003" y="34548"/>
                  </a:moveTo>
                  <a:lnTo>
                    <a:pt x="24183" y="27639"/>
                  </a:lnTo>
                  <a:lnTo>
                    <a:pt x="13819" y="20729"/>
                  </a:lnTo>
                  <a:lnTo>
                    <a:pt x="0" y="6910"/>
                  </a:lnTo>
                  <a:lnTo>
                    <a:pt x="3455" y="0"/>
                  </a:lnTo>
                  <a:lnTo>
                    <a:pt x="17274" y="0"/>
                  </a:lnTo>
                  <a:lnTo>
                    <a:pt x="27638" y="6910"/>
                  </a:lnTo>
                  <a:lnTo>
                    <a:pt x="38003" y="10364"/>
                  </a:lnTo>
                  <a:lnTo>
                    <a:pt x="41458" y="24184"/>
                  </a:lnTo>
                  <a:lnTo>
                    <a:pt x="38003" y="34548"/>
                  </a:lnTo>
                  <a:close/>
                </a:path>
              </a:pathLst>
            </a:custGeom>
            <a:solidFill>
              <a:srgbClr val="CEE3BF"/>
            </a:solidFill>
            <a:ln w="9334" cap="flat">
              <a:noFill/>
              <a:prstDash val="solid"/>
              <a:miter/>
            </a:ln>
          </p:spPr>
          <p:txBody>
            <a:bodyPr rtlCol="0" anchor="ctr"/>
            <a:lstStyle/>
            <a:p>
              <a:endParaRPr lang="en-GB" dirty="0"/>
            </a:p>
          </p:txBody>
        </p:sp>
        <p:sp>
          <p:nvSpPr>
            <p:cNvPr id="1099" name="Freeform: Shape 1098">
              <a:extLst>
                <a:ext uri="{FF2B5EF4-FFF2-40B4-BE49-F238E27FC236}">
                  <a16:creationId xmlns:a16="http://schemas.microsoft.com/office/drawing/2014/main" id="{F595F141-2393-43A6-8E98-9BDA40DF0CE6}"/>
                </a:ext>
              </a:extLst>
            </p:cNvPr>
            <p:cNvSpPr/>
            <p:nvPr/>
          </p:nvSpPr>
          <p:spPr>
            <a:xfrm>
              <a:off x="6798189" y="3537572"/>
              <a:ext cx="48367" cy="48460"/>
            </a:xfrm>
            <a:custGeom>
              <a:avLst/>
              <a:gdLst>
                <a:gd name="connsiteX0" fmla="*/ 27639 w 48367"/>
                <a:gd name="connsiteY0" fmla="*/ 3455 h 48460"/>
                <a:gd name="connsiteX1" fmla="*/ 41458 w 48367"/>
                <a:gd name="connsiteY1" fmla="*/ 0 h 48460"/>
                <a:gd name="connsiteX2" fmla="*/ 48367 w 48367"/>
                <a:gd name="connsiteY2" fmla="*/ 6910 h 48460"/>
                <a:gd name="connsiteX3" fmla="*/ 41458 w 48367"/>
                <a:gd name="connsiteY3" fmla="*/ 17274 h 48460"/>
                <a:gd name="connsiteX4" fmla="*/ 31093 w 48367"/>
                <a:gd name="connsiteY4" fmla="*/ 24184 h 48460"/>
                <a:gd name="connsiteX5" fmla="*/ 27639 w 48367"/>
                <a:gd name="connsiteY5" fmla="*/ 34548 h 48460"/>
                <a:gd name="connsiteX6" fmla="*/ 17274 w 48367"/>
                <a:gd name="connsiteY6" fmla="*/ 41551 h 48460"/>
                <a:gd name="connsiteX7" fmla="*/ 10364 w 48367"/>
                <a:gd name="connsiteY7" fmla="*/ 48461 h 48460"/>
                <a:gd name="connsiteX8" fmla="*/ 0 w 48367"/>
                <a:gd name="connsiteY8" fmla="*/ 45006 h 48460"/>
                <a:gd name="connsiteX9" fmla="*/ 10364 w 48367"/>
                <a:gd name="connsiteY9" fmla="*/ 31093 h 48460"/>
                <a:gd name="connsiteX10" fmla="*/ 20729 w 48367"/>
                <a:gd name="connsiteY10" fmla="*/ 13819 h 48460"/>
                <a:gd name="connsiteX11" fmla="*/ 27639 w 48367"/>
                <a:gd name="connsiteY11" fmla="*/ 3455 h 4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67" h="48460">
                  <a:moveTo>
                    <a:pt x="27639" y="3455"/>
                  </a:moveTo>
                  <a:lnTo>
                    <a:pt x="41458" y="0"/>
                  </a:lnTo>
                  <a:lnTo>
                    <a:pt x="48367" y="6910"/>
                  </a:lnTo>
                  <a:lnTo>
                    <a:pt x="41458" y="17274"/>
                  </a:lnTo>
                  <a:lnTo>
                    <a:pt x="31093" y="24184"/>
                  </a:lnTo>
                  <a:lnTo>
                    <a:pt x="27639" y="34548"/>
                  </a:lnTo>
                  <a:lnTo>
                    <a:pt x="17274" y="41551"/>
                  </a:lnTo>
                  <a:lnTo>
                    <a:pt x="10364" y="48461"/>
                  </a:lnTo>
                  <a:lnTo>
                    <a:pt x="0" y="45006"/>
                  </a:lnTo>
                  <a:lnTo>
                    <a:pt x="10364" y="31093"/>
                  </a:lnTo>
                  <a:lnTo>
                    <a:pt x="20729" y="13819"/>
                  </a:lnTo>
                  <a:lnTo>
                    <a:pt x="27639" y="3455"/>
                  </a:lnTo>
                  <a:close/>
                </a:path>
              </a:pathLst>
            </a:custGeom>
            <a:solidFill>
              <a:srgbClr val="CEE3BF"/>
            </a:solidFill>
            <a:ln w="9334" cap="flat">
              <a:noFill/>
              <a:prstDash val="solid"/>
              <a:miter/>
            </a:ln>
          </p:spPr>
          <p:txBody>
            <a:bodyPr rtlCol="0" anchor="ctr"/>
            <a:lstStyle/>
            <a:p>
              <a:endParaRPr lang="en-GB" dirty="0"/>
            </a:p>
          </p:txBody>
        </p:sp>
        <p:sp>
          <p:nvSpPr>
            <p:cNvPr id="1100" name="Freeform: Shape 1099">
              <a:extLst>
                <a:ext uri="{FF2B5EF4-FFF2-40B4-BE49-F238E27FC236}">
                  <a16:creationId xmlns:a16="http://schemas.microsoft.com/office/drawing/2014/main" id="{9BA079C9-2992-4087-8340-975C2ED1440B}"/>
                </a:ext>
              </a:extLst>
            </p:cNvPr>
            <p:cNvSpPr/>
            <p:nvPr/>
          </p:nvSpPr>
          <p:spPr>
            <a:xfrm>
              <a:off x="6798189" y="3537572"/>
              <a:ext cx="48367" cy="48460"/>
            </a:xfrm>
            <a:custGeom>
              <a:avLst/>
              <a:gdLst>
                <a:gd name="connsiteX0" fmla="*/ 27639 w 48367"/>
                <a:gd name="connsiteY0" fmla="*/ 3455 h 48460"/>
                <a:gd name="connsiteX1" fmla="*/ 41458 w 48367"/>
                <a:gd name="connsiteY1" fmla="*/ 0 h 48460"/>
                <a:gd name="connsiteX2" fmla="*/ 48367 w 48367"/>
                <a:gd name="connsiteY2" fmla="*/ 6910 h 48460"/>
                <a:gd name="connsiteX3" fmla="*/ 41458 w 48367"/>
                <a:gd name="connsiteY3" fmla="*/ 17274 h 48460"/>
                <a:gd name="connsiteX4" fmla="*/ 31093 w 48367"/>
                <a:gd name="connsiteY4" fmla="*/ 24184 h 48460"/>
                <a:gd name="connsiteX5" fmla="*/ 27639 w 48367"/>
                <a:gd name="connsiteY5" fmla="*/ 34548 h 48460"/>
                <a:gd name="connsiteX6" fmla="*/ 17274 w 48367"/>
                <a:gd name="connsiteY6" fmla="*/ 41551 h 48460"/>
                <a:gd name="connsiteX7" fmla="*/ 10364 w 48367"/>
                <a:gd name="connsiteY7" fmla="*/ 48461 h 48460"/>
                <a:gd name="connsiteX8" fmla="*/ 0 w 48367"/>
                <a:gd name="connsiteY8" fmla="*/ 45006 h 48460"/>
                <a:gd name="connsiteX9" fmla="*/ 10364 w 48367"/>
                <a:gd name="connsiteY9" fmla="*/ 31093 h 48460"/>
                <a:gd name="connsiteX10" fmla="*/ 20729 w 48367"/>
                <a:gd name="connsiteY10" fmla="*/ 13819 h 48460"/>
                <a:gd name="connsiteX11" fmla="*/ 27639 w 48367"/>
                <a:gd name="connsiteY11" fmla="*/ 3455 h 4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67" h="48460">
                  <a:moveTo>
                    <a:pt x="27639" y="3455"/>
                  </a:moveTo>
                  <a:lnTo>
                    <a:pt x="41458" y="0"/>
                  </a:lnTo>
                  <a:lnTo>
                    <a:pt x="48367" y="6910"/>
                  </a:lnTo>
                  <a:lnTo>
                    <a:pt x="41458" y="17274"/>
                  </a:lnTo>
                  <a:lnTo>
                    <a:pt x="31093" y="24184"/>
                  </a:lnTo>
                  <a:lnTo>
                    <a:pt x="27639" y="34548"/>
                  </a:lnTo>
                  <a:lnTo>
                    <a:pt x="17274" y="41551"/>
                  </a:lnTo>
                  <a:lnTo>
                    <a:pt x="10364" y="48461"/>
                  </a:lnTo>
                  <a:lnTo>
                    <a:pt x="0" y="45006"/>
                  </a:lnTo>
                  <a:lnTo>
                    <a:pt x="10364" y="31093"/>
                  </a:lnTo>
                  <a:lnTo>
                    <a:pt x="20729" y="13819"/>
                  </a:lnTo>
                  <a:lnTo>
                    <a:pt x="27639" y="3455"/>
                  </a:lnTo>
                  <a:close/>
                </a:path>
              </a:pathLst>
            </a:custGeom>
            <a:solidFill>
              <a:srgbClr val="CEE3BF"/>
            </a:solidFill>
            <a:ln w="9334" cap="flat">
              <a:noFill/>
              <a:prstDash val="solid"/>
              <a:miter/>
            </a:ln>
          </p:spPr>
          <p:txBody>
            <a:bodyPr rtlCol="0" anchor="ctr"/>
            <a:lstStyle/>
            <a:p>
              <a:endParaRPr lang="en-GB" dirty="0"/>
            </a:p>
          </p:txBody>
        </p:sp>
        <p:sp>
          <p:nvSpPr>
            <p:cNvPr id="1101" name="Freeform: Shape 1100">
              <a:extLst>
                <a:ext uri="{FF2B5EF4-FFF2-40B4-BE49-F238E27FC236}">
                  <a16:creationId xmlns:a16="http://schemas.microsoft.com/office/drawing/2014/main" id="{045E6A2D-939A-4038-ABD1-F53F551BAFC2}"/>
                </a:ext>
              </a:extLst>
            </p:cNvPr>
            <p:cNvSpPr/>
            <p:nvPr/>
          </p:nvSpPr>
          <p:spPr>
            <a:xfrm>
              <a:off x="6808554" y="3458112"/>
              <a:ext cx="186466" cy="148650"/>
            </a:xfrm>
            <a:custGeom>
              <a:avLst/>
              <a:gdLst>
                <a:gd name="connsiteX0" fmla="*/ 17274 w 186466"/>
                <a:gd name="connsiteY0" fmla="*/ 82915 h 148650"/>
                <a:gd name="connsiteX1" fmla="*/ 13820 w 186466"/>
                <a:gd name="connsiteY1" fmla="*/ 55277 h 148650"/>
                <a:gd name="connsiteX2" fmla="*/ 13820 w 186466"/>
                <a:gd name="connsiteY2" fmla="*/ 41458 h 148650"/>
                <a:gd name="connsiteX3" fmla="*/ 17274 w 186466"/>
                <a:gd name="connsiteY3" fmla="*/ 34548 h 148650"/>
                <a:gd name="connsiteX4" fmla="*/ 31093 w 186466"/>
                <a:gd name="connsiteY4" fmla="*/ 20729 h 148650"/>
                <a:gd name="connsiteX5" fmla="*/ 34548 w 186466"/>
                <a:gd name="connsiteY5" fmla="*/ 6910 h 148650"/>
                <a:gd name="connsiteX6" fmla="*/ 44912 w 186466"/>
                <a:gd name="connsiteY6" fmla="*/ 13819 h 148650"/>
                <a:gd name="connsiteX7" fmla="*/ 65548 w 186466"/>
                <a:gd name="connsiteY7" fmla="*/ 13819 h 148650"/>
                <a:gd name="connsiteX8" fmla="*/ 69003 w 186466"/>
                <a:gd name="connsiteY8" fmla="*/ 6910 h 148650"/>
                <a:gd name="connsiteX9" fmla="*/ 79367 w 186466"/>
                <a:gd name="connsiteY9" fmla="*/ 6910 h 148650"/>
                <a:gd name="connsiteX10" fmla="*/ 89732 w 186466"/>
                <a:gd name="connsiteY10" fmla="*/ 17274 h 148650"/>
                <a:gd name="connsiteX11" fmla="*/ 120825 w 186466"/>
                <a:gd name="connsiteY11" fmla="*/ 13819 h 148650"/>
                <a:gd name="connsiteX12" fmla="*/ 141554 w 186466"/>
                <a:gd name="connsiteY12" fmla="*/ 0 h 148650"/>
                <a:gd name="connsiteX13" fmla="*/ 186467 w 186466"/>
                <a:gd name="connsiteY13" fmla="*/ 0 h 148650"/>
                <a:gd name="connsiteX14" fmla="*/ 186467 w 186466"/>
                <a:gd name="connsiteY14" fmla="*/ 6910 h 148650"/>
                <a:gd name="connsiteX15" fmla="*/ 162283 w 186466"/>
                <a:gd name="connsiteY15" fmla="*/ 24184 h 148650"/>
                <a:gd name="connsiteX16" fmla="*/ 155373 w 186466"/>
                <a:gd name="connsiteY16" fmla="*/ 79461 h 148650"/>
                <a:gd name="connsiteX17" fmla="*/ 93187 w 186466"/>
                <a:gd name="connsiteY17" fmla="*/ 117464 h 148650"/>
                <a:gd name="connsiteX18" fmla="*/ 48368 w 186466"/>
                <a:gd name="connsiteY18" fmla="*/ 145195 h 148650"/>
                <a:gd name="connsiteX19" fmla="*/ 34548 w 186466"/>
                <a:gd name="connsiteY19" fmla="*/ 148650 h 148650"/>
                <a:gd name="connsiteX20" fmla="*/ 20729 w 186466"/>
                <a:gd name="connsiteY20" fmla="*/ 141741 h 148650"/>
                <a:gd name="connsiteX21" fmla="*/ 10365 w 186466"/>
                <a:gd name="connsiteY21" fmla="*/ 138286 h 148650"/>
                <a:gd name="connsiteX22" fmla="*/ 3455 w 186466"/>
                <a:gd name="connsiteY22" fmla="*/ 134831 h 148650"/>
                <a:gd name="connsiteX23" fmla="*/ 0 w 186466"/>
                <a:gd name="connsiteY23" fmla="*/ 127921 h 148650"/>
                <a:gd name="connsiteX24" fmla="*/ 17274 w 186466"/>
                <a:gd name="connsiteY24" fmla="*/ 114009 h 148650"/>
                <a:gd name="connsiteX25" fmla="*/ 20729 w 186466"/>
                <a:gd name="connsiteY25" fmla="*/ 103644 h 148650"/>
                <a:gd name="connsiteX26" fmla="*/ 31093 w 186466"/>
                <a:gd name="connsiteY26" fmla="*/ 96735 h 148650"/>
                <a:gd name="connsiteX27" fmla="*/ 38003 w 186466"/>
                <a:gd name="connsiteY27" fmla="*/ 86370 h 148650"/>
                <a:gd name="connsiteX28" fmla="*/ 31093 w 186466"/>
                <a:gd name="connsiteY28" fmla="*/ 79461 h 148650"/>
                <a:gd name="connsiteX29" fmla="*/ 17274 w 186466"/>
                <a:gd name="connsiteY29" fmla="*/ 82915 h 14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6466" h="148650">
                  <a:moveTo>
                    <a:pt x="17274" y="82915"/>
                  </a:moveTo>
                  <a:lnTo>
                    <a:pt x="13820" y="55277"/>
                  </a:lnTo>
                  <a:lnTo>
                    <a:pt x="13820" y="41458"/>
                  </a:lnTo>
                  <a:lnTo>
                    <a:pt x="17274" y="34548"/>
                  </a:lnTo>
                  <a:lnTo>
                    <a:pt x="31093" y="20729"/>
                  </a:lnTo>
                  <a:lnTo>
                    <a:pt x="34548" y="6910"/>
                  </a:lnTo>
                  <a:lnTo>
                    <a:pt x="44912" y="13819"/>
                  </a:lnTo>
                  <a:lnTo>
                    <a:pt x="65548" y="13819"/>
                  </a:lnTo>
                  <a:lnTo>
                    <a:pt x="69003" y="6910"/>
                  </a:lnTo>
                  <a:lnTo>
                    <a:pt x="79367" y="6910"/>
                  </a:lnTo>
                  <a:lnTo>
                    <a:pt x="89732" y="17274"/>
                  </a:lnTo>
                  <a:lnTo>
                    <a:pt x="120825" y="13819"/>
                  </a:lnTo>
                  <a:lnTo>
                    <a:pt x="141554" y="0"/>
                  </a:lnTo>
                  <a:lnTo>
                    <a:pt x="186467" y="0"/>
                  </a:lnTo>
                  <a:lnTo>
                    <a:pt x="186467" y="6910"/>
                  </a:lnTo>
                  <a:lnTo>
                    <a:pt x="162283" y="24184"/>
                  </a:lnTo>
                  <a:lnTo>
                    <a:pt x="155373" y="79461"/>
                  </a:lnTo>
                  <a:lnTo>
                    <a:pt x="93187" y="117464"/>
                  </a:lnTo>
                  <a:lnTo>
                    <a:pt x="48368" y="145195"/>
                  </a:lnTo>
                  <a:lnTo>
                    <a:pt x="34548" y="148650"/>
                  </a:lnTo>
                  <a:lnTo>
                    <a:pt x="20729" y="141741"/>
                  </a:lnTo>
                  <a:lnTo>
                    <a:pt x="10365" y="138286"/>
                  </a:lnTo>
                  <a:lnTo>
                    <a:pt x="3455" y="134831"/>
                  </a:lnTo>
                  <a:lnTo>
                    <a:pt x="0" y="127921"/>
                  </a:lnTo>
                  <a:lnTo>
                    <a:pt x="17274" y="114009"/>
                  </a:lnTo>
                  <a:lnTo>
                    <a:pt x="20729" y="103644"/>
                  </a:lnTo>
                  <a:lnTo>
                    <a:pt x="31093" y="96735"/>
                  </a:lnTo>
                  <a:lnTo>
                    <a:pt x="38003" y="86370"/>
                  </a:lnTo>
                  <a:lnTo>
                    <a:pt x="31093" y="79461"/>
                  </a:lnTo>
                  <a:lnTo>
                    <a:pt x="17274" y="82915"/>
                  </a:lnTo>
                  <a:close/>
                </a:path>
              </a:pathLst>
            </a:custGeom>
            <a:solidFill>
              <a:srgbClr val="CEE3BF"/>
            </a:solidFill>
            <a:ln w="9334" cap="flat">
              <a:noFill/>
              <a:prstDash val="solid"/>
              <a:miter/>
            </a:ln>
          </p:spPr>
          <p:txBody>
            <a:bodyPr rtlCol="0" anchor="ctr"/>
            <a:lstStyle/>
            <a:p>
              <a:endParaRPr lang="en-GB" dirty="0"/>
            </a:p>
          </p:txBody>
        </p:sp>
        <p:sp>
          <p:nvSpPr>
            <p:cNvPr id="1102" name="Freeform: Shape 1101">
              <a:extLst>
                <a:ext uri="{FF2B5EF4-FFF2-40B4-BE49-F238E27FC236}">
                  <a16:creationId xmlns:a16="http://schemas.microsoft.com/office/drawing/2014/main" id="{034F19FD-8A4D-41F8-BF10-B97F4BB8DC7E}"/>
                </a:ext>
              </a:extLst>
            </p:cNvPr>
            <p:cNvSpPr/>
            <p:nvPr/>
          </p:nvSpPr>
          <p:spPr>
            <a:xfrm>
              <a:off x="6808554" y="3458112"/>
              <a:ext cx="186466" cy="148650"/>
            </a:xfrm>
            <a:custGeom>
              <a:avLst/>
              <a:gdLst>
                <a:gd name="connsiteX0" fmla="*/ 17274 w 186466"/>
                <a:gd name="connsiteY0" fmla="*/ 82915 h 148650"/>
                <a:gd name="connsiteX1" fmla="*/ 13820 w 186466"/>
                <a:gd name="connsiteY1" fmla="*/ 55277 h 148650"/>
                <a:gd name="connsiteX2" fmla="*/ 13820 w 186466"/>
                <a:gd name="connsiteY2" fmla="*/ 41458 h 148650"/>
                <a:gd name="connsiteX3" fmla="*/ 17274 w 186466"/>
                <a:gd name="connsiteY3" fmla="*/ 34548 h 148650"/>
                <a:gd name="connsiteX4" fmla="*/ 31093 w 186466"/>
                <a:gd name="connsiteY4" fmla="*/ 20729 h 148650"/>
                <a:gd name="connsiteX5" fmla="*/ 34548 w 186466"/>
                <a:gd name="connsiteY5" fmla="*/ 6910 h 148650"/>
                <a:gd name="connsiteX6" fmla="*/ 44912 w 186466"/>
                <a:gd name="connsiteY6" fmla="*/ 13819 h 148650"/>
                <a:gd name="connsiteX7" fmla="*/ 65548 w 186466"/>
                <a:gd name="connsiteY7" fmla="*/ 13819 h 148650"/>
                <a:gd name="connsiteX8" fmla="*/ 69003 w 186466"/>
                <a:gd name="connsiteY8" fmla="*/ 6910 h 148650"/>
                <a:gd name="connsiteX9" fmla="*/ 79367 w 186466"/>
                <a:gd name="connsiteY9" fmla="*/ 6910 h 148650"/>
                <a:gd name="connsiteX10" fmla="*/ 89732 w 186466"/>
                <a:gd name="connsiteY10" fmla="*/ 17274 h 148650"/>
                <a:gd name="connsiteX11" fmla="*/ 120825 w 186466"/>
                <a:gd name="connsiteY11" fmla="*/ 13819 h 148650"/>
                <a:gd name="connsiteX12" fmla="*/ 141554 w 186466"/>
                <a:gd name="connsiteY12" fmla="*/ 0 h 148650"/>
                <a:gd name="connsiteX13" fmla="*/ 186467 w 186466"/>
                <a:gd name="connsiteY13" fmla="*/ 0 h 148650"/>
                <a:gd name="connsiteX14" fmla="*/ 186467 w 186466"/>
                <a:gd name="connsiteY14" fmla="*/ 6910 h 148650"/>
                <a:gd name="connsiteX15" fmla="*/ 162283 w 186466"/>
                <a:gd name="connsiteY15" fmla="*/ 24184 h 148650"/>
                <a:gd name="connsiteX16" fmla="*/ 155373 w 186466"/>
                <a:gd name="connsiteY16" fmla="*/ 79461 h 148650"/>
                <a:gd name="connsiteX17" fmla="*/ 93187 w 186466"/>
                <a:gd name="connsiteY17" fmla="*/ 117464 h 148650"/>
                <a:gd name="connsiteX18" fmla="*/ 48368 w 186466"/>
                <a:gd name="connsiteY18" fmla="*/ 145195 h 148650"/>
                <a:gd name="connsiteX19" fmla="*/ 34548 w 186466"/>
                <a:gd name="connsiteY19" fmla="*/ 148650 h 148650"/>
                <a:gd name="connsiteX20" fmla="*/ 20729 w 186466"/>
                <a:gd name="connsiteY20" fmla="*/ 141741 h 148650"/>
                <a:gd name="connsiteX21" fmla="*/ 10365 w 186466"/>
                <a:gd name="connsiteY21" fmla="*/ 138286 h 148650"/>
                <a:gd name="connsiteX22" fmla="*/ 3455 w 186466"/>
                <a:gd name="connsiteY22" fmla="*/ 134831 h 148650"/>
                <a:gd name="connsiteX23" fmla="*/ 0 w 186466"/>
                <a:gd name="connsiteY23" fmla="*/ 127921 h 148650"/>
                <a:gd name="connsiteX24" fmla="*/ 17274 w 186466"/>
                <a:gd name="connsiteY24" fmla="*/ 114009 h 148650"/>
                <a:gd name="connsiteX25" fmla="*/ 20729 w 186466"/>
                <a:gd name="connsiteY25" fmla="*/ 103644 h 148650"/>
                <a:gd name="connsiteX26" fmla="*/ 31093 w 186466"/>
                <a:gd name="connsiteY26" fmla="*/ 96735 h 148650"/>
                <a:gd name="connsiteX27" fmla="*/ 38003 w 186466"/>
                <a:gd name="connsiteY27" fmla="*/ 86370 h 148650"/>
                <a:gd name="connsiteX28" fmla="*/ 31093 w 186466"/>
                <a:gd name="connsiteY28" fmla="*/ 79461 h 148650"/>
                <a:gd name="connsiteX29" fmla="*/ 17274 w 186466"/>
                <a:gd name="connsiteY29" fmla="*/ 82915 h 14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6466" h="148650">
                  <a:moveTo>
                    <a:pt x="17274" y="82915"/>
                  </a:moveTo>
                  <a:lnTo>
                    <a:pt x="13820" y="55277"/>
                  </a:lnTo>
                  <a:lnTo>
                    <a:pt x="13820" y="41458"/>
                  </a:lnTo>
                  <a:lnTo>
                    <a:pt x="17274" y="34548"/>
                  </a:lnTo>
                  <a:lnTo>
                    <a:pt x="31093" y="20729"/>
                  </a:lnTo>
                  <a:lnTo>
                    <a:pt x="34548" y="6910"/>
                  </a:lnTo>
                  <a:lnTo>
                    <a:pt x="44912" y="13819"/>
                  </a:lnTo>
                  <a:lnTo>
                    <a:pt x="65548" y="13819"/>
                  </a:lnTo>
                  <a:lnTo>
                    <a:pt x="69003" y="6910"/>
                  </a:lnTo>
                  <a:lnTo>
                    <a:pt x="79367" y="6910"/>
                  </a:lnTo>
                  <a:lnTo>
                    <a:pt x="89732" y="17274"/>
                  </a:lnTo>
                  <a:lnTo>
                    <a:pt x="120825" y="13819"/>
                  </a:lnTo>
                  <a:lnTo>
                    <a:pt x="141554" y="0"/>
                  </a:lnTo>
                  <a:lnTo>
                    <a:pt x="186467" y="0"/>
                  </a:lnTo>
                  <a:lnTo>
                    <a:pt x="186467" y="6910"/>
                  </a:lnTo>
                  <a:lnTo>
                    <a:pt x="162283" y="24184"/>
                  </a:lnTo>
                  <a:lnTo>
                    <a:pt x="155373" y="79461"/>
                  </a:lnTo>
                  <a:lnTo>
                    <a:pt x="93187" y="117464"/>
                  </a:lnTo>
                  <a:lnTo>
                    <a:pt x="48368" y="145195"/>
                  </a:lnTo>
                  <a:lnTo>
                    <a:pt x="34548" y="148650"/>
                  </a:lnTo>
                  <a:lnTo>
                    <a:pt x="20729" y="141741"/>
                  </a:lnTo>
                  <a:lnTo>
                    <a:pt x="10365" y="138286"/>
                  </a:lnTo>
                  <a:lnTo>
                    <a:pt x="3455" y="134831"/>
                  </a:lnTo>
                  <a:lnTo>
                    <a:pt x="0" y="127921"/>
                  </a:lnTo>
                  <a:lnTo>
                    <a:pt x="17274" y="114009"/>
                  </a:lnTo>
                  <a:lnTo>
                    <a:pt x="20729" y="103644"/>
                  </a:lnTo>
                  <a:lnTo>
                    <a:pt x="31093" y="96735"/>
                  </a:lnTo>
                  <a:lnTo>
                    <a:pt x="38003" y="86370"/>
                  </a:lnTo>
                  <a:lnTo>
                    <a:pt x="31093" y="79461"/>
                  </a:lnTo>
                  <a:lnTo>
                    <a:pt x="17274" y="82915"/>
                  </a:lnTo>
                  <a:close/>
                </a:path>
              </a:pathLst>
            </a:custGeom>
            <a:solidFill>
              <a:srgbClr val="CEE3BF"/>
            </a:solidFill>
            <a:ln w="9334" cap="flat">
              <a:noFill/>
              <a:prstDash val="solid"/>
              <a:miter/>
            </a:ln>
          </p:spPr>
          <p:txBody>
            <a:bodyPr rtlCol="0" anchor="ctr"/>
            <a:lstStyle/>
            <a:p>
              <a:endParaRPr lang="en-GB" dirty="0"/>
            </a:p>
          </p:txBody>
        </p:sp>
        <p:sp>
          <p:nvSpPr>
            <p:cNvPr id="1103" name="Freeform: Shape 1102">
              <a:extLst>
                <a:ext uri="{FF2B5EF4-FFF2-40B4-BE49-F238E27FC236}">
                  <a16:creationId xmlns:a16="http://schemas.microsoft.com/office/drawing/2014/main" id="{955DB9D2-60A3-46A3-91B9-7923A1672609}"/>
                </a:ext>
              </a:extLst>
            </p:cNvPr>
            <p:cNvSpPr/>
            <p:nvPr/>
          </p:nvSpPr>
          <p:spPr>
            <a:xfrm>
              <a:off x="6774006" y="3582578"/>
              <a:ext cx="41457" cy="110553"/>
            </a:xfrm>
            <a:custGeom>
              <a:avLst/>
              <a:gdLst>
                <a:gd name="connsiteX0" fmla="*/ 27638 w 41457"/>
                <a:gd name="connsiteY0" fmla="*/ 24184 h 110553"/>
                <a:gd name="connsiteX1" fmla="*/ 38002 w 41457"/>
                <a:gd name="connsiteY1" fmla="*/ 24184 h 110553"/>
                <a:gd name="connsiteX2" fmla="*/ 41458 w 41457"/>
                <a:gd name="connsiteY2" fmla="*/ 13819 h 110553"/>
                <a:gd name="connsiteX3" fmla="*/ 38002 w 41457"/>
                <a:gd name="connsiteY3" fmla="*/ 10364 h 110553"/>
                <a:gd name="connsiteX4" fmla="*/ 34548 w 41457"/>
                <a:gd name="connsiteY4" fmla="*/ 3455 h 110553"/>
                <a:gd name="connsiteX5" fmla="*/ 24183 w 41457"/>
                <a:gd name="connsiteY5" fmla="*/ 0 h 110553"/>
                <a:gd name="connsiteX6" fmla="*/ 24183 w 41457"/>
                <a:gd name="connsiteY6" fmla="*/ 10364 h 110553"/>
                <a:gd name="connsiteX7" fmla="*/ 20729 w 41457"/>
                <a:gd name="connsiteY7" fmla="*/ 24184 h 110553"/>
                <a:gd name="connsiteX8" fmla="*/ 17274 w 41457"/>
                <a:gd name="connsiteY8" fmla="*/ 34548 h 110553"/>
                <a:gd name="connsiteX9" fmla="*/ 10364 w 41457"/>
                <a:gd name="connsiteY9" fmla="*/ 44912 h 110553"/>
                <a:gd name="connsiteX10" fmla="*/ 6910 w 41457"/>
                <a:gd name="connsiteY10" fmla="*/ 51822 h 110553"/>
                <a:gd name="connsiteX11" fmla="*/ 0 w 41457"/>
                <a:gd name="connsiteY11" fmla="*/ 62187 h 110553"/>
                <a:gd name="connsiteX12" fmla="*/ 3455 w 41457"/>
                <a:gd name="connsiteY12" fmla="*/ 69096 h 110553"/>
                <a:gd name="connsiteX13" fmla="*/ 10364 w 41457"/>
                <a:gd name="connsiteY13" fmla="*/ 82915 h 110553"/>
                <a:gd name="connsiteX14" fmla="*/ 17274 w 41457"/>
                <a:gd name="connsiteY14" fmla="*/ 100190 h 110553"/>
                <a:gd name="connsiteX15" fmla="*/ 20729 w 41457"/>
                <a:gd name="connsiteY15" fmla="*/ 110554 h 110553"/>
                <a:gd name="connsiteX16" fmla="*/ 31093 w 41457"/>
                <a:gd name="connsiteY16" fmla="*/ 89825 h 110553"/>
                <a:gd name="connsiteX17" fmla="*/ 34548 w 41457"/>
                <a:gd name="connsiteY17" fmla="*/ 72551 h 110553"/>
                <a:gd name="connsiteX18" fmla="*/ 34548 w 41457"/>
                <a:gd name="connsiteY18" fmla="*/ 51822 h 110553"/>
                <a:gd name="connsiteX19" fmla="*/ 27638 w 41457"/>
                <a:gd name="connsiteY19" fmla="*/ 51822 h 110553"/>
                <a:gd name="connsiteX20" fmla="*/ 24183 w 41457"/>
                <a:gd name="connsiteY20" fmla="*/ 31093 h 110553"/>
                <a:gd name="connsiteX21" fmla="*/ 27638 w 41457"/>
                <a:gd name="connsiteY21" fmla="*/ 24184 h 1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457" h="110553">
                  <a:moveTo>
                    <a:pt x="27638" y="24184"/>
                  </a:moveTo>
                  <a:lnTo>
                    <a:pt x="38002" y="24184"/>
                  </a:lnTo>
                  <a:lnTo>
                    <a:pt x="41458" y="13819"/>
                  </a:lnTo>
                  <a:lnTo>
                    <a:pt x="38002" y="10364"/>
                  </a:lnTo>
                  <a:lnTo>
                    <a:pt x="34548" y="3455"/>
                  </a:lnTo>
                  <a:lnTo>
                    <a:pt x="24183" y="0"/>
                  </a:lnTo>
                  <a:lnTo>
                    <a:pt x="24183" y="10364"/>
                  </a:lnTo>
                  <a:lnTo>
                    <a:pt x="20729" y="24184"/>
                  </a:lnTo>
                  <a:lnTo>
                    <a:pt x="17274" y="34548"/>
                  </a:lnTo>
                  <a:lnTo>
                    <a:pt x="10364" y="44912"/>
                  </a:lnTo>
                  <a:lnTo>
                    <a:pt x="6910" y="51822"/>
                  </a:lnTo>
                  <a:lnTo>
                    <a:pt x="0" y="62187"/>
                  </a:lnTo>
                  <a:lnTo>
                    <a:pt x="3455" y="69096"/>
                  </a:lnTo>
                  <a:lnTo>
                    <a:pt x="10364" y="82915"/>
                  </a:lnTo>
                  <a:lnTo>
                    <a:pt x="17274" y="100190"/>
                  </a:lnTo>
                  <a:lnTo>
                    <a:pt x="20729" y="110554"/>
                  </a:lnTo>
                  <a:lnTo>
                    <a:pt x="31093" y="89825"/>
                  </a:lnTo>
                  <a:lnTo>
                    <a:pt x="34548" y="72551"/>
                  </a:lnTo>
                  <a:lnTo>
                    <a:pt x="34548" y="51822"/>
                  </a:lnTo>
                  <a:lnTo>
                    <a:pt x="27638" y="51822"/>
                  </a:lnTo>
                  <a:lnTo>
                    <a:pt x="24183" y="31093"/>
                  </a:lnTo>
                  <a:lnTo>
                    <a:pt x="27638" y="24184"/>
                  </a:lnTo>
                  <a:close/>
                </a:path>
              </a:pathLst>
            </a:custGeom>
            <a:solidFill>
              <a:srgbClr val="CEE3BF"/>
            </a:solidFill>
            <a:ln w="9334" cap="flat">
              <a:noFill/>
              <a:prstDash val="solid"/>
              <a:miter/>
            </a:ln>
          </p:spPr>
          <p:txBody>
            <a:bodyPr rtlCol="0" anchor="ctr"/>
            <a:lstStyle/>
            <a:p>
              <a:endParaRPr lang="en-GB" dirty="0"/>
            </a:p>
          </p:txBody>
        </p:sp>
        <p:sp>
          <p:nvSpPr>
            <p:cNvPr id="1104" name="Freeform: Shape 1103">
              <a:extLst>
                <a:ext uri="{FF2B5EF4-FFF2-40B4-BE49-F238E27FC236}">
                  <a16:creationId xmlns:a16="http://schemas.microsoft.com/office/drawing/2014/main" id="{F26A94CA-D872-467F-8A80-975796FEDBA2}"/>
                </a:ext>
              </a:extLst>
            </p:cNvPr>
            <p:cNvSpPr/>
            <p:nvPr/>
          </p:nvSpPr>
          <p:spPr>
            <a:xfrm>
              <a:off x="6774006" y="3582578"/>
              <a:ext cx="41457" cy="110553"/>
            </a:xfrm>
            <a:custGeom>
              <a:avLst/>
              <a:gdLst>
                <a:gd name="connsiteX0" fmla="*/ 27638 w 41457"/>
                <a:gd name="connsiteY0" fmla="*/ 24184 h 110553"/>
                <a:gd name="connsiteX1" fmla="*/ 38002 w 41457"/>
                <a:gd name="connsiteY1" fmla="*/ 24184 h 110553"/>
                <a:gd name="connsiteX2" fmla="*/ 41458 w 41457"/>
                <a:gd name="connsiteY2" fmla="*/ 13819 h 110553"/>
                <a:gd name="connsiteX3" fmla="*/ 38002 w 41457"/>
                <a:gd name="connsiteY3" fmla="*/ 10364 h 110553"/>
                <a:gd name="connsiteX4" fmla="*/ 34548 w 41457"/>
                <a:gd name="connsiteY4" fmla="*/ 3455 h 110553"/>
                <a:gd name="connsiteX5" fmla="*/ 24183 w 41457"/>
                <a:gd name="connsiteY5" fmla="*/ 0 h 110553"/>
                <a:gd name="connsiteX6" fmla="*/ 24183 w 41457"/>
                <a:gd name="connsiteY6" fmla="*/ 10364 h 110553"/>
                <a:gd name="connsiteX7" fmla="*/ 20729 w 41457"/>
                <a:gd name="connsiteY7" fmla="*/ 24184 h 110553"/>
                <a:gd name="connsiteX8" fmla="*/ 17274 w 41457"/>
                <a:gd name="connsiteY8" fmla="*/ 34548 h 110553"/>
                <a:gd name="connsiteX9" fmla="*/ 10364 w 41457"/>
                <a:gd name="connsiteY9" fmla="*/ 44912 h 110553"/>
                <a:gd name="connsiteX10" fmla="*/ 6910 w 41457"/>
                <a:gd name="connsiteY10" fmla="*/ 51822 h 110553"/>
                <a:gd name="connsiteX11" fmla="*/ 0 w 41457"/>
                <a:gd name="connsiteY11" fmla="*/ 62187 h 110553"/>
                <a:gd name="connsiteX12" fmla="*/ 3455 w 41457"/>
                <a:gd name="connsiteY12" fmla="*/ 69096 h 110553"/>
                <a:gd name="connsiteX13" fmla="*/ 10364 w 41457"/>
                <a:gd name="connsiteY13" fmla="*/ 82915 h 110553"/>
                <a:gd name="connsiteX14" fmla="*/ 17274 w 41457"/>
                <a:gd name="connsiteY14" fmla="*/ 100190 h 110553"/>
                <a:gd name="connsiteX15" fmla="*/ 20729 w 41457"/>
                <a:gd name="connsiteY15" fmla="*/ 110554 h 110553"/>
                <a:gd name="connsiteX16" fmla="*/ 31093 w 41457"/>
                <a:gd name="connsiteY16" fmla="*/ 89825 h 110553"/>
                <a:gd name="connsiteX17" fmla="*/ 34548 w 41457"/>
                <a:gd name="connsiteY17" fmla="*/ 72551 h 110553"/>
                <a:gd name="connsiteX18" fmla="*/ 34548 w 41457"/>
                <a:gd name="connsiteY18" fmla="*/ 51822 h 110553"/>
                <a:gd name="connsiteX19" fmla="*/ 27638 w 41457"/>
                <a:gd name="connsiteY19" fmla="*/ 51822 h 110553"/>
                <a:gd name="connsiteX20" fmla="*/ 24183 w 41457"/>
                <a:gd name="connsiteY20" fmla="*/ 31093 h 110553"/>
                <a:gd name="connsiteX21" fmla="*/ 27638 w 41457"/>
                <a:gd name="connsiteY21" fmla="*/ 24184 h 1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457" h="110553">
                  <a:moveTo>
                    <a:pt x="27638" y="24184"/>
                  </a:moveTo>
                  <a:lnTo>
                    <a:pt x="38002" y="24184"/>
                  </a:lnTo>
                  <a:lnTo>
                    <a:pt x="41458" y="13819"/>
                  </a:lnTo>
                  <a:lnTo>
                    <a:pt x="38002" y="10364"/>
                  </a:lnTo>
                  <a:lnTo>
                    <a:pt x="34548" y="3455"/>
                  </a:lnTo>
                  <a:lnTo>
                    <a:pt x="24183" y="0"/>
                  </a:lnTo>
                  <a:lnTo>
                    <a:pt x="24183" y="10364"/>
                  </a:lnTo>
                  <a:lnTo>
                    <a:pt x="20729" y="24184"/>
                  </a:lnTo>
                  <a:lnTo>
                    <a:pt x="17274" y="34548"/>
                  </a:lnTo>
                  <a:lnTo>
                    <a:pt x="10364" y="44912"/>
                  </a:lnTo>
                  <a:lnTo>
                    <a:pt x="6910" y="51822"/>
                  </a:lnTo>
                  <a:lnTo>
                    <a:pt x="0" y="62187"/>
                  </a:lnTo>
                  <a:lnTo>
                    <a:pt x="3455" y="69096"/>
                  </a:lnTo>
                  <a:lnTo>
                    <a:pt x="10364" y="82915"/>
                  </a:lnTo>
                  <a:lnTo>
                    <a:pt x="17274" y="100190"/>
                  </a:lnTo>
                  <a:lnTo>
                    <a:pt x="20729" y="110554"/>
                  </a:lnTo>
                  <a:lnTo>
                    <a:pt x="31093" y="89825"/>
                  </a:lnTo>
                  <a:lnTo>
                    <a:pt x="34548" y="72551"/>
                  </a:lnTo>
                  <a:lnTo>
                    <a:pt x="34548" y="51822"/>
                  </a:lnTo>
                  <a:lnTo>
                    <a:pt x="27638" y="51822"/>
                  </a:lnTo>
                  <a:lnTo>
                    <a:pt x="24183" y="31093"/>
                  </a:lnTo>
                  <a:lnTo>
                    <a:pt x="27638" y="24184"/>
                  </a:lnTo>
                  <a:close/>
                </a:path>
              </a:pathLst>
            </a:custGeom>
            <a:solidFill>
              <a:srgbClr val="CEE3BF"/>
            </a:solidFill>
            <a:ln w="9334" cap="flat">
              <a:noFill/>
              <a:prstDash val="solid"/>
              <a:miter/>
            </a:ln>
          </p:spPr>
          <p:txBody>
            <a:bodyPr rtlCol="0" anchor="ctr"/>
            <a:lstStyle/>
            <a:p>
              <a:endParaRPr lang="en-GB" dirty="0"/>
            </a:p>
          </p:txBody>
        </p:sp>
        <p:sp>
          <p:nvSpPr>
            <p:cNvPr id="1105" name="Freeform: Shape 1104">
              <a:extLst>
                <a:ext uri="{FF2B5EF4-FFF2-40B4-BE49-F238E27FC236}">
                  <a16:creationId xmlns:a16="http://schemas.microsoft.com/office/drawing/2014/main" id="{C702F34E-7EC5-43E4-B8C2-985D7AB6868C}"/>
                </a:ext>
              </a:extLst>
            </p:cNvPr>
            <p:cNvSpPr/>
            <p:nvPr/>
          </p:nvSpPr>
          <p:spPr>
            <a:xfrm>
              <a:off x="6908650" y="3447747"/>
              <a:ext cx="245104" cy="255749"/>
            </a:xfrm>
            <a:custGeom>
              <a:avLst/>
              <a:gdLst>
                <a:gd name="connsiteX0" fmla="*/ 155373 w 245104"/>
                <a:gd name="connsiteY0" fmla="*/ 3455 h 255749"/>
                <a:gd name="connsiteX1" fmla="*/ 162283 w 245104"/>
                <a:gd name="connsiteY1" fmla="*/ 17274 h 255749"/>
                <a:gd name="connsiteX2" fmla="*/ 183011 w 245104"/>
                <a:gd name="connsiteY2" fmla="*/ 48367 h 255749"/>
                <a:gd name="connsiteX3" fmla="*/ 196831 w 245104"/>
                <a:gd name="connsiteY3" fmla="*/ 51822 h 255749"/>
                <a:gd name="connsiteX4" fmla="*/ 189921 w 245104"/>
                <a:gd name="connsiteY4" fmla="*/ 62187 h 255749"/>
                <a:gd name="connsiteX5" fmla="*/ 193376 w 245104"/>
                <a:gd name="connsiteY5" fmla="*/ 76006 h 255749"/>
                <a:gd name="connsiteX6" fmla="*/ 183011 w 245104"/>
                <a:gd name="connsiteY6" fmla="*/ 82915 h 255749"/>
                <a:gd name="connsiteX7" fmla="*/ 172647 w 245104"/>
                <a:gd name="connsiteY7" fmla="*/ 107099 h 255749"/>
                <a:gd name="connsiteX8" fmla="*/ 193376 w 245104"/>
                <a:gd name="connsiteY8" fmla="*/ 127828 h 255749"/>
                <a:gd name="connsiteX9" fmla="*/ 203740 w 245104"/>
                <a:gd name="connsiteY9" fmla="*/ 145195 h 255749"/>
                <a:gd name="connsiteX10" fmla="*/ 227830 w 245104"/>
                <a:gd name="connsiteY10" fmla="*/ 155560 h 255749"/>
                <a:gd name="connsiteX11" fmla="*/ 241650 w 245104"/>
                <a:gd name="connsiteY11" fmla="*/ 169379 h 255749"/>
                <a:gd name="connsiteX12" fmla="*/ 234740 w 245104"/>
                <a:gd name="connsiteY12" fmla="*/ 193563 h 255749"/>
                <a:gd name="connsiteX13" fmla="*/ 245105 w 245104"/>
                <a:gd name="connsiteY13" fmla="*/ 214292 h 255749"/>
                <a:gd name="connsiteX14" fmla="*/ 241650 w 245104"/>
                <a:gd name="connsiteY14" fmla="*/ 224656 h 255749"/>
                <a:gd name="connsiteX15" fmla="*/ 227830 w 245104"/>
                <a:gd name="connsiteY15" fmla="*/ 228111 h 255749"/>
                <a:gd name="connsiteX16" fmla="*/ 210650 w 245104"/>
                <a:gd name="connsiteY16" fmla="*/ 241930 h 255749"/>
                <a:gd name="connsiteX17" fmla="*/ 210650 w 245104"/>
                <a:gd name="connsiteY17" fmla="*/ 255749 h 255749"/>
                <a:gd name="connsiteX18" fmla="*/ 155373 w 245104"/>
                <a:gd name="connsiteY18" fmla="*/ 255749 h 255749"/>
                <a:gd name="connsiteX19" fmla="*/ 131189 w 245104"/>
                <a:gd name="connsiteY19" fmla="*/ 235020 h 255749"/>
                <a:gd name="connsiteX20" fmla="*/ 117370 w 245104"/>
                <a:gd name="connsiteY20" fmla="*/ 235020 h 255749"/>
                <a:gd name="connsiteX21" fmla="*/ 100096 w 245104"/>
                <a:gd name="connsiteY21" fmla="*/ 207382 h 255749"/>
                <a:gd name="connsiteX22" fmla="*/ 38003 w 245104"/>
                <a:gd name="connsiteY22" fmla="*/ 172834 h 255749"/>
                <a:gd name="connsiteX23" fmla="*/ 3455 w 245104"/>
                <a:gd name="connsiteY23" fmla="*/ 165924 h 255749"/>
                <a:gd name="connsiteX24" fmla="*/ 0 w 245104"/>
                <a:gd name="connsiteY24" fmla="*/ 124373 h 255749"/>
                <a:gd name="connsiteX25" fmla="*/ 55277 w 245104"/>
                <a:gd name="connsiteY25" fmla="*/ 89825 h 255749"/>
                <a:gd name="connsiteX26" fmla="*/ 62186 w 245104"/>
                <a:gd name="connsiteY26" fmla="*/ 34548 h 255749"/>
                <a:gd name="connsiteX27" fmla="*/ 86370 w 245104"/>
                <a:gd name="connsiteY27" fmla="*/ 17274 h 255749"/>
                <a:gd name="connsiteX28" fmla="*/ 86370 w 245104"/>
                <a:gd name="connsiteY28" fmla="*/ 10364 h 255749"/>
                <a:gd name="connsiteX29" fmla="*/ 103551 w 245104"/>
                <a:gd name="connsiteY29" fmla="*/ 0 h 255749"/>
                <a:gd name="connsiteX30" fmla="*/ 151918 w 245104"/>
                <a:gd name="connsiteY30" fmla="*/ 10364 h 255749"/>
                <a:gd name="connsiteX31" fmla="*/ 155373 w 245104"/>
                <a:gd name="connsiteY31" fmla="*/ 3455 h 25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5104" h="255749">
                  <a:moveTo>
                    <a:pt x="155373" y="3455"/>
                  </a:moveTo>
                  <a:lnTo>
                    <a:pt x="162283" y="17274"/>
                  </a:lnTo>
                  <a:lnTo>
                    <a:pt x="183011" y="48367"/>
                  </a:lnTo>
                  <a:lnTo>
                    <a:pt x="196831" y="51822"/>
                  </a:lnTo>
                  <a:lnTo>
                    <a:pt x="189921" y="62187"/>
                  </a:lnTo>
                  <a:lnTo>
                    <a:pt x="193376" y="76006"/>
                  </a:lnTo>
                  <a:lnTo>
                    <a:pt x="183011" y="82915"/>
                  </a:lnTo>
                  <a:lnTo>
                    <a:pt x="172647" y="107099"/>
                  </a:lnTo>
                  <a:lnTo>
                    <a:pt x="193376" y="127828"/>
                  </a:lnTo>
                  <a:lnTo>
                    <a:pt x="203740" y="145195"/>
                  </a:lnTo>
                  <a:lnTo>
                    <a:pt x="227830" y="155560"/>
                  </a:lnTo>
                  <a:lnTo>
                    <a:pt x="241650" y="169379"/>
                  </a:lnTo>
                  <a:lnTo>
                    <a:pt x="234740" y="193563"/>
                  </a:lnTo>
                  <a:lnTo>
                    <a:pt x="245105" y="214292"/>
                  </a:lnTo>
                  <a:lnTo>
                    <a:pt x="241650" y="224656"/>
                  </a:lnTo>
                  <a:lnTo>
                    <a:pt x="227830" y="228111"/>
                  </a:lnTo>
                  <a:lnTo>
                    <a:pt x="210650" y="241930"/>
                  </a:lnTo>
                  <a:lnTo>
                    <a:pt x="210650" y="255749"/>
                  </a:lnTo>
                  <a:lnTo>
                    <a:pt x="155373" y="255749"/>
                  </a:lnTo>
                  <a:lnTo>
                    <a:pt x="131189" y="235020"/>
                  </a:lnTo>
                  <a:lnTo>
                    <a:pt x="117370" y="235020"/>
                  </a:lnTo>
                  <a:lnTo>
                    <a:pt x="100096" y="207382"/>
                  </a:lnTo>
                  <a:lnTo>
                    <a:pt x="38003" y="172834"/>
                  </a:lnTo>
                  <a:lnTo>
                    <a:pt x="3455" y="165924"/>
                  </a:lnTo>
                  <a:lnTo>
                    <a:pt x="0" y="124373"/>
                  </a:lnTo>
                  <a:lnTo>
                    <a:pt x="55277" y="89825"/>
                  </a:lnTo>
                  <a:lnTo>
                    <a:pt x="62186" y="34548"/>
                  </a:lnTo>
                  <a:lnTo>
                    <a:pt x="86370" y="17274"/>
                  </a:lnTo>
                  <a:lnTo>
                    <a:pt x="86370" y="10364"/>
                  </a:lnTo>
                  <a:lnTo>
                    <a:pt x="103551" y="0"/>
                  </a:lnTo>
                  <a:lnTo>
                    <a:pt x="151918" y="10364"/>
                  </a:lnTo>
                  <a:lnTo>
                    <a:pt x="155373" y="3455"/>
                  </a:lnTo>
                  <a:close/>
                </a:path>
              </a:pathLst>
            </a:custGeom>
            <a:solidFill>
              <a:srgbClr val="CEE3BF"/>
            </a:solidFill>
            <a:ln w="9334" cap="flat">
              <a:noFill/>
              <a:prstDash val="solid"/>
              <a:miter/>
            </a:ln>
          </p:spPr>
          <p:txBody>
            <a:bodyPr rtlCol="0" anchor="ctr"/>
            <a:lstStyle/>
            <a:p>
              <a:endParaRPr lang="en-GB" dirty="0"/>
            </a:p>
          </p:txBody>
        </p:sp>
        <p:sp>
          <p:nvSpPr>
            <p:cNvPr id="1106" name="Freeform: Shape 1105">
              <a:extLst>
                <a:ext uri="{FF2B5EF4-FFF2-40B4-BE49-F238E27FC236}">
                  <a16:creationId xmlns:a16="http://schemas.microsoft.com/office/drawing/2014/main" id="{37B29CF8-A62A-4C3B-8DAD-20D476A7D921}"/>
                </a:ext>
              </a:extLst>
            </p:cNvPr>
            <p:cNvSpPr/>
            <p:nvPr/>
          </p:nvSpPr>
          <p:spPr>
            <a:xfrm>
              <a:off x="7264215" y="3841782"/>
              <a:ext cx="214104" cy="224749"/>
            </a:xfrm>
            <a:custGeom>
              <a:avLst/>
              <a:gdLst>
                <a:gd name="connsiteX0" fmla="*/ 89825 w 214104"/>
                <a:gd name="connsiteY0" fmla="*/ 51822 h 224749"/>
                <a:gd name="connsiteX1" fmla="*/ 120918 w 214104"/>
                <a:gd name="connsiteY1" fmla="*/ 0 h 224749"/>
                <a:gd name="connsiteX2" fmla="*/ 141554 w 214104"/>
                <a:gd name="connsiteY2" fmla="*/ 13819 h 224749"/>
                <a:gd name="connsiteX3" fmla="*/ 155373 w 214104"/>
                <a:gd name="connsiteY3" fmla="*/ 24184 h 224749"/>
                <a:gd name="connsiteX4" fmla="*/ 176102 w 214104"/>
                <a:gd name="connsiteY4" fmla="*/ 27638 h 224749"/>
                <a:gd name="connsiteX5" fmla="*/ 214105 w 214104"/>
                <a:gd name="connsiteY5" fmla="*/ 62280 h 224749"/>
                <a:gd name="connsiteX6" fmla="*/ 200285 w 214104"/>
                <a:gd name="connsiteY6" fmla="*/ 86464 h 224749"/>
                <a:gd name="connsiteX7" fmla="*/ 179556 w 214104"/>
                <a:gd name="connsiteY7" fmla="*/ 110647 h 224749"/>
                <a:gd name="connsiteX8" fmla="*/ 169192 w 214104"/>
                <a:gd name="connsiteY8" fmla="*/ 114102 h 224749"/>
                <a:gd name="connsiteX9" fmla="*/ 148463 w 214104"/>
                <a:gd name="connsiteY9" fmla="*/ 121012 h 224749"/>
                <a:gd name="connsiteX10" fmla="*/ 151918 w 214104"/>
                <a:gd name="connsiteY10" fmla="*/ 138286 h 224749"/>
                <a:gd name="connsiteX11" fmla="*/ 155373 w 214104"/>
                <a:gd name="connsiteY11" fmla="*/ 155560 h 224749"/>
                <a:gd name="connsiteX12" fmla="*/ 138099 w 214104"/>
                <a:gd name="connsiteY12" fmla="*/ 159015 h 224749"/>
                <a:gd name="connsiteX13" fmla="*/ 124373 w 214104"/>
                <a:gd name="connsiteY13" fmla="*/ 169379 h 224749"/>
                <a:gd name="connsiteX14" fmla="*/ 117463 w 214104"/>
                <a:gd name="connsiteY14" fmla="*/ 179743 h 224749"/>
                <a:gd name="connsiteX15" fmla="*/ 117463 w 214104"/>
                <a:gd name="connsiteY15" fmla="*/ 190108 h 224749"/>
                <a:gd name="connsiteX16" fmla="*/ 93280 w 214104"/>
                <a:gd name="connsiteY16" fmla="*/ 193562 h 224749"/>
                <a:gd name="connsiteX17" fmla="*/ 89825 w 214104"/>
                <a:gd name="connsiteY17" fmla="*/ 203927 h 224749"/>
                <a:gd name="connsiteX18" fmla="*/ 79460 w 214104"/>
                <a:gd name="connsiteY18" fmla="*/ 221294 h 224749"/>
                <a:gd name="connsiteX19" fmla="*/ 44912 w 214104"/>
                <a:gd name="connsiteY19" fmla="*/ 217840 h 224749"/>
                <a:gd name="connsiteX20" fmla="*/ 27638 w 214104"/>
                <a:gd name="connsiteY20" fmla="*/ 224749 h 224749"/>
                <a:gd name="connsiteX21" fmla="*/ 0 w 214104"/>
                <a:gd name="connsiteY21" fmla="*/ 162469 h 224749"/>
                <a:gd name="connsiteX22" fmla="*/ 20729 w 214104"/>
                <a:gd name="connsiteY22" fmla="*/ 145195 h 224749"/>
                <a:gd name="connsiteX23" fmla="*/ 82915 w 214104"/>
                <a:gd name="connsiteY23" fmla="*/ 124466 h 224749"/>
                <a:gd name="connsiteX24" fmla="*/ 96735 w 214104"/>
                <a:gd name="connsiteY24" fmla="*/ 93373 h 224749"/>
                <a:gd name="connsiteX25" fmla="*/ 96735 w 214104"/>
                <a:gd name="connsiteY25" fmla="*/ 69190 h 224749"/>
                <a:gd name="connsiteX26" fmla="*/ 89825 w 214104"/>
                <a:gd name="connsiteY26" fmla="*/ 51822 h 22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4104" h="224749">
                  <a:moveTo>
                    <a:pt x="89825" y="51822"/>
                  </a:moveTo>
                  <a:lnTo>
                    <a:pt x="120918" y="0"/>
                  </a:lnTo>
                  <a:lnTo>
                    <a:pt x="141554" y="13819"/>
                  </a:lnTo>
                  <a:lnTo>
                    <a:pt x="155373" y="24184"/>
                  </a:lnTo>
                  <a:lnTo>
                    <a:pt x="176102" y="27638"/>
                  </a:lnTo>
                  <a:lnTo>
                    <a:pt x="214105" y="62280"/>
                  </a:lnTo>
                  <a:lnTo>
                    <a:pt x="200285" y="86464"/>
                  </a:lnTo>
                  <a:lnTo>
                    <a:pt x="179556" y="110647"/>
                  </a:lnTo>
                  <a:lnTo>
                    <a:pt x="169192" y="114102"/>
                  </a:lnTo>
                  <a:lnTo>
                    <a:pt x="148463" y="121012"/>
                  </a:lnTo>
                  <a:lnTo>
                    <a:pt x="151918" y="138286"/>
                  </a:lnTo>
                  <a:lnTo>
                    <a:pt x="155373" y="155560"/>
                  </a:lnTo>
                  <a:lnTo>
                    <a:pt x="138099" y="159015"/>
                  </a:lnTo>
                  <a:lnTo>
                    <a:pt x="124373" y="169379"/>
                  </a:lnTo>
                  <a:lnTo>
                    <a:pt x="117463" y="179743"/>
                  </a:lnTo>
                  <a:lnTo>
                    <a:pt x="117463" y="190108"/>
                  </a:lnTo>
                  <a:lnTo>
                    <a:pt x="93280" y="193562"/>
                  </a:lnTo>
                  <a:lnTo>
                    <a:pt x="89825" y="203927"/>
                  </a:lnTo>
                  <a:lnTo>
                    <a:pt x="79460" y="221294"/>
                  </a:lnTo>
                  <a:lnTo>
                    <a:pt x="44912" y="217840"/>
                  </a:lnTo>
                  <a:lnTo>
                    <a:pt x="27638" y="224749"/>
                  </a:lnTo>
                  <a:lnTo>
                    <a:pt x="0" y="162469"/>
                  </a:lnTo>
                  <a:lnTo>
                    <a:pt x="20729" y="145195"/>
                  </a:lnTo>
                  <a:lnTo>
                    <a:pt x="82915" y="124466"/>
                  </a:lnTo>
                  <a:lnTo>
                    <a:pt x="96735" y="93373"/>
                  </a:lnTo>
                  <a:lnTo>
                    <a:pt x="96735" y="69190"/>
                  </a:lnTo>
                  <a:lnTo>
                    <a:pt x="89825" y="51822"/>
                  </a:lnTo>
                  <a:close/>
                </a:path>
              </a:pathLst>
            </a:custGeom>
            <a:solidFill>
              <a:srgbClr val="CEE3BF"/>
            </a:solidFill>
            <a:ln w="9334" cap="flat">
              <a:noFill/>
              <a:prstDash val="solid"/>
              <a:miter/>
            </a:ln>
          </p:spPr>
          <p:txBody>
            <a:bodyPr rtlCol="0" anchor="ctr"/>
            <a:lstStyle/>
            <a:p>
              <a:endParaRPr lang="en-GB" dirty="0"/>
            </a:p>
          </p:txBody>
        </p:sp>
        <p:sp>
          <p:nvSpPr>
            <p:cNvPr id="1107" name="Freeform: Shape 1106">
              <a:extLst>
                <a:ext uri="{FF2B5EF4-FFF2-40B4-BE49-F238E27FC236}">
                  <a16:creationId xmlns:a16="http://schemas.microsoft.com/office/drawing/2014/main" id="{BC44F324-AD40-4B2F-A6E7-13B6DBA2D095}"/>
                </a:ext>
              </a:extLst>
            </p:cNvPr>
            <p:cNvSpPr/>
            <p:nvPr/>
          </p:nvSpPr>
          <p:spPr>
            <a:xfrm>
              <a:off x="7012201" y="4004252"/>
              <a:ext cx="279652" cy="172833"/>
            </a:xfrm>
            <a:custGeom>
              <a:avLst/>
              <a:gdLst>
                <a:gd name="connsiteX0" fmla="*/ 86370 w 279652"/>
                <a:gd name="connsiteY0" fmla="*/ 148650 h 172833"/>
                <a:gd name="connsiteX1" fmla="*/ 72551 w 279652"/>
                <a:gd name="connsiteY1" fmla="*/ 159015 h 172833"/>
                <a:gd name="connsiteX2" fmla="*/ 62187 w 279652"/>
                <a:gd name="connsiteY2" fmla="*/ 172834 h 172833"/>
                <a:gd name="connsiteX3" fmla="*/ 27639 w 279652"/>
                <a:gd name="connsiteY3" fmla="*/ 172834 h 172833"/>
                <a:gd name="connsiteX4" fmla="*/ 13820 w 279652"/>
                <a:gd name="connsiteY4" fmla="*/ 165924 h 172833"/>
                <a:gd name="connsiteX5" fmla="*/ 0 w 279652"/>
                <a:gd name="connsiteY5" fmla="*/ 114102 h 172833"/>
                <a:gd name="connsiteX6" fmla="*/ 0 w 279652"/>
                <a:gd name="connsiteY6" fmla="*/ 72644 h 172833"/>
                <a:gd name="connsiteX7" fmla="*/ 13820 w 279652"/>
                <a:gd name="connsiteY7" fmla="*/ 41458 h 172833"/>
                <a:gd name="connsiteX8" fmla="*/ 72551 w 279652"/>
                <a:gd name="connsiteY8" fmla="*/ 38003 h 172833"/>
                <a:gd name="connsiteX9" fmla="*/ 124280 w 279652"/>
                <a:gd name="connsiteY9" fmla="*/ 48367 h 172833"/>
                <a:gd name="connsiteX10" fmla="*/ 169193 w 279652"/>
                <a:gd name="connsiteY10" fmla="*/ 6910 h 172833"/>
                <a:gd name="connsiteX11" fmla="*/ 221015 w 279652"/>
                <a:gd name="connsiteY11" fmla="*/ 0 h 172833"/>
                <a:gd name="connsiteX12" fmla="*/ 252015 w 279652"/>
                <a:gd name="connsiteY12" fmla="*/ 0 h 172833"/>
                <a:gd name="connsiteX13" fmla="*/ 279653 w 279652"/>
                <a:gd name="connsiteY13" fmla="*/ 62280 h 172833"/>
                <a:gd name="connsiteX14" fmla="*/ 258924 w 279652"/>
                <a:gd name="connsiteY14" fmla="*/ 72644 h 172833"/>
                <a:gd name="connsiteX15" fmla="*/ 245198 w 279652"/>
                <a:gd name="connsiteY15" fmla="*/ 83009 h 172833"/>
                <a:gd name="connsiteX16" fmla="*/ 245198 w 279652"/>
                <a:gd name="connsiteY16" fmla="*/ 96828 h 172833"/>
                <a:gd name="connsiteX17" fmla="*/ 234834 w 279652"/>
                <a:gd name="connsiteY17" fmla="*/ 103738 h 172833"/>
                <a:gd name="connsiteX18" fmla="*/ 196831 w 279652"/>
                <a:gd name="connsiteY18" fmla="*/ 114102 h 172833"/>
                <a:gd name="connsiteX19" fmla="*/ 179557 w 279652"/>
                <a:gd name="connsiteY19" fmla="*/ 117557 h 172833"/>
                <a:gd name="connsiteX20" fmla="*/ 165737 w 279652"/>
                <a:gd name="connsiteY20" fmla="*/ 138286 h 172833"/>
                <a:gd name="connsiteX21" fmla="*/ 134645 w 279652"/>
                <a:gd name="connsiteY21" fmla="*/ 134831 h 172833"/>
                <a:gd name="connsiteX22" fmla="*/ 120825 w 279652"/>
                <a:gd name="connsiteY22" fmla="*/ 152105 h 172833"/>
                <a:gd name="connsiteX23" fmla="*/ 96735 w 279652"/>
                <a:gd name="connsiteY23" fmla="*/ 152105 h 172833"/>
                <a:gd name="connsiteX24" fmla="*/ 86370 w 279652"/>
                <a:gd name="connsiteY24" fmla="*/ 148650 h 17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9652" h="172833">
                  <a:moveTo>
                    <a:pt x="86370" y="148650"/>
                  </a:moveTo>
                  <a:lnTo>
                    <a:pt x="72551" y="159015"/>
                  </a:lnTo>
                  <a:lnTo>
                    <a:pt x="62187" y="172834"/>
                  </a:lnTo>
                  <a:lnTo>
                    <a:pt x="27639" y="172834"/>
                  </a:lnTo>
                  <a:lnTo>
                    <a:pt x="13820" y="165924"/>
                  </a:lnTo>
                  <a:lnTo>
                    <a:pt x="0" y="114102"/>
                  </a:lnTo>
                  <a:lnTo>
                    <a:pt x="0" y="72644"/>
                  </a:lnTo>
                  <a:lnTo>
                    <a:pt x="13820" y="41458"/>
                  </a:lnTo>
                  <a:lnTo>
                    <a:pt x="72551" y="38003"/>
                  </a:lnTo>
                  <a:lnTo>
                    <a:pt x="124280" y="48367"/>
                  </a:lnTo>
                  <a:lnTo>
                    <a:pt x="169193" y="6910"/>
                  </a:lnTo>
                  <a:lnTo>
                    <a:pt x="221015" y="0"/>
                  </a:lnTo>
                  <a:lnTo>
                    <a:pt x="252015" y="0"/>
                  </a:lnTo>
                  <a:lnTo>
                    <a:pt x="279653" y="62280"/>
                  </a:lnTo>
                  <a:lnTo>
                    <a:pt x="258924" y="72644"/>
                  </a:lnTo>
                  <a:lnTo>
                    <a:pt x="245198" y="83009"/>
                  </a:lnTo>
                  <a:lnTo>
                    <a:pt x="245198" y="96828"/>
                  </a:lnTo>
                  <a:lnTo>
                    <a:pt x="234834" y="103738"/>
                  </a:lnTo>
                  <a:lnTo>
                    <a:pt x="196831" y="114102"/>
                  </a:lnTo>
                  <a:lnTo>
                    <a:pt x="179557" y="117557"/>
                  </a:lnTo>
                  <a:lnTo>
                    <a:pt x="165737" y="138286"/>
                  </a:lnTo>
                  <a:lnTo>
                    <a:pt x="134645" y="134831"/>
                  </a:lnTo>
                  <a:lnTo>
                    <a:pt x="120825" y="152105"/>
                  </a:lnTo>
                  <a:lnTo>
                    <a:pt x="96735" y="152105"/>
                  </a:lnTo>
                  <a:lnTo>
                    <a:pt x="86370" y="148650"/>
                  </a:lnTo>
                  <a:close/>
                </a:path>
              </a:pathLst>
            </a:custGeom>
            <a:solidFill>
              <a:srgbClr val="CEE3BF"/>
            </a:solidFill>
            <a:ln w="9334" cap="flat">
              <a:noFill/>
              <a:prstDash val="solid"/>
              <a:miter/>
            </a:ln>
          </p:spPr>
          <p:txBody>
            <a:bodyPr rtlCol="0" anchor="ctr"/>
            <a:lstStyle/>
            <a:p>
              <a:endParaRPr lang="en-GB" dirty="0"/>
            </a:p>
          </p:txBody>
        </p:sp>
        <p:sp>
          <p:nvSpPr>
            <p:cNvPr id="1108" name="Freeform: Shape 1107">
              <a:extLst>
                <a:ext uri="{FF2B5EF4-FFF2-40B4-BE49-F238E27FC236}">
                  <a16:creationId xmlns:a16="http://schemas.microsoft.com/office/drawing/2014/main" id="{838EC58B-AFA4-493E-AE52-7EC50037DC50}"/>
                </a:ext>
              </a:extLst>
            </p:cNvPr>
            <p:cNvSpPr/>
            <p:nvPr/>
          </p:nvSpPr>
          <p:spPr>
            <a:xfrm>
              <a:off x="7046749" y="3375103"/>
              <a:ext cx="528212" cy="445950"/>
            </a:xfrm>
            <a:custGeom>
              <a:avLst/>
              <a:gdLst>
                <a:gd name="connsiteX0" fmla="*/ 131189 w 528212"/>
                <a:gd name="connsiteY0" fmla="*/ 41458 h 445950"/>
                <a:gd name="connsiteX1" fmla="*/ 138099 w 528212"/>
                <a:gd name="connsiteY1" fmla="*/ 65735 h 445950"/>
                <a:gd name="connsiteX2" fmla="*/ 172647 w 528212"/>
                <a:gd name="connsiteY2" fmla="*/ 83009 h 445950"/>
                <a:gd name="connsiteX3" fmla="*/ 193376 w 528212"/>
                <a:gd name="connsiteY3" fmla="*/ 96828 h 445950"/>
                <a:gd name="connsiteX4" fmla="*/ 245105 w 528212"/>
                <a:gd name="connsiteY4" fmla="*/ 96828 h 445950"/>
                <a:gd name="connsiteX5" fmla="*/ 269289 w 528212"/>
                <a:gd name="connsiteY5" fmla="*/ 83009 h 445950"/>
                <a:gd name="connsiteX6" fmla="*/ 307292 w 528212"/>
                <a:gd name="connsiteY6" fmla="*/ 55370 h 445950"/>
                <a:gd name="connsiteX7" fmla="*/ 352111 w 528212"/>
                <a:gd name="connsiteY7" fmla="*/ 48367 h 445950"/>
                <a:gd name="connsiteX8" fmla="*/ 390114 w 528212"/>
                <a:gd name="connsiteY8" fmla="*/ 62280 h 445950"/>
                <a:gd name="connsiteX9" fmla="*/ 441936 w 528212"/>
                <a:gd name="connsiteY9" fmla="*/ 89918 h 445950"/>
                <a:gd name="connsiteX10" fmla="*/ 469574 w 528212"/>
                <a:gd name="connsiteY10" fmla="*/ 96828 h 445950"/>
                <a:gd name="connsiteX11" fmla="*/ 473029 w 528212"/>
                <a:gd name="connsiteY11" fmla="*/ 134831 h 445950"/>
                <a:gd name="connsiteX12" fmla="*/ 455755 w 528212"/>
                <a:gd name="connsiteY12" fmla="*/ 169379 h 445950"/>
                <a:gd name="connsiteX13" fmla="*/ 452300 w 528212"/>
                <a:gd name="connsiteY13" fmla="*/ 217840 h 445950"/>
                <a:gd name="connsiteX14" fmla="*/ 462664 w 528212"/>
                <a:gd name="connsiteY14" fmla="*/ 259297 h 445950"/>
                <a:gd name="connsiteX15" fmla="*/ 486755 w 528212"/>
                <a:gd name="connsiteY15" fmla="*/ 259297 h 445950"/>
                <a:gd name="connsiteX16" fmla="*/ 483393 w 528212"/>
                <a:gd name="connsiteY16" fmla="*/ 280026 h 445950"/>
                <a:gd name="connsiteX17" fmla="*/ 459209 w 528212"/>
                <a:gd name="connsiteY17" fmla="*/ 304210 h 445950"/>
                <a:gd name="connsiteX18" fmla="*/ 469574 w 528212"/>
                <a:gd name="connsiteY18" fmla="*/ 321484 h 445950"/>
                <a:gd name="connsiteX19" fmla="*/ 493664 w 528212"/>
                <a:gd name="connsiteY19" fmla="*/ 349122 h 445950"/>
                <a:gd name="connsiteX20" fmla="*/ 514393 w 528212"/>
                <a:gd name="connsiteY20" fmla="*/ 366396 h 445950"/>
                <a:gd name="connsiteX21" fmla="*/ 514393 w 528212"/>
                <a:gd name="connsiteY21" fmla="*/ 387219 h 445950"/>
                <a:gd name="connsiteX22" fmla="*/ 528212 w 528212"/>
                <a:gd name="connsiteY22" fmla="*/ 387219 h 445950"/>
                <a:gd name="connsiteX23" fmla="*/ 528212 w 528212"/>
                <a:gd name="connsiteY23" fmla="*/ 401038 h 445950"/>
                <a:gd name="connsiteX24" fmla="*/ 504029 w 528212"/>
                <a:gd name="connsiteY24" fmla="*/ 404493 h 445950"/>
                <a:gd name="connsiteX25" fmla="*/ 479845 w 528212"/>
                <a:gd name="connsiteY25" fmla="*/ 418312 h 445950"/>
                <a:gd name="connsiteX26" fmla="*/ 479845 w 528212"/>
                <a:gd name="connsiteY26" fmla="*/ 445950 h 445950"/>
                <a:gd name="connsiteX27" fmla="*/ 407387 w 528212"/>
                <a:gd name="connsiteY27" fmla="*/ 439041 h 445950"/>
                <a:gd name="connsiteX28" fmla="*/ 359020 w 528212"/>
                <a:gd name="connsiteY28" fmla="*/ 425222 h 445950"/>
                <a:gd name="connsiteX29" fmla="*/ 355565 w 528212"/>
                <a:gd name="connsiteY29" fmla="*/ 397583 h 445950"/>
                <a:gd name="connsiteX30" fmla="*/ 338384 w 528212"/>
                <a:gd name="connsiteY30" fmla="*/ 383764 h 445950"/>
                <a:gd name="connsiteX31" fmla="*/ 324565 w 528212"/>
                <a:gd name="connsiteY31" fmla="*/ 387219 h 445950"/>
                <a:gd name="connsiteX32" fmla="*/ 307292 w 528212"/>
                <a:gd name="connsiteY32" fmla="*/ 401038 h 445950"/>
                <a:gd name="connsiteX33" fmla="*/ 283108 w 528212"/>
                <a:gd name="connsiteY33" fmla="*/ 404493 h 445950"/>
                <a:gd name="connsiteX34" fmla="*/ 238195 w 528212"/>
                <a:gd name="connsiteY34" fmla="*/ 387219 h 445950"/>
                <a:gd name="connsiteX35" fmla="*/ 203740 w 528212"/>
                <a:gd name="connsiteY35" fmla="*/ 356032 h 445950"/>
                <a:gd name="connsiteX36" fmla="*/ 179557 w 528212"/>
                <a:gd name="connsiteY36" fmla="*/ 324939 h 445950"/>
                <a:gd name="connsiteX37" fmla="*/ 169192 w 528212"/>
                <a:gd name="connsiteY37" fmla="*/ 304210 h 445950"/>
                <a:gd name="connsiteX38" fmla="*/ 138099 w 528212"/>
                <a:gd name="connsiteY38" fmla="*/ 297300 h 445950"/>
                <a:gd name="connsiteX39" fmla="*/ 120825 w 528212"/>
                <a:gd name="connsiteY39" fmla="*/ 304210 h 445950"/>
                <a:gd name="connsiteX40" fmla="*/ 103551 w 528212"/>
                <a:gd name="connsiteY40" fmla="*/ 297300 h 445950"/>
                <a:gd name="connsiteX41" fmla="*/ 107006 w 528212"/>
                <a:gd name="connsiteY41" fmla="*/ 286936 h 445950"/>
                <a:gd name="connsiteX42" fmla="*/ 96642 w 528212"/>
                <a:gd name="connsiteY42" fmla="*/ 266207 h 445950"/>
                <a:gd name="connsiteX43" fmla="*/ 103551 w 528212"/>
                <a:gd name="connsiteY43" fmla="*/ 242023 h 445950"/>
                <a:gd name="connsiteX44" fmla="*/ 82822 w 528212"/>
                <a:gd name="connsiteY44" fmla="*/ 224749 h 445950"/>
                <a:gd name="connsiteX45" fmla="*/ 65642 w 528212"/>
                <a:gd name="connsiteY45" fmla="*/ 217840 h 445950"/>
                <a:gd name="connsiteX46" fmla="*/ 34548 w 528212"/>
                <a:gd name="connsiteY46" fmla="*/ 179743 h 445950"/>
                <a:gd name="connsiteX47" fmla="*/ 44912 w 528212"/>
                <a:gd name="connsiteY47" fmla="*/ 155560 h 445950"/>
                <a:gd name="connsiteX48" fmla="*/ 55277 w 528212"/>
                <a:gd name="connsiteY48" fmla="*/ 148650 h 445950"/>
                <a:gd name="connsiteX49" fmla="*/ 51822 w 528212"/>
                <a:gd name="connsiteY49" fmla="*/ 134831 h 445950"/>
                <a:gd name="connsiteX50" fmla="*/ 58732 w 528212"/>
                <a:gd name="connsiteY50" fmla="*/ 124466 h 445950"/>
                <a:gd name="connsiteX51" fmla="*/ 44912 w 528212"/>
                <a:gd name="connsiteY51" fmla="*/ 121012 h 445950"/>
                <a:gd name="connsiteX52" fmla="*/ 27639 w 528212"/>
                <a:gd name="connsiteY52" fmla="*/ 93373 h 445950"/>
                <a:gd name="connsiteX53" fmla="*/ 17274 w 528212"/>
                <a:gd name="connsiteY53" fmla="*/ 76099 h 445950"/>
                <a:gd name="connsiteX54" fmla="*/ 10364 w 528212"/>
                <a:gd name="connsiteY54" fmla="*/ 58825 h 445950"/>
                <a:gd name="connsiteX55" fmla="*/ 6910 w 528212"/>
                <a:gd name="connsiteY55" fmla="*/ 41458 h 445950"/>
                <a:gd name="connsiteX56" fmla="*/ 3455 w 528212"/>
                <a:gd name="connsiteY56" fmla="*/ 27639 h 445950"/>
                <a:gd name="connsiteX57" fmla="*/ 0 w 528212"/>
                <a:gd name="connsiteY57" fmla="*/ 13819 h 445950"/>
                <a:gd name="connsiteX58" fmla="*/ 3455 w 528212"/>
                <a:gd name="connsiteY58" fmla="*/ 6910 h 445950"/>
                <a:gd name="connsiteX59" fmla="*/ 17274 w 528212"/>
                <a:gd name="connsiteY59" fmla="*/ 3455 h 445950"/>
                <a:gd name="connsiteX60" fmla="*/ 41458 w 528212"/>
                <a:gd name="connsiteY60" fmla="*/ 24184 h 445950"/>
                <a:gd name="connsiteX61" fmla="*/ 55277 w 528212"/>
                <a:gd name="connsiteY61" fmla="*/ 31093 h 445950"/>
                <a:gd name="connsiteX62" fmla="*/ 58732 w 528212"/>
                <a:gd name="connsiteY62" fmla="*/ 20729 h 445950"/>
                <a:gd name="connsiteX63" fmla="*/ 72551 w 528212"/>
                <a:gd name="connsiteY63" fmla="*/ 24184 h 445950"/>
                <a:gd name="connsiteX64" fmla="*/ 82822 w 528212"/>
                <a:gd name="connsiteY64" fmla="*/ 17274 h 445950"/>
                <a:gd name="connsiteX65" fmla="*/ 103551 w 528212"/>
                <a:gd name="connsiteY65" fmla="*/ 0 h 445950"/>
                <a:gd name="connsiteX66" fmla="*/ 110461 w 528212"/>
                <a:gd name="connsiteY66" fmla="*/ 3455 h 445950"/>
                <a:gd name="connsiteX67" fmla="*/ 110461 w 528212"/>
                <a:gd name="connsiteY67" fmla="*/ 17274 h 445950"/>
                <a:gd name="connsiteX68" fmla="*/ 117370 w 528212"/>
                <a:gd name="connsiteY68" fmla="*/ 27639 h 445950"/>
                <a:gd name="connsiteX69" fmla="*/ 107006 w 528212"/>
                <a:gd name="connsiteY69" fmla="*/ 31093 h 445950"/>
                <a:gd name="connsiteX70" fmla="*/ 117370 w 528212"/>
                <a:gd name="connsiteY70" fmla="*/ 41458 h 445950"/>
                <a:gd name="connsiteX71" fmla="*/ 131189 w 528212"/>
                <a:gd name="connsiteY71" fmla="*/ 41458 h 44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28212" h="445950">
                  <a:moveTo>
                    <a:pt x="131189" y="41458"/>
                  </a:moveTo>
                  <a:lnTo>
                    <a:pt x="138099" y="65735"/>
                  </a:lnTo>
                  <a:lnTo>
                    <a:pt x="172647" y="83009"/>
                  </a:lnTo>
                  <a:lnTo>
                    <a:pt x="193376" y="96828"/>
                  </a:lnTo>
                  <a:lnTo>
                    <a:pt x="245105" y="96828"/>
                  </a:lnTo>
                  <a:lnTo>
                    <a:pt x="269289" y="83009"/>
                  </a:lnTo>
                  <a:lnTo>
                    <a:pt x="307292" y="55370"/>
                  </a:lnTo>
                  <a:lnTo>
                    <a:pt x="352111" y="48367"/>
                  </a:lnTo>
                  <a:lnTo>
                    <a:pt x="390114" y="62280"/>
                  </a:lnTo>
                  <a:lnTo>
                    <a:pt x="441936" y="89918"/>
                  </a:lnTo>
                  <a:lnTo>
                    <a:pt x="469574" y="96828"/>
                  </a:lnTo>
                  <a:lnTo>
                    <a:pt x="473029" y="134831"/>
                  </a:lnTo>
                  <a:lnTo>
                    <a:pt x="455755" y="169379"/>
                  </a:lnTo>
                  <a:lnTo>
                    <a:pt x="452300" y="217840"/>
                  </a:lnTo>
                  <a:lnTo>
                    <a:pt x="462664" y="259297"/>
                  </a:lnTo>
                  <a:lnTo>
                    <a:pt x="486755" y="259297"/>
                  </a:lnTo>
                  <a:lnTo>
                    <a:pt x="483393" y="280026"/>
                  </a:lnTo>
                  <a:lnTo>
                    <a:pt x="459209" y="304210"/>
                  </a:lnTo>
                  <a:lnTo>
                    <a:pt x="469574" y="321484"/>
                  </a:lnTo>
                  <a:lnTo>
                    <a:pt x="493664" y="349122"/>
                  </a:lnTo>
                  <a:lnTo>
                    <a:pt x="514393" y="366396"/>
                  </a:lnTo>
                  <a:lnTo>
                    <a:pt x="514393" y="387219"/>
                  </a:lnTo>
                  <a:lnTo>
                    <a:pt x="528212" y="387219"/>
                  </a:lnTo>
                  <a:lnTo>
                    <a:pt x="528212" y="401038"/>
                  </a:lnTo>
                  <a:lnTo>
                    <a:pt x="504029" y="404493"/>
                  </a:lnTo>
                  <a:lnTo>
                    <a:pt x="479845" y="418312"/>
                  </a:lnTo>
                  <a:lnTo>
                    <a:pt x="479845" y="445950"/>
                  </a:lnTo>
                  <a:lnTo>
                    <a:pt x="407387" y="439041"/>
                  </a:lnTo>
                  <a:lnTo>
                    <a:pt x="359020" y="425222"/>
                  </a:lnTo>
                  <a:lnTo>
                    <a:pt x="355565" y="397583"/>
                  </a:lnTo>
                  <a:lnTo>
                    <a:pt x="338384" y="383764"/>
                  </a:lnTo>
                  <a:lnTo>
                    <a:pt x="324565" y="387219"/>
                  </a:lnTo>
                  <a:lnTo>
                    <a:pt x="307292" y="401038"/>
                  </a:lnTo>
                  <a:lnTo>
                    <a:pt x="283108" y="404493"/>
                  </a:lnTo>
                  <a:lnTo>
                    <a:pt x="238195" y="387219"/>
                  </a:lnTo>
                  <a:lnTo>
                    <a:pt x="203740" y="356032"/>
                  </a:lnTo>
                  <a:lnTo>
                    <a:pt x="179557" y="324939"/>
                  </a:lnTo>
                  <a:lnTo>
                    <a:pt x="169192" y="304210"/>
                  </a:lnTo>
                  <a:lnTo>
                    <a:pt x="138099" y="297300"/>
                  </a:lnTo>
                  <a:lnTo>
                    <a:pt x="120825" y="304210"/>
                  </a:lnTo>
                  <a:lnTo>
                    <a:pt x="103551" y="297300"/>
                  </a:lnTo>
                  <a:lnTo>
                    <a:pt x="107006" y="286936"/>
                  </a:lnTo>
                  <a:lnTo>
                    <a:pt x="96642" y="266207"/>
                  </a:lnTo>
                  <a:lnTo>
                    <a:pt x="103551" y="242023"/>
                  </a:lnTo>
                  <a:lnTo>
                    <a:pt x="82822" y="224749"/>
                  </a:lnTo>
                  <a:lnTo>
                    <a:pt x="65642" y="217840"/>
                  </a:lnTo>
                  <a:lnTo>
                    <a:pt x="34548" y="179743"/>
                  </a:lnTo>
                  <a:lnTo>
                    <a:pt x="44912" y="155560"/>
                  </a:lnTo>
                  <a:lnTo>
                    <a:pt x="55277" y="148650"/>
                  </a:lnTo>
                  <a:lnTo>
                    <a:pt x="51822" y="134831"/>
                  </a:lnTo>
                  <a:lnTo>
                    <a:pt x="58732" y="124466"/>
                  </a:lnTo>
                  <a:lnTo>
                    <a:pt x="44912" y="121012"/>
                  </a:lnTo>
                  <a:lnTo>
                    <a:pt x="27639" y="93373"/>
                  </a:lnTo>
                  <a:lnTo>
                    <a:pt x="17274" y="76099"/>
                  </a:lnTo>
                  <a:lnTo>
                    <a:pt x="10364" y="58825"/>
                  </a:lnTo>
                  <a:lnTo>
                    <a:pt x="6910" y="41458"/>
                  </a:lnTo>
                  <a:lnTo>
                    <a:pt x="3455" y="27639"/>
                  </a:lnTo>
                  <a:lnTo>
                    <a:pt x="0" y="13819"/>
                  </a:lnTo>
                  <a:lnTo>
                    <a:pt x="3455" y="6910"/>
                  </a:lnTo>
                  <a:lnTo>
                    <a:pt x="17274" y="3455"/>
                  </a:lnTo>
                  <a:lnTo>
                    <a:pt x="41458" y="24184"/>
                  </a:lnTo>
                  <a:lnTo>
                    <a:pt x="55277" y="31093"/>
                  </a:lnTo>
                  <a:lnTo>
                    <a:pt x="58732" y="20729"/>
                  </a:lnTo>
                  <a:lnTo>
                    <a:pt x="72551" y="24184"/>
                  </a:lnTo>
                  <a:lnTo>
                    <a:pt x="82822" y="17274"/>
                  </a:lnTo>
                  <a:lnTo>
                    <a:pt x="103551" y="0"/>
                  </a:lnTo>
                  <a:lnTo>
                    <a:pt x="110461" y="3455"/>
                  </a:lnTo>
                  <a:lnTo>
                    <a:pt x="110461" y="17274"/>
                  </a:lnTo>
                  <a:lnTo>
                    <a:pt x="117370" y="27639"/>
                  </a:lnTo>
                  <a:lnTo>
                    <a:pt x="107006" y="31093"/>
                  </a:lnTo>
                  <a:lnTo>
                    <a:pt x="117370" y="41458"/>
                  </a:lnTo>
                  <a:lnTo>
                    <a:pt x="131189" y="41458"/>
                  </a:lnTo>
                  <a:close/>
                </a:path>
              </a:pathLst>
            </a:custGeom>
            <a:solidFill>
              <a:srgbClr val="CEE3BF"/>
            </a:solidFill>
            <a:ln w="9334" cap="flat">
              <a:noFill/>
              <a:prstDash val="solid"/>
              <a:miter/>
            </a:ln>
          </p:spPr>
          <p:txBody>
            <a:bodyPr rtlCol="0" anchor="ctr"/>
            <a:lstStyle/>
            <a:p>
              <a:endParaRPr lang="en-GB" dirty="0"/>
            </a:p>
          </p:txBody>
        </p:sp>
        <p:sp>
          <p:nvSpPr>
            <p:cNvPr id="1109" name="Freeform: Shape 1108">
              <a:extLst>
                <a:ext uri="{FF2B5EF4-FFF2-40B4-BE49-F238E27FC236}">
                  <a16:creationId xmlns:a16="http://schemas.microsoft.com/office/drawing/2014/main" id="{EE4606B7-5E02-43D3-B012-FD284FE121D7}"/>
                </a:ext>
              </a:extLst>
            </p:cNvPr>
            <p:cNvSpPr/>
            <p:nvPr/>
          </p:nvSpPr>
          <p:spPr>
            <a:xfrm>
              <a:off x="7499049" y="3413106"/>
              <a:ext cx="390113" cy="280026"/>
            </a:xfrm>
            <a:custGeom>
              <a:avLst/>
              <a:gdLst>
                <a:gd name="connsiteX0" fmla="*/ 20729 w 390113"/>
                <a:gd name="connsiteY0" fmla="*/ 96828 h 280026"/>
                <a:gd name="connsiteX1" fmla="*/ 41364 w 390113"/>
                <a:gd name="connsiteY1" fmla="*/ 96828 h 280026"/>
                <a:gd name="connsiteX2" fmla="*/ 58639 w 390113"/>
                <a:gd name="connsiteY2" fmla="*/ 103738 h 280026"/>
                <a:gd name="connsiteX3" fmla="*/ 75912 w 390113"/>
                <a:gd name="connsiteY3" fmla="*/ 83009 h 280026"/>
                <a:gd name="connsiteX4" fmla="*/ 96642 w 390113"/>
                <a:gd name="connsiteY4" fmla="*/ 76099 h 280026"/>
                <a:gd name="connsiteX5" fmla="*/ 117370 w 390113"/>
                <a:gd name="connsiteY5" fmla="*/ 45006 h 280026"/>
                <a:gd name="connsiteX6" fmla="*/ 145009 w 390113"/>
                <a:gd name="connsiteY6" fmla="*/ 34641 h 280026"/>
                <a:gd name="connsiteX7" fmla="*/ 165644 w 390113"/>
                <a:gd name="connsiteY7" fmla="*/ 34641 h 280026"/>
                <a:gd name="connsiteX8" fmla="*/ 200192 w 390113"/>
                <a:gd name="connsiteY8" fmla="*/ 45006 h 280026"/>
                <a:gd name="connsiteX9" fmla="*/ 217467 w 390113"/>
                <a:gd name="connsiteY9" fmla="*/ 51915 h 280026"/>
                <a:gd name="connsiteX10" fmla="*/ 252014 w 390113"/>
                <a:gd name="connsiteY10" fmla="*/ 31187 h 280026"/>
                <a:gd name="connsiteX11" fmla="*/ 265834 w 390113"/>
                <a:gd name="connsiteY11" fmla="*/ 27732 h 280026"/>
                <a:gd name="connsiteX12" fmla="*/ 283108 w 390113"/>
                <a:gd name="connsiteY12" fmla="*/ 0 h 280026"/>
                <a:gd name="connsiteX13" fmla="*/ 296834 w 390113"/>
                <a:gd name="connsiteY13" fmla="*/ 10364 h 280026"/>
                <a:gd name="connsiteX14" fmla="*/ 300289 w 390113"/>
                <a:gd name="connsiteY14" fmla="*/ 31187 h 280026"/>
                <a:gd name="connsiteX15" fmla="*/ 296834 w 390113"/>
                <a:gd name="connsiteY15" fmla="*/ 45006 h 280026"/>
                <a:gd name="connsiteX16" fmla="*/ 296834 w 390113"/>
                <a:gd name="connsiteY16" fmla="*/ 55370 h 280026"/>
                <a:gd name="connsiteX17" fmla="*/ 314108 w 390113"/>
                <a:gd name="connsiteY17" fmla="*/ 51915 h 280026"/>
                <a:gd name="connsiteX18" fmla="*/ 327927 w 390113"/>
                <a:gd name="connsiteY18" fmla="*/ 45006 h 280026"/>
                <a:gd name="connsiteX19" fmla="*/ 341746 w 390113"/>
                <a:gd name="connsiteY19" fmla="*/ 34641 h 280026"/>
                <a:gd name="connsiteX20" fmla="*/ 390114 w 390113"/>
                <a:gd name="connsiteY20" fmla="*/ 34641 h 280026"/>
                <a:gd name="connsiteX21" fmla="*/ 390114 w 390113"/>
                <a:gd name="connsiteY21" fmla="*/ 48461 h 280026"/>
                <a:gd name="connsiteX22" fmla="*/ 369384 w 390113"/>
                <a:gd name="connsiteY22" fmla="*/ 51915 h 280026"/>
                <a:gd name="connsiteX23" fmla="*/ 341746 w 390113"/>
                <a:gd name="connsiteY23" fmla="*/ 51915 h 280026"/>
                <a:gd name="connsiteX24" fmla="*/ 327927 w 390113"/>
                <a:gd name="connsiteY24" fmla="*/ 51915 h 280026"/>
                <a:gd name="connsiteX25" fmla="*/ 321017 w 390113"/>
                <a:gd name="connsiteY25" fmla="*/ 55370 h 280026"/>
                <a:gd name="connsiteX26" fmla="*/ 300289 w 390113"/>
                <a:gd name="connsiteY26" fmla="*/ 69190 h 280026"/>
                <a:gd name="connsiteX27" fmla="*/ 290017 w 390113"/>
                <a:gd name="connsiteY27" fmla="*/ 79554 h 280026"/>
                <a:gd name="connsiteX28" fmla="*/ 296834 w 390113"/>
                <a:gd name="connsiteY28" fmla="*/ 89918 h 280026"/>
                <a:gd name="connsiteX29" fmla="*/ 300289 w 390113"/>
                <a:gd name="connsiteY29" fmla="*/ 100283 h 280026"/>
                <a:gd name="connsiteX30" fmla="*/ 296834 w 390113"/>
                <a:gd name="connsiteY30" fmla="*/ 117557 h 280026"/>
                <a:gd name="connsiteX31" fmla="*/ 290017 w 390113"/>
                <a:gd name="connsiteY31" fmla="*/ 134831 h 280026"/>
                <a:gd name="connsiteX32" fmla="*/ 262379 w 390113"/>
                <a:gd name="connsiteY32" fmla="*/ 145195 h 280026"/>
                <a:gd name="connsiteX33" fmla="*/ 255469 w 390113"/>
                <a:gd name="connsiteY33" fmla="*/ 166018 h 280026"/>
                <a:gd name="connsiteX34" fmla="*/ 245105 w 390113"/>
                <a:gd name="connsiteY34" fmla="*/ 172927 h 280026"/>
                <a:gd name="connsiteX35" fmla="*/ 238195 w 390113"/>
                <a:gd name="connsiteY35" fmla="*/ 190201 h 280026"/>
                <a:gd name="connsiteX36" fmla="*/ 238195 w 390113"/>
                <a:gd name="connsiteY36" fmla="*/ 214385 h 280026"/>
                <a:gd name="connsiteX37" fmla="*/ 196737 w 390113"/>
                <a:gd name="connsiteY37" fmla="*/ 214385 h 280026"/>
                <a:gd name="connsiteX38" fmla="*/ 189828 w 390113"/>
                <a:gd name="connsiteY38" fmla="*/ 228204 h 280026"/>
                <a:gd name="connsiteX39" fmla="*/ 162189 w 390113"/>
                <a:gd name="connsiteY39" fmla="*/ 228204 h 280026"/>
                <a:gd name="connsiteX40" fmla="*/ 155373 w 390113"/>
                <a:gd name="connsiteY40" fmla="*/ 238569 h 280026"/>
                <a:gd name="connsiteX41" fmla="*/ 151918 w 390113"/>
                <a:gd name="connsiteY41" fmla="*/ 269662 h 280026"/>
                <a:gd name="connsiteX42" fmla="*/ 134644 w 390113"/>
                <a:gd name="connsiteY42" fmla="*/ 273117 h 280026"/>
                <a:gd name="connsiteX43" fmla="*/ 72458 w 390113"/>
                <a:gd name="connsiteY43" fmla="*/ 280026 h 280026"/>
                <a:gd name="connsiteX44" fmla="*/ 41364 w 390113"/>
                <a:gd name="connsiteY44" fmla="*/ 280026 h 280026"/>
                <a:gd name="connsiteX45" fmla="*/ 31093 w 390113"/>
                <a:gd name="connsiteY45" fmla="*/ 269662 h 280026"/>
                <a:gd name="connsiteX46" fmla="*/ 13820 w 390113"/>
                <a:gd name="connsiteY46" fmla="*/ 276571 h 280026"/>
                <a:gd name="connsiteX47" fmla="*/ 6910 w 390113"/>
                <a:gd name="connsiteY47" fmla="*/ 266207 h 280026"/>
                <a:gd name="connsiteX48" fmla="*/ 31093 w 390113"/>
                <a:gd name="connsiteY48" fmla="*/ 242023 h 280026"/>
                <a:gd name="connsiteX49" fmla="*/ 34548 w 390113"/>
                <a:gd name="connsiteY49" fmla="*/ 221294 h 280026"/>
                <a:gd name="connsiteX50" fmla="*/ 10364 w 390113"/>
                <a:gd name="connsiteY50" fmla="*/ 221294 h 280026"/>
                <a:gd name="connsiteX51" fmla="*/ 6910 w 390113"/>
                <a:gd name="connsiteY51" fmla="*/ 197111 h 280026"/>
                <a:gd name="connsiteX52" fmla="*/ 0 w 390113"/>
                <a:gd name="connsiteY52" fmla="*/ 179837 h 280026"/>
                <a:gd name="connsiteX53" fmla="*/ 3455 w 390113"/>
                <a:gd name="connsiteY53" fmla="*/ 131376 h 280026"/>
                <a:gd name="connsiteX54" fmla="*/ 20729 w 390113"/>
                <a:gd name="connsiteY54" fmla="*/ 96828 h 28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90113" h="280026">
                  <a:moveTo>
                    <a:pt x="20729" y="96828"/>
                  </a:moveTo>
                  <a:lnTo>
                    <a:pt x="41364" y="96828"/>
                  </a:lnTo>
                  <a:lnTo>
                    <a:pt x="58639" y="103738"/>
                  </a:lnTo>
                  <a:lnTo>
                    <a:pt x="75912" y="83009"/>
                  </a:lnTo>
                  <a:lnTo>
                    <a:pt x="96642" y="76099"/>
                  </a:lnTo>
                  <a:lnTo>
                    <a:pt x="117370" y="45006"/>
                  </a:lnTo>
                  <a:lnTo>
                    <a:pt x="145009" y="34641"/>
                  </a:lnTo>
                  <a:lnTo>
                    <a:pt x="165644" y="34641"/>
                  </a:lnTo>
                  <a:lnTo>
                    <a:pt x="200192" y="45006"/>
                  </a:lnTo>
                  <a:lnTo>
                    <a:pt x="217467" y="51915"/>
                  </a:lnTo>
                  <a:lnTo>
                    <a:pt x="252014" y="31187"/>
                  </a:lnTo>
                  <a:lnTo>
                    <a:pt x="265834" y="27732"/>
                  </a:lnTo>
                  <a:lnTo>
                    <a:pt x="283108" y="0"/>
                  </a:lnTo>
                  <a:lnTo>
                    <a:pt x="296834" y="10364"/>
                  </a:lnTo>
                  <a:lnTo>
                    <a:pt x="300289" y="31187"/>
                  </a:lnTo>
                  <a:lnTo>
                    <a:pt x="296834" y="45006"/>
                  </a:lnTo>
                  <a:lnTo>
                    <a:pt x="296834" y="55370"/>
                  </a:lnTo>
                  <a:lnTo>
                    <a:pt x="314108" y="51915"/>
                  </a:lnTo>
                  <a:lnTo>
                    <a:pt x="327927" y="45006"/>
                  </a:lnTo>
                  <a:lnTo>
                    <a:pt x="341746" y="34641"/>
                  </a:lnTo>
                  <a:lnTo>
                    <a:pt x="390114" y="34641"/>
                  </a:lnTo>
                  <a:lnTo>
                    <a:pt x="390114" y="48461"/>
                  </a:lnTo>
                  <a:lnTo>
                    <a:pt x="369384" y="51915"/>
                  </a:lnTo>
                  <a:lnTo>
                    <a:pt x="341746" y="51915"/>
                  </a:lnTo>
                  <a:lnTo>
                    <a:pt x="327927" y="51915"/>
                  </a:lnTo>
                  <a:lnTo>
                    <a:pt x="321017" y="55370"/>
                  </a:lnTo>
                  <a:lnTo>
                    <a:pt x="300289" y="69190"/>
                  </a:lnTo>
                  <a:lnTo>
                    <a:pt x="290017" y="79554"/>
                  </a:lnTo>
                  <a:lnTo>
                    <a:pt x="296834" y="89918"/>
                  </a:lnTo>
                  <a:lnTo>
                    <a:pt x="300289" y="100283"/>
                  </a:lnTo>
                  <a:lnTo>
                    <a:pt x="296834" y="117557"/>
                  </a:lnTo>
                  <a:lnTo>
                    <a:pt x="290017" y="134831"/>
                  </a:lnTo>
                  <a:lnTo>
                    <a:pt x="262379" y="145195"/>
                  </a:lnTo>
                  <a:lnTo>
                    <a:pt x="255469" y="166018"/>
                  </a:lnTo>
                  <a:lnTo>
                    <a:pt x="245105" y="172927"/>
                  </a:lnTo>
                  <a:lnTo>
                    <a:pt x="238195" y="190201"/>
                  </a:lnTo>
                  <a:lnTo>
                    <a:pt x="238195" y="214385"/>
                  </a:lnTo>
                  <a:lnTo>
                    <a:pt x="196737" y="214385"/>
                  </a:lnTo>
                  <a:lnTo>
                    <a:pt x="189828" y="228204"/>
                  </a:lnTo>
                  <a:lnTo>
                    <a:pt x="162189" y="228204"/>
                  </a:lnTo>
                  <a:lnTo>
                    <a:pt x="155373" y="238569"/>
                  </a:lnTo>
                  <a:lnTo>
                    <a:pt x="151918" y="269662"/>
                  </a:lnTo>
                  <a:lnTo>
                    <a:pt x="134644" y="273117"/>
                  </a:lnTo>
                  <a:lnTo>
                    <a:pt x="72458" y="280026"/>
                  </a:lnTo>
                  <a:lnTo>
                    <a:pt x="41364" y="280026"/>
                  </a:lnTo>
                  <a:lnTo>
                    <a:pt x="31093" y="269662"/>
                  </a:lnTo>
                  <a:lnTo>
                    <a:pt x="13820" y="276571"/>
                  </a:lnTo>
                  <a:lnTo>
                    <a:pt x="6910" y="266207"/>
                  </a:lnTo>
                  <a:lnTo>
                    <a:pt x="31093" y="242023"/>
                  </a:lnTo>
                  <a:lnTo>
                    <a:pt x="34548" y="221294"/>
                  </a:lnTo>
                  <a:lnTo>
                    <a:pt x="10364" y="221294"/>
                  </a:lnTo>
                  <a:lnTo>
                    <a:pt x="6910" y="197111"/>
                  </a:lnTo>
                  <a:lnTo>
                    <a:pt x="0" y="179837"/>
                  </a:lnTo>
                  <a:lnTo>
                    <a:pt x="3455" y="131376"/>
                  </a:lnTo>
                  <a:lnTo>
                    <a:pt x="20729" y="96828"/>
                  </a:lnTo>
                  <a:close/>
                </a:path>
              </a:pathLst>
            </a:custGeom>
            <a:solidFill>
              <a:srgbClr val="CEE3BF"/>
            </a:solidFill>
            <a:ln w="9334" cap="flat">
              <a:noFill/>
              <a:prstDash val="solid"/>
              <a:miter/>
            </a:ln>
          </p:spPr>
          <p:txBody>
            <a:bodyPr rtlCol="0" anchor="ctr"/>
            <a:lstStyle/>
            <a:p>
              <a:endParaRPr lang="en-GB" dirty="0"/>
            </a:p>
          </p:txBody>
        </p:sp>
        <p:sp>
          <p:nvSpPr>
            <p:cNvPr id="1110" name="Freeform: Shape 1109">
              <a:extLst>
                <a:ext uri="{FF2B5EF4-FFF2-40B4-BE49-F238E27FC236}">
                  <a16:creationId xmlns:a16="http://schemas.microsoft.com/office/drawing/2014/main" id="{8C732186-6786-4425-A07B-C35AD83B831E}"/>
                </a:ext>
              </a:extLst>
            </p:cNvPr>
            <p:cNvSpPr/>
            <p:nvPr/>
          </p:nvSpPr>
          <p:spPr>
            <a:xfrm>
              <a:off x="6794735" y="3572120"/>
              <a:ext cx="117370" cy="131376"/>
            </a:xfrm>
            <a:custGeom>
              <a:avLst/>
              <a:gdLst>
                <a:gd name="connsiteX0" fmla="*/ 113915 w 117370"/>
                <a:gd name="connsiteY0" fmla="*/ 0 h 131376"/>
                <a:gd name="connsiteX1" fmla="*/ 117370 w 117370"/>
                <a:gd name="connsiteY1" fmla="*/ 41551 h 131376"/>
                <a:gd name="connsiteX2" fmla="*/ 113915 w 117370"/>
                <a:gd name="connsiteY2" fmla="*/ 51915 h 131376"/>
                <a:gd name="connsiteX3" fmla="*/ 65548 w 117370"/>
                <a:gd name="connsiteY3" fmla="*/ 58825 h 131376"/>
                <a:gd name="connsiteX4" fmla="*/ 86277 w 117370"/>
                <a:gd name="connsiteY4" fmla="*/ 86464 h 131376"/>
                <a:gd name="connsiteX5" fmla="*/ 75912 w 117370"/>
                <a:gd name="connsiteY5" fmla="*/ 96828 h 131376"/>
                <a:gd name="connsiteX6" fmla="*/ 72458 w 117370"/>
                <a:gd name="connsiteY6" fmla="*/ 107192 h 131376"/>
                <a:gd name="connsiteX7" fmla="*/ 51822 w 117370"/>
                <a:gd name="connsiteY7" fmla="*/ 110647 h 131376"/>
                <a:gd name="connsiteX8" fmla="*/ 41458 w 117370"/>
                <a:gd name="connsiteY8" fmla="*/ 124466 h 131376"/>
                <a:gd name="connsiteX9" fmla="*/ 34548 w 117370"/>
                <a:gd name="connsiteY9" fmla="*/ 131376 h 131376"/>
                <a:gd name="connsiteX10" fmla="*/ 0 w 117370"/>
                <a:gd name="connsiteY10" fmla="*/ 121012 h 131376"/>
                <a:gd name="connsiteX11" fmla="*/ 10364 w 117370"/>
                <a:gd name="connsiteY11" fmla="*/ 100283 h 131376"/>
                <a:gd name="connsiteX12" fmla="*/ 13819 w 117370"/>
                <a:gd name="connsiteY12" fmla="*/ 83009 h 131376"/>
                <a:gd name="connsiteX13" fmla="*/ 13819 w 117370"/>
                <a:gd name="connsiteY13" fmla="*/ 62280 h 131376"/>
                <a:gd name="connsiteX14" fmla="*/ 17274 w 117370"/>
                <a:gd name="connsiteY14" fmla="*/ 48461 h 131376"/>
                <a:gd name="connsiteX15" fmla="*/ 17274 w 117370"/>
                <a:gd name="connsiteY15" fmla="*/ 34642 h 131376"/>
                <a:gd name="connsiteX16" fmla="*/ 20729 w 117370"/>
                <a:gd name="connsiteY16" fmla="*/ 24277 h 131376"/>
                <a:gd name="connsiteX17" fmla="*/ 27639 w 117370"/>
                <a:gd name="connsiteY17" fmla="*/ 27732 h 131376"/>
                <a:gd name="connsiteX18" fmla="*/ 34548 w 117370"/>
                <a:gd name="connsiteY18" fmla="*/ 27732 h 131376"/>
                <a:gd name="connsiteX19" fmla="*/ 48367 w 117370"/>
                <a:gd name="connsiteY19" fmla="*/ 34642 h 131376"/>
                <a:gd name="connsiteX20" fmla="*/ 62187 w 117370"/>
                <a:gd name="connsiteY20" fmla="*/ 31187 h 131376"/>
                <a:gd name="connsiteX21" fmla="*/ 113915 w 117370"/>
                <a:gd name="connsiteY21" fmla="*/ 0 h 13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370" h="131376">
                  <a:moveTo>
                    <a:pt x="113915" y="0"/>
                  </a:moveTo>
                  <a:lnTo>
                    <a:pt x="117370" y="41551"/>
                  </a:lnTo>
                  <a:lnTo>
                    <a:pt x="113915" y="51915"/>
                  </a:lnTo>
                  <a:lnTo>
                    <a:pt x="65548" y="58825"/>
                  </a:lnTo>
                  <a:lnTo>
                    <a:pt x="86277" y="86464"/>
                  </a:lnTo>
                  <a:lnTo>
                    <a:pt x="75912" y="96828"/>
                  </a:lnTo>
                  <a:lnTo>
                    <a:pt x="72458" y="107192"/>
                  </a:lnTo>
                  <a:lnTo>
                    <a:pt x="51822" y="110647"/>
                  </a:lnTo>
                  <a:lnTo>
                    <a:pt x="41458" y="124466"/>
                  </a:lnTo>
                  <a:lnTo>
                    <a:pt x="34548" y="131376"/>
                  </a:lnTo>
                  <a:lnTo>
                    <a:pt x="0" y="121012"/>
                  </a:lnTo>
                  <a:lnTo>
                    <a:pt x="10364" y="100283"/>
                  </a:lnTo>
                  <a:lnTo>
                    <a:pt x="13819" y="83009"/>
                  </a:lnTo>
                  <a:lnTo>
                    <a:pt x="13819" y="62280"/>
                  </a:lnTo>
                  <a:lnTo>
                    <a:pt x="17274" y="48461"/>
                  </a:lnTo>
                  <a:lnTo>
                    <a:pt x="17274" y="34642"/>
                  </a:lnTo>
                  <a:lnTo>
                    <a:pt x="20729" y="24277"/>
                  </a:lnTo>
                  <a:lnTo>
                    <a:pt x="27639" y="27732"/>
                  </a:lnTo>
                  <a:lnTo>
                    <a:pt x="34548" y="27732"/>
                  </a:lnTo>
                  <a:lnTo>
                    <a:pt x="48367" y="34642"/>
                  </a:lnTo>
                  <a:lnTo>
                    <a:pt x="62187" y="31187"/>
                  </a:lnTo>
                  <a:lnTo>
                    <a:pt x="113915" y="0"/>
                  </a:lnTo>
                  <a:close/>
                </a:path>
              </a:pathLst>
            </a:custGeom>
            <a:solidFill>
              <a:srgbClr val="CEE3BF"/>
            </a:solidFill>
            <a:ln w="9334" cap="flat">
              <a:noFill/>
              <a:prstDash val="solid"/>
              <a:miter/>
            </a:ln>
          </p:spPr>
          <p:txBody>
            <a:bodyPr rtlCol="0" anchor="ctr"/>
            <a:lstStyle/>
            <a:p>
              <a:endParaRPr lang="en-GB" dirty="0"/>
            </a:p>
          </p:txBody>
        </p:sp>
        <p:sp>
          <p:nvSpPr>
            <p:cNvPr id="1111" name="Freeform: Shape 1110">
              <a:extLst>
                <a:ext uri="{FF2B5EF4-FFF2-40B4-BE49-F238E27FC236}">
                  <a16:creationId xmlns:a16="http://schemas.microsoft.com/office/drawing/2014/main" id="{DFBBC693-C609-43EB-B31A-C14E524B798B}"/>
                </a:ext>
              </a:extLst>
            </p:cNvPr>
            <p:cNvSpPr/>
            <p:nvPr/>
          </p:nvSpPr>
          <p:spPr>
            <a:xfrm>
              <a:off x="6794735" y="3572120"/>
              <a:ext cx="117370" cy="131376"/>
            </a:xfrm>
            <a:custGeom>
              <a:avLst/>
              <a:gdLst>
                <a:gd name="connsiteX0" fmla="*/ 113915 w 117370"/>
                <a:gd name="connsiteY0" fmla="*/ 0 h 131376"/>
                <a:gd name="connsiteX1" fmla="*/ 117370 w 117370"/>
                <a:gd name="connsiteY1" fmla="*/ 41551 h 131376"/>
                <a:gd name="connsiteX2" fmla="*/ 113915 w 117370"/>
                <a:gd name="connsiteY2" fmla="*/ 51915 h 131376"/>
                <a:gd name="connsiteX3" fmla="*/ 65548 w 117370"/>
                <a:gd name="connsiteY3" fmla="*/ 58825 h 131376"/>
                <a:gd name="connsiteX4" fmla="*/ 86277 w 117370"/>
                <a:gd name="connsiteY4" fmla="*/ 86464 h 131376"/>
                <a:gd name="connsiteX5" fmla="*/ 75912 w 117370"/>
                <a:gd name="connsiteY5" fmla="*/ 96828 h 131376"/>
                <a:gd name="connsiteX6" fmla="*/ 72458 w 117370"/>
                <a:gd name="connsiteY6" fmla="*/ 107192 h 131376"/>
                <a:gd name="connsiteX7" fmla="*/ 51822 w 117370"/>
                <a:gd name="connsiteY7" fmla="*/ 110647 h 131376"/>
                <a:gd name="connsiteX8" fmla="*/ 41458 w 117370"/>
                <a:gd name="connsiteY8" fmla="*/ 124466 h 131376"/>
                <a:gd name="connsiteX9" fmla="*/ 34548 w 117370"/>
                <a:gd name="connsiteY9" fmla="*/ 131376 h 131376"/>
                <a:gd name="connsiteX10" fmla="*/ 0 w 117370"/>
                <a:gd name="connsiteY10" fmla="*/ 121012 h 131376"/>
                <a:gd name="connsiteX11" fmla="*/ 10364 w 117370"/>
                <a:gd name="connsiteY11" fmla="*/ 100283 h 131376"/>
                <a:gd name="connsiteX12" fmla="*/ 13819 w 117370"/>
                <a:gd name="connsiteY12" fmla="*/ 83009 h 131376"/>
                <a:gd name="connsiteX13" fmla="*/ 13819 w 117370"/>
                <a:gd name="connsiteY13" fmla="*/ 62280 h 131376"/>
                <a:gd name="connsiteX14" fmla="*/ 17274 w 117370"/>
                <a:gd name="connsiteY14" fmla="*/ 48461 h 131376"/>
                <a:gd name="connsiteX15" fmla="*/ 17274 w 117370"/>
                <a:gd name="connsiteY15" fmla="*/ 34642 h 131376"/>
                <a:gd name="connsiteX16" fmla="*/ 20729 w 117370"/>
                <a:gd name="connsiteY16" fmla="*/ 24277 h 131376"/>
                <a:gd name="connsiteX17" fmla="*/ 27639 w 117370"/>
                <a:gd name="connsiteY17" fmla="*/ 27732 h 131376"/>
                <a:gd name="connsiteX18" fmla="*/ 34548 w 117370"/>
                <a:gd name="connsiteY18" fmla="*/ 27732 h 131376"/>
                <a:gd name="connsiteX19" fmla="*/ 48367 w 117370"/>
                <a:gd name="connsiteY19" fmla="*/ 34642 h 131376"/>
                <a:gd name="connsiteX20" fmla="*/ 62187 w 117370"/>
                <a:gd name="connsiteY20" fmla="*/ 31187 h 131376"/>
                <a:gd name="connsiteX21" fmla="*/ 113915 w 117370"/>
                <a:gd name="connsiteY21" fmla="*/ 0 h 13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370" h="131376">
                  <a:moveTo>
                    <a:pt x="113915" y="0"/>
                  </a:moveTo>
                  <a:lnTo>
                    <a:pt x="117370" y="41551"/>
                  </a:lnTo>
                  <a:lnTo>
                    <a:pt x="113915" y="51915"/>
                  </a:lnTo>
                  <a:lnTo>
                    <a:pt x="65548" y="58825"/>
                  </a:lnTo>
                  <a:lnTo>
                    <a:pt x="86277" y="86464"/>
                  </a:lnTo>
                  <a:lnTo>
                    <a:pt x="75912" y="96828"/>
                  </a:lnTo>
                  <a:lnTo>
                    <a:pt x="72458" y="107192"/>
                  </a:lnTo>
                  <a:lnTo>
                    <a:pt x="51822" y="110647"/>
                  </a:lnTo>
                  <a:lnTo>
                    <a:pt x="41458" y="124466"/>
                  </a:lnTo>
                  <a:lnTo>
                    <a:pt x="34548" y="131376"/>
                  </a:lnTo>
                  <a:lnTo>
                    <a:pt x="0" y="121012"/>
                  </a:lnTo>
                  <a:lnTo>
                    <a:pt x="10364" y="100283"/>
                  </a:lnTo>
                  <a:lnTo>
                    <a:pt x="13819" y="83009"/>
                  </a:lnTo>
                  <a:lnTo>
                    <a:pt x="13819" y="62280"/>
                  </a:lnTo>
                  <a:lnTo>
                    <a:pt x="17274" y="48461"/>
                  </a:lnTo>
                  <a:lnTo>
                    <a:pt x="17274" y="34642"/>
                  </a:lnTo>
                  <a:lnTo>
                    <a:pt x="20729" y="24277"/>
                  </a:lnTo>
                  <a:lnTo>
                    <a:pt x="27639" y="27732"/>
                  </a:lnTo>
                  <a:lnTo>
                    <a:pt x="34548" y="27732"/>
                  </a:lnTo>
                  <a:lnTo>
                    <a:pt x="48367" y="34642"/>
                  </a:lnTo>
                  <a:lnTo>
                    <a:pt x="62187" y="31187"/>
                  </a:lnTo>
                  <a:lnTo>
                    <a:pt x="113915" y="0"/>
                  </a:lnTo>
                  <a:close/>
                </a:path>
              </a:pathLst>
            </a:custGeom>
            <a:solidFill>
              <a:srgbClr val="CEE3BF"/>
            </a:solidFill>
            <a:ln w="9334" cap="flat">
              <a:noFill/>
              <a:prstDash val="solid"/>
              <a:miter/>
            </a:ln>
          </p:spPr>
          <p:txBody>
            <a:bodyPr rtlCol="0" anchor="ctr"/>
            <a:lstStyle/>
            <a:p>
              <a:endParaRPr lang="en-GB" dirty="0"/>
            </a:p>
          </p:txBody>
        </p:sp>
        <p:sp>
          <p:nvSpPr>
            <p:cNvPr id="1112" name="Freeform: Shape 1111">
              <a:extLst>
                <a:ext uri="{FF2B5EF4-FFF2-40B4-BE49-F238E27FC236}">
                  <a16:creationId xmlns:a16="http://schemas.microsoft.com/office/drawing/2014/main" id="{7998E548-FC4F-4ED1-AA11-52E3A0BA9524}"/>
                </a:ext>
              </a:extLst>
            </p:cNvPr>
            <p:cNvSpPr/>
            <p:nvPr/>
          </p:nvSpPr>
          <p:spPr>
            <a:xfrm>
              <a:off x="6798189" y="3606762"/>
              <a:ext cx="13819" cy="27638"/>
            </a:xfrm>
            <a:custGeom>
              <a:avLst/>
              <a:gdLst>
                <a:gd name="connsiteX0" fmla="*/ 13819 w 13819"/>
                <a:gd name="connsiteY0" fmla="*/ 0 h 27638"/>
                <a:gd name="connsiteX1" fmla="*/ 3455 w 13819"/>
                <a:gd name="connsiteY1" fmla="*/ 0 h 27638"/>
                <a:gd name="connsiteX2" fmla="*/ 0 w 13819"/>
                <a:gd name="connsiteY2" fmla="*/ 6910 h 27638"/>
                <a:gd name="connsiteX3" fmla="*/ 0 w 13819"/>
                <a:gd name="connsiteY3" fmla="*/ 17274 h 27638"/>
                <a:gd name="connsiteX4" fmla="*/ 3455 w 13819"/>
                <a:gd name="connsiteY4" fmla="*/ 27638 h 27638"/>
                <a:gd name="connsiteX5" fmla="*/ 10364 w 13819"/>
                <a:gd name="connsiteY5" fmla="*/ 27638 h 27638"/>
                <a:gd name="connsiteX6" fmla="*/ 13819 w 13819"/>
                <a:gd name="connsiteY6" fmla="*/ 13819 h 27638"/>
                <a:gd name="connsiteX7" fmla="*/ 13819 w 13819"/>
                <a:gd name="connsiteY7" fmla="*/ 3455 h 27638"/>
                <a:gd name="connsiteX8" fmla="*/ 13819 w 13819"/>
                <a:gd name="connsiteY8" fmla="*/ 0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19" h="27638">
                  <a:moveTo>
                    <a:pt x="13819" y="0"/>
                  </a:moveTo>
                  <a:lnTo>
                    <a:pt x="3455" y="0"/>
                  </a:lnTo>
                  <a:lnTo>
                    <a:pt x="0" y="6910"/>
                  </a:lnTo>
                  <a:lnTo>
                    <a:pt x="0" y="17274"/>
                  </a:lnTo>
                  <a:lnTo>
                    <a:pt x="3455" y="27638"/>
                  </a:lnTo>
                  <a:lnTo>
                    <a:pt x="10364" y="27638"/>
                  </a:lnTo>
                  <a:lnTo>
                    <a:pt x="13819" y="13819"/>
                  </a:lnTo>
                  <a:lnTo>
                    <a:pt x="13819" y="3455"/>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113" name="Freeform: Shape 1112">
              <a:extLst>
                <a:ext uri="{FF2B5EF4-FFF2-40B4-BE49-F238E27FC236}">
                  <a16:creationId xmlns:a16="http://schemas.microsoft.com/office/drawing/2014/main" id="{EE758C70-C96F-46F5-B9D0-ED69D2427AC8}"/>
                </a:ext>
              </a:extLst>
            </p:cNvPr>
            <p:cNvSpPr/>
            <p:nvPr/>
          </p:nvSpPr>
          <p:spPr>
            <a:xfrm>
              <a:off x="6798189" y="3606762"/>
              <a:ext cx="13819" cy="27638"/>
            </a:xfrm>
            <a:custGeom>
              <a:avLst/>
              <a:gdLst>
                <a:gd name="connsiteX0" fmla="*/ 13819 w 13819"/>
                <a:gd name="connsiteY0" fmla="*/ 0 h 27638"/>
                <a:gd name="connsiteX1" fmla="*/ 3455 w 13819"/>
                <a:gd name="connsiteY1" fmla="*/ 0 h 27638"/>
                <a:gd name="connsiteX2" fmla="*/ 0 w 13819"/>
                <a:gd name="connsiteY2" fmla="*/ 6910 h 27638"/>
                <a:gd name="connsiteX3" fmla="*/ 0 w 13819"/>
                <a:gd name="connsiteY3" fmla="*/ 17274 h 27638"/>
                <a:gd name="connsiteX4" fmla="*/ 3455 w 13819"/>
                <a:gd name="connsiteY4" fmla="*/ 27638 h 27638"/>
                <a:gd name="connsiteX5" fmla="*/ 10364 w 13819"/>
                <a:gd name="connsiteY5" fmla="*/ 27638 h 27638"/>
                <a:gd name="connsiteX6" fmla="*/ 13819 w 13819"/>
                <a:gd name="connsiteY6" fmla="*/ 13819 h 27638"/>
                <a:gd name="connsiteX7" fmla="*/ 13819 w 13819"/>
                <a:gd name="connsiteY7" fmla="*/ 3455 h 27638"/>
                <a:gd name="connsiteX8" fmla="*/ 13819 w 13819"/>
                <a:gd name="connsiteY8" fmla="*/ 0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19" h="27638">
                  <a:moveTo>
                    <a:pt x="13819" y="0"/>
                  </a:moveTo>
                  <a:lnTo>
                    <a:pt x="3455" y="0"/>
                  </a:lnTo>
                  <a:lnTo>
                    <a:pt x="0" y="6910"/>
                  </a:lnTo>
                  <a:lnTo>
                    <a:pt x="0" y="17274"/>
                  </a:lnTo>
                  <a:lnTo>
                    <a:pt x="3455" y="27638"/>
                  </a:lnTo>
                  <a:lnTo>
                    <a:pt x="10364" y="27638"/>
                  </a:lnTo>
                  <a:lnTo>
                    <a:pt x="13819" y="13819"/>
                  </a:lnTo>
                  <a:lnTo>
                    <a:pt x="13819" y="3455"/>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114" name="Freeform: Shape 1113">
              <a:extLst>
                <a:ext uri="{FF2B5EF4-FFF2-40B4-BE49-F238E27FC236}">
                  <a16:creationId xmlns:a16="http://schemas.microsoft.com/office/drawing/2014/main" id="{B16DFCDF-0E04-4BFB-840F-541875551EFA}"/>
                </a:ext>
              </a:extLst>
            </p:cNvPr>
            <p:cNvSpPr/>
            <p:nvPr/>
          </p:nvSpPr>
          <p:spPr>
            <a:xfrm>
              <a:off x="7233215" y="3796870"/>
              <a:ext cx="17273" cy="44912"/>
            </a:xfrm>
            <a:custGeom>
              <a:avLst/>
              <a:gdLst>
                <a:gd name="connsiteX0" fmla="*/ 0 w 17273"/>
                <a:gd name="connsiteY0" fmla="*/ 38003 h 44912"/>
                <a:gd name="connsiteX1" fmla="*/ 0 w 17273"/>
                <a:gd name="connsiteY1" fmla="*/ 17274 h 44912"/>
                <a:gd name="connsiteX2" fmla="*/ 6910 w 17273"/>
                <a:gd name="connsiteY2" fmla="*/ 0 h 44912"/>
                <a:gd name="connsiteX3" fmla="*/ 13819 w 17273"/>
                <a:gd name="connsiteY3" fmla="*/ 0 h 44912"/>
                <a:gd name="connsiteX4" fmla="*/ 17274 w 17273"/>
                <a:gd name="connsiteY4" fmla="*/ 13819 h 44912"/>
                <a:gd name="connsiteX5" fmla="*/ 17274 w 17273"/>
                <a:gd name="connsiteY5" fmla="*/ 24184 h 44912"/>
                <a:gd name="connsiteX6" fmla="*/ 13819 w 17273"/>
                <a:gd name="connsiteY6" fmla="*/ 38003 h 44912"/>
                <a:gd name="connsiteX7" fmla="*/ 6910 w 17273"/>
                <a:gd name="connsiteY7" fmla="*/ 44912 h 44912"/>
                <a:gd name="connsiteX8" fmla="*/ 0 w 17273"/>
                <a:gd name="connsiteY8" fmla="*/ 38003 h 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73" h="44912">
                  <a:moveTo>
                    <a:pt x="0" y="38003"/>
                  </a:moveTo>
                  <a:lnTo>
                    <a:pt x="0" y="17274"/>
                  </a:lnTo>
                  <a:lnTo>
                    <a:pt x="6910" y="0"/>
                  </a:lnTo>
                  <a:lnTo>
                    <a:pt x="13819" y="0"/>
                  </a:lnTo>
                  <a:lnTo>
                    <a:pt x="17274" y="13819"/>
                  </a:lnTo>
                  <a:lnTo>
                    <a:pt x="17274" y="24184"/>
                  </a:lnTo>
                  <a:lnTo>
                    <a:pt x="13819" y="38003"/>
                  </a:lnTo>
                  <a:lnTo>
                    <a:pt x="6910" y="44912"/>
                  </a:lnTo>
                  <a:lnTo>
                    <a:pt x="0" y="38003"/>
                  </a:lnTo>
                  <a:close/>
                </a:path>
              </a:pathLst>
            </a:custGeom>
            <a:solidFill>
              <a:srgbClr val="CEE3BF"/>
            </a:solidFill>
            <a:ln w="9334" cap="flat">
              <a:noFill/>
              <a:prstDash val="solid"/>
              <a:miter/>
            </a:ln>
          </p:spPr>
          <p:txBody>
            <a:bodyPr rtlCol="0" anchor="ctr"/>
            <a:lstStyle/>
            <a:p>
              <a:endParaRPr lang="en-GB" dirty="0"/>
            </a:p>
          </p:txBody>
        </p:sp>
        <p:sp>
          <p:nvSpPr>
            <p:cNvPr id="1115" name="Freeform: Shape 1114">
              <a:extLst>
                <a:ext uri="{FF2B5EF4-FFF2-40B4-BE49-F238E27FC236}">
                  <a16:creationId xmlns:a16="http://schemas.microsoft.com/office/drawing/2014/main" id="{CA7578DF-6FDC-4023-8C65-019EA94F4E83}"/>
                </a:ext>
              </a:extLst>
            </p:cNvPr>
            <p:cNvSpPr/>
            <p:nvPr/>
          </p:nvSpPr>
          <p:spPr>
            <a:xfrm>
              <a:off x="5177324" y="2362284"/>
              <a:ext cx="286468" cy="141740"/>
            </a:xfrm>
            <a:custGeom>
              <a:avLst/>
              <a:gdLst>
                <a:gd name="connsiteX0" fmla="*/ 24090 w 286468"/>
                <a:gd name="connsiteY0" fmla="*/ 48367 h 141740"/>
                <a:gd name="connsiteX1" fmla="*/ 0 w 286468"/>
                <a:gd name="connsiteY1" fmla="*/ 48367 h 141740"/>
                <a:gd name="connsiteX2" fmla="*/ 10365 w 286468"/>
                <a:gd name="connsiteY2" fmla="*/ 31093 h 141740"/>
                <a:gd name="connsiteX3" fmla="*/ 17274 w 286468"/>
                <a:gd name="connsiteY3" fmla="*/ 17274 h 141740"/>
                <a:gd name="connsiteX4" fmla="*/ 34455 w 286468"/>
                <a:gd name="connsiteY4" fmla="*/ 3455 h 141740"/>
                <a:gd name="connsiteX5" fmla="*/ 51729 w 286468"/>
                <a:gd name="connsiteY5" fmla="*/ 10364 h 141740"/>
                <a:gd name="connsiteX6" fmla="*/ 72458 w 286468"/>
                <a:gd name="connsiteY6" fmla="*/ 24184 h 141740"/>
                <a:gd name="connsiteX7" fmla="*/ 75912 w 286468"/>
                <a:gd name="connsiteY7" fmla="*/ 41458 h 141740"/>
                <a:gd name="connsiteX8" fmla="*/ 82822 w 286468"/>
                <a:gd name="connsiteY8" fmla="*/ 48367 h 141740"/>
                <a:gd name="connsiteX9" fmla="*/ 93187 w 286468"/>
                <a:gd name="connsiteY9" fmla="*/ 41458 h 141740"/>
                <a:gd name="connsiteX10" fmla="*/ 100096 w 286468"/>
                <a:gd name="connsiteY10" fmla="*/ 31093 h 141740"/>
                <a:gd name="connsiteX11" fmla="*/ 110461 w 286468"/>
                <a:gd name="connsiteY11" fmla="*/ 20729 h 141740"/>
                <a:gd name="connsiteX12" fmla="*/ 117370 w 286468"/>
                <a:gd name="connsiteY12" fmla="*/ 27638 h 141740"/>
                <a:gd name="connsiteX13" fmla="*/ 124280 w 286468"/>
                <a:gd name="connsiteY13" fmla="*/ 38003 h 141740"/>
                <a:gd name="connsiteX14" fmla="*/ 138099 w 286468"/>
                <a:gd name="connsiteY14" fmla="*/ 24184 h 141740"/>
                <a:gd name="connsiteX15" fmla="*/ 148370 w 286468"/>
                <a:gd name="connsiteY15" fmla="*/ 13819 h 141740"/>
                <a:gd name="connsiteX16" fmla="*/ 158734 w 286468"/>
                <a:gd name="connsiteY16" fmla="*/ 20729 h 141740"/>
                <a:gd name="connsiteX17" fmla="*/ 179463 w 286468"/>
                <a:gd name="connsiteY17" fmla="*/ 24184 h 141740"/>
                <a:gd name="connsiteX18" fmla="*/ 203647 w 286468"/>
                <a:gd name="connsiteY18" fmla="*/ 13819 h 141740"/>
                <a:gd name="connsiteX19" fmla="*/ 220921 w 286468"/>
                <a:gd name="connsiteY19" fmla="*/ 0 h 141740"/>
                <a:gd name="connsiteX20" fmla="*/ 241650 w 286468"/>
                <a:gd name="connsiteY20" fmla="*/ 20729 h 141740"/>
                <a:gd name="connsiteX21" fmla="*/ 258924 w 286468"/>
                <a:gd name="connsiteY21" fmla="*/ 27638 h 141740"/>
                <a:gd name="connsiteX22" fmla="*/ 272743 w 286468"/>
                <a:gd name="connsiteY22" fmla="*/ 41458 h 141740"/>
                <a:gd name="connsiteX23" fmla="*/ 286469 w 286468"/>
                <a:gd name="connsiteY23" fmla="*/ 58732 h 141740"/>
                <a:gd name="connsiteX24" fmla="*/ 286469 w 286468"/>
                <a:gd name="connsiteY24" fmla="*/ 72551 h 141740"/>
                <a:gd name="connsiteX25" fmla="*/ 269288 w 286468"/>
                <a:gd name="connsiteY25" fmla="*/ 86370 h 141740"/>
                <a:gd name="connsiteX26" fmla="*/ 241650 w 286468"/>
                <a:gd name="connsiteY26" fmla="*/ 103738 h 141740"/>
                <a:gd name="connsiteX27" fmla="*/ 207102 w 286468"/>
                <a:gd name="connsiteY27" fmla="*/ 117557 h 141740"/>
                <a:gd name="connsiteX28" fmla="*/ 176009 w 286468"/>
                <a:gd name="connsiteY28" fmla="*/ 127921 h 141740"/>
                <a:gd name="connsiteX29" fmla="*/ 151825 w 286468"/>
                <a:gd name="connsiteY29" fmla="*/ 141741 h 141740"/>
                <a:gd name="connsiteX30" fmla="*/ 127734 w 286468"/>
                <a:gd name="connsiteY30" fmla="*/ 141741 h 141740"/>
                <a:gd name="connsiteX31" fmla="*/ 100096 w 286468"/>
                <a:gd name="connsiteY31" fmla="*/ 131376 h 141740"/>
                <a:gd name="connsiteX32" fmla="*/ 82822 w 286468"/>
                <a:gd name="connsiteY32" fmla="*/ 121012 h 141740"/>
                <a:gd name="connsiteX33" fmla="*/ 31000 w 286468"/>
                <a:gd name="connsiteY33" fmla="*/ 121012 h 141740"/>
                <a:gd name="connsiteX34" fmla="*/ 55184 w 286468"/>
                <a:gd name="connsiteY34" fmla="*/ 107192 h 141740"/>
                <a:gd name="connsiteX35" fmla="*/ 58638 w 286468"/>
                <a:gd name="connsiteY35" fmla="*/ 89825 h 141740"/>
                <a:gd name="connsiteX36" fmla="*/ 44819 w 286468"/>
                <a:gd name="connsiteY36" fmla="*/ 82915 h 141740"/>
                <a:gd name="connsiteX37" fmla="*/ 24090 w 286468"/>
                <a:gd name="connsiteY37" fmla="*/ 79461 h 141740"/>
                <a:gd name="connsiteX38" fmla="*/ 3455 w 286468"/>
                <a:gd name="connsiteY38" fmla="*/ 76006 h 141740"/>
                <a:gd name="connsiteX39" fmla="*/ 31000 w 286468"/>
                <a:gd name="connsiteY39" fmla="*/ 65641 h 141740"/>
                <a:gd name="connsiteX40" fmla="*/ 51729 w 286468"/>
                <a:gd name="connsiteY40" fmla="*/ 55277 h 141740"/>
                <a:gd name="connsiteX41" fmla="*/ 41364 w 286468"/>
                <a:gd name="connsiteY41" fmla="*/ 48367 h 141740"/>
                <a:gd name="connsiteX42" fmla="*/ 24090 w 286468"/>
                <a:gd name="connsiteY42" fmla="*/ 48367 h 1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6468" h="141740">
                  <a:moveTo>
                    <a:pt x="24090" y="48367"/>
                  </a:moveTo>
                  <a:lnTo>
                    <a:pt x="0" y="48367"/>
                  </a:lnTo>
                  <a:lnTo>
                    <a:pt x="10365" y="31093"/>
                  </a:lnTo>
                  <a:lnTo>
                    <a:pt x="17274" y="17274"/>
                  </a:lnTo>
                  <a:lnTo>
                    <a:pt x="34455" y="3455"/>
                  </a:lnTo>
                  <a:lnTo>
                    <a:pt x="51729" y="10364"/>
                  </a:lnTo>
                  <a:lnTo>
                    <a:pt x="72458" y="24184"/>
                  </a:lnTo>
                  <a:lnTo>
                    <a:pt x="75912" y="41458"/>
                  </a:lnTo>
                  <a:lnTo>
                    <a:pt x="82822" y="48367"/>
                  </a:lnTo>
                  <a:lnTo>
                    <a:pt x="93187" y="41458"/>
                  </a:lnTo>
                  <a:lnTo>
                    <a:pt x="100096" y="31093"/>
                  </a:lnTo>
                  <a:lnTo>
                    <a:pt x="110461" y="20729"/>
                  </a:lnTo>
                  <a:lnTo>
                    <a:pt x="117370" y="27638"/>
                  </a:lnTo>
                  <a:lnTo>
                    <a:pt x="124280" y="38003"/>
                  </a:lnTo>
                  <a:lnTo>
                    <a:pt x="138099" y="24184"/>
                  </a:lnTo>
                  <a:lnTo>
                    <a:pt x="148370" y="13819"/>
                  </a:lnTo>
                  <a:lnTo>
                    <a:pt x="158734" y="20729"/>
                  </a:lnTo>
                  <a:lnTo>
                    <a:pt x="179463" y="24184"/>
                  </a:lnTo>
                  <a:lnTo>
                    <a:pt x="203647" y="13819"/>
                  </a:lnTo>
                  <a:lnTo>
                    <a:pt x="220921" y="0"/>
                  </a:lnTo>
                  <a:lnTo>
                    <a:pt x="241650" y="20729"/>
                  </a:lnTo>
                  <a:lnTo>
                    <a:pt x="258924" y="27638"/>
                  </a:lnTo>
                  <a:lnTo>
                    <a:pt x="272743" y="41458"/>
                  </a:lnTo>
                  <a:lnTo>
                    <a:pt x="286469" y="58732"/>
                  </a:lnTo>
                  <a:lnTo>
                    <a:pt x="286469" y="72551"/>
                  </a:lnTo>
                  <a:lnTo>
                    <a:pt x="269288" y="86370"/>
                  </a:lnTo>
                  <a:lnTo>
                    <a:pt x="241650" y="103738"/>
                  </a:lnTo>
                  <a:lnTo>
                    <a:pt x="207102" y="117557"/>
                  </a:lnTo>
                  <a:lnTo>
                    <a:pt x="176009" y="127921"/>
                  </a:lnTo>
                  <a:lnTo>
                    <a:pt x="151825" y="141741"/>
                  </a:lnTo>
                  <a:lnTo>
                    <a:pt x="127734" y="141741"/>
                  </a:lnTo>
                  <a:lnTo>
                    <a:pt x="100096" y="131376"/>
                  </a:lnTo>
                  <a:lnTo>
                    <a:pt x="82822" y="121012"/>
                  </a:lnTo>
                  <a:lnTo>
                    <a:pt x="31000" y="121012"/>
                  </a:lnTo>
                  <a:lnTo>
                    <a:pt x="55184" y="107192"/>
                  </a:lnTo>
                  <a:lnTo>
                    <a:pt x="58638" y="89825"/>
                  </a:lnTo>
                  <a:lnTo>
                    <a:pt x="44819" y="82915"/>
                  </a:lnTo>
                  <a:lnTo>
                    <a:pt x="24090" y="79461"/>
                  </a:lnTo>
                  <a:lnTo>
                    <a:pt x="3455" y="76006"/>
                  </a:lnTo>
                  <a:lnTo>
                    <a:pt x="31000" y="65641"/>
                  </a:lnTo>
                  <a:lnTo>
                    <a:pt x="51729" y="55277"/>
                  </a:lnTo>
                  <a:lnTo>
                    <a:pt x="41364" y="48367"/>
                  </a:lnTo>
                  <a:lnTo>
                    <a:pt x="24090" y="48367"/>
                  </a:lnTo>
                  <a:close/>
                </a:path>
              </a:pathLst>
            </a:custGeom>
            <a:solidFill>
              <a:srgbClr val="CEE3BF"/>
            </a:solidFill>
            <a:ln w="9334" cap="flat">
              <a:noFill/>
              <a:prstDash val="solid"/>
              <a:miter/>
            </a:ln>
          </p:spPr>
          <p:txBody>
            <a:bodyPr rtlCol="0" anchor="ctr"/>
            <a:lstStyle/>
            <a:p>
              <a:endParaRPr lang="en-GB" dirty="0"/>
            </a:p>
          </p:txBody>
        </p:sp>
        <p:sp>
          <p:nvSpPr>
            <p:cNvPr id="1116" name="Freeform: Shape 1115">
              <a:extLst>
                <a:ext uri="{FF2B5EF4-FFF2-40B4-BE49-F238E27FC236}">
                  <a16:creationId xmlns:a16="http://schemas.microsoft.com/office/drawing/2014/main" id="{474D2173-CBFD-468A-9420-1C0F243B036D}"/>
                </a:ext>
              </a:extLst>
            </p:cNvPr>
            <p:cNvSpPr/>
            <p:nvPr/>
          </p:nvSpPr>
          <p:spPr>
            <a:xfrm>
              <a:off x="3313035" y="4031890"/>
              <a:ext cx="100096" cy="110647"/>
            </a:xfrm>
            <a:custGeom>
              <a:avLst/>
              <a:gdLst>
                <a:gd name="connsiteX0" fmla="*/ 58638 w 100096"/>
                <a:gd name="connsiteY0" fmla="*/ 110647 h 110647"/>
                <a:gd name="connsiteX1" fmla="*/ 72458 w 100096"/>
                <a:gd name="connsiteY1" fmla="*/ 96828 h 110647"/>
                <a:gd name="connsiteX2" fmla="*/ 82822 w 100096"/>
                <a:gd name="connsiteY2" fmla="*/ 86464 h 110647"/>
                <a:gd name="connsiteX3" fmla="*/ 89732 w 100096"/>
                <a:gd name="connsiteY3" fmla="*/ 79554 h 110647"/>
                <a:gd name="connsiteX4" fmla="*/ 100096 w 100096"/>
                <a:gd name="connsiteY4" fmla="*/ 65735 h 110647"/>
                <a:gd name="connsiteX5" fmla="*/ 93186 w 100096"/>
                <a:gd name="connsiteY5" fmla="*/ 58825 h 110647"/>
                <a:gd name="connsiteX6" fmla="*/ 82822 w 100096"/>
                <a:gd name="connsiteY6" fmla="*/ 58825 h 110647"/>
                <a:gd name="connsiteX7" fmla="*/ 82822 w 100096"/>
                <a:gd name="connsiteY7" fmla="*/ 0 h 110647"/>
                <a:gd name="connsiteX8" fmla="*/ 31000 w 100096"/>
                <a:gd name="connsiteY8" fmla="*/ 3455 h 110647"/>
                <a:gd name="connsiteX9" fmla="*/ 27545 w 100096"/>
                <a:gd name="connsiteY9" fmla="*/ 10365 h 110647"/>
                <a:gd name="connsiteX10" fmla="*/ 31000 w 100096"/>
                <a:gd name="connsiteY10" fmla="*/ 24184 h 110647"/>
                <a:gd name="connsiteX11" fmla="*/ 44819 w 100096"/>
                <a:gd name="connsiteY11" fmla="*/ 34642 h 110647"/>
                <a:gd name="connsiteX12" fmla="*/ 51729 w 100096"/>
                <a:gd name="connsiteY12" fmla="*/ 45006 h 110647"/>
                <a:gd name="connsiteX13" fmla="*/ 44819 w 100096"/>
                <a:gd name="connsiteY13" fmla="*/ 48461 h 110647"/>
                <a:gd name="connsiteX14" fmla="*/ 24090 w 100096"/>
                <a:gd name="connsiteY14" fmla="*/ 51915 h 110647"/>
                <a:gd name="connsiteX15" fmla="*/ 17181 w 100096"/>
                <a:gd name="connsiteY15" fmla="*/ 48461 h 110647"/>
                <a:gd name="connsiteX16" fmla="*/ 6910 w 100096"/>
                <a:gd name="connsiteY16" fmla="*/ 62280 h 110647"/>
                <a:gd name="connsiteX17" fmla="*/ 3455 w 100096"/>
                <a:gd name="connsiteY17" fmla="*/ 72644 h 110647"/>
                <a:gd name="connsiteX18" fmla="*/ 0 w 100096"/>
                <a:gd name="connsiteY18" fmla="*/ 93373 h 110647"/>
                <a:gd name="connsiteX19" fmla="*/ 10271 w 100096"/>
                <a:gd name="connsiteY19" fmla="*/ 100283 h 110647"/>
                <a:gd name="connsiteX20" fmla="*/ 20635 w 100096"/>
                <a:gd name="connsiteY20" fmla="*/ 107193 h 110647"/>
                <a:gd name="connsiteX21" fmla="*/ 37909 w 100096"/>
                <a:gd name="connsiteY21" fmla="*/ 110647 h 110647"/>
                <a:gd name="connsiteX22" fmla="*/ 58638 w 100096"/>
                <a:gd name="connsiteY22" fmla="*/ 110647 h 11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096" h="110647">
                  <a:moveTo>
                    <a:pt x="58638" y="110647"/>
                  </a:moveTo>
                  <a:lnTo>
                    <a:pt x="72458" y="96828"/>
                  </a:lnTo>
                  <a:lnTo>
                    <a:pt x="82822" y="86464"/>
                  </a:lnTo>
                  <a:lnTo>
                    <a:pt x="89732" y="79554"/>
                  </a:lnTo>
                  <a:lnTo>
                    <a:pt x="100096" y="65735"/>
                  </a:lnTo>
                  <a:lnTo>
                    <a:pt x="93186" y="58825"/>
                  </a:lnTo>
                  <a:lnTo>
                    <a:pt x="82822" y="58825"/>
                  </a:lnTo>
                  <a:lnTo>
                    <a:pt x="82822" y="0"/>
                  </a:lnTo>
                  <a:lnTo>
                    <a:pt x="31000" y="3455"/>
                  </a:lnTo>
                  <a:lnTo>
                    <a:pt x="27545" y="10365"/>
                  </a:lnTo>
                  <a:lnTo>
                    <a:pt x="31000" y="24184"/>
                  </a:lnTo>
                  <a:lnTo>
                    <a:pt x="44819" y="34642"/>
                  </a:lnTo>
                  <a:lnTo>
                    <a:pt x="51729" y="45006"/>
                  </a:lnTo>
                  <a:lnTo>
                    <a:pt x="44819" y="48461"/>
                  </a:lnTo>
                  <a:lnTo>
                    <a:pt x="24090" y="51915"/>
                  </a:lnTo>
                  <a:lnTo>
                    <a:pt x="17181" y="48461"/>
                  </a:lnTo>
                  <a:lnTo>
                    <a:pt x="6910" y="62280"/>
                  </a:lnTo>
                  <a:lnTo>
                    <a:pt x="3455" y="72644"/>
                  </a:lnTo>
                  <a:lnTo>
                    <a:pt x="0" y="93373"/>
                  </a:lnTo>
                  <a:lnTo>
                    <a:pt x="10271" y="100283"/>
                  </a:lnTo>
                  <a:lnTo>
                    <a:pt x="20635" y="107193"/>
                  </a:lnTo>
                  <a:lnTo>
                    <a:pt x="37909" y="110647"/>
                  </a:lnTo>
                  <a:lnTo>
                    <a:pt x="58638" y="110647"/>
                  </a:lnTo>
                  <a:close/>
                </a:path>
              </a:pathLst>
            </a:custGeom>
            <a:solidFill>
              <a:srgbClr val="CEE3BF"/>
            </a:solidFill>
            <a:ln w="9334" cap="flat">
              <a:noFill/>
              <a:prstDash val="solid"/>
              <a:miter/>
            </a:ln>
          </p:spPr>
          <p:txBody>
            <a:bodyPr rtlCol="0" anchor="ctr"/>
            <a:lstStyle/>
            <a:p>
              <a:endParaRPr lang="en-GB" dirty="0"/>
            </a:p>
          </p:txBody>
        </p:sp>
        <p:sp>
          <p:nvSpPr>
            <p:cNvPr id="1117" name="Freeform: Shape 1116">
              <a:extLst>
                <a:ext uri="{FF2B5EF4-FFF2-40B4-BE49-F238E27FC236}">
                  <a16:creationId xmlns:a16="http://schemas.microsoft.com/office/drawing/2014/main" id="{7CFFE9A4-800D-4754-81DB-62C0D4C09372}"/>
                </a:ext>
              </a:extLst>
            </p:cNvPr>
            <p:cNvSpPr/>
            <p:nvPr/>
          </p:nvSpPr>
          <p:spPr>
            <a:xfrm>
              <a:off x="3313035" y="4031890"/>
              <a:ext cx="100096" cy="110647"/>
            </a:xfrm>
            <a:custGeom>
              <a:avLst/>
              <a:gdLst>
                <a:gd name="connsiteX0" fmla="*/ 58638 w 100096"/>
                <a:gd name="connsiteY0" fmla="*/ 110647 h 110647"/>
                <a:gd name="connsiteX1" fmla="*/ 72458 w 100096"/>
                <a:gd name="connsiteY1" fmla="*/ 96828 h 110647"/>
                <a:gd name="connsiteX2" fmla="*/ 82822 w 100096"/>
                <a:gd name="connsiteY2" fmla="*/ 86464 h 110647"/>
                <a:gd name="connsiteX3" fmla="*/ 89732 w 100096"/>
                <a:gd name="connsiteY3" fmla="*/ 79554 h 110647"/>
                <a:gd name="connsiteX4" fmla="*/ 100096 w 100096"/>
                <a:gd name="connsiteY4" fmla="*/ 65735 h 110647"/>
                <a:gd name="connsiteX5" fmla="*/ 93186 w 100096"/>
                <a:gd name="connsiteY5" fmla="*/ 58825 h 110647"/>
                <a:gd name="connsiteX6" fmla="*/ 82822 w 100096"/>
                <a:gd name="connsiteY6" fmla="*/ 58825 h 110647"/>
                <a:gd name="connsiteX7" fmla="*/ 82822 w 100096"/>
                <a:gd name="connsiteY7" fmla="*/ 0 h 110647"/>
                <a:gd name="connsiteX8" fmla="*/ 31000 w 100096"/>
                <a:gd name="connsiteY8" fmla="*/ 3455 h 110647"/>
                <a:gd name="connsiteX9" fmla="*/ 27545 w 100096"/>
                <a:gd name="connsiteY9" fmla="*/ 10365 h 110647"/>
                <a:gd name="connsiteX10" fmla="*/ 31000 w 100096"/>
                <a:gd name="connsiteY10" fmla="*/ 24184 h 110647"/>
                <a:gd name="connsiteX11" fmla="*/ 44819 w 100096"/>
                <a:gd name="connsiteY11" fmla="*/ 34642 h 110647"/>
                <a:gd name="connsiteX12" fmla="*/ 51729 w 100096"/>
                <a:gd name="connsiteY12" fmla="*/ 45006 h 110647"/>
                <a:gd name="connsiteX13" fmla="*/ 44819 w 100096"/>
                <a:gd name="connsiteY13" fmla="*/ 48461 h 110647"/>
                <a:gd name="connsiteX14" fmla="*/ 24090 w 100096"/>
                <a:gd name="connsiteY14" fmla="*/ 51915 h 110647"/>
                <a:gd name="connsiteX15" fmla="*/ 17181 w 100096"/>
                <a:gd name="connsiteY15" fmla="*/ 48461 h 110647"/>
                <a:gd name="connsiteX16" fmla="*/ 6910 w 100096"/>
                <a:gd name="connsiteY16" fmla="*/ 62280 h 110647"/>
                <a:gd name="connsiteX17" fmla="*/ 3455 w 100096"/>
                <a:gd name="connsiteY17" fmla="*/ 72644 h 110647"/>
                <a:gd name="connsiteX18" fmla="*/ 0 w 100096"/>
                <a:gd name="connsiteY18" fmla="*/ 93373 h 110647"/>
                <a:gd name="connsiteX19" fmla="*/ 10271 w 100096"/>
                <a:gd name="connsiteY19" fmla="*/ 100283 h 110647"/>
                <a:gd name="connsiteX20" fmla="*/ 20635 w 100096"/>
                <a:gd name="connsiteY20" fmla="*/ 107193 h 110647"/>
                <a:gd name="connsiteX21" fmla="*/ 37909 w 100096"/>
                <a:gd name="connsiteY21" fmla="*/ 110647 h 110647"/>
                <a:gd name="connsiteX22" fmla="*/ 58638 w 100096"/>
                <a:gd name="connsiteY22" fmla="*/ 110647 h 11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096" h="110647">
                  <a:moveTo>
                    <a:pt x="58638" y="110647"/>
                  </a:moveTo>
                  <a:lnTo>
                    <a:pt x="72458" y="96828"/>
                  </a:lnTo>
                  <a:lnTo>
                    <a:pt x="82822" y="86464"/>
                  </a:lnTo>
                  <a:lnTo>
                    <a:pt x="89732" y="79554"/>
                  </a:lnTo>
                  <a:lnTo>
                    <a:pt x="100096" y="65735"/>
                  </a:lnTo>
                  <a:lnTo>
                    <a:pt x="93186" y="58825"/>
                  </a:lnTo>
                  <a:lnTo>
                    <a:pt x="82822" y="58825"/>
                  </a:lnTo>
                  <a:lnTo>
                    <a:pt x="82822" y="0"/>
                  </a:lnTo>
                  <a:lnTo>
                    <a:pt x="31000" y="3455"/>
                  </a:lnTo>
                  <a:lnTo>
                    <a:pt x="27545" y="10365"/>
                  </a:lnTo>
                  <a:lnTo>
                    <a:pt x="31000" y="24184"/>
                  </a:lnTo>
                  <a:lnTo>
                    <a:pt x="44819" y="34642"/>
                  </a:lnTo>
                  <a:lnTo>
                    <a:pt x="51729" y="45006"/>
                  </a:lnTo>
                  <a:lnTo>
                    <a:pt x="44819" y="48461"/>
                  </a:lnTo>
                  <a:lnTo>
                    <a:pt x="24090" y="51915"/>
                  </a:lnTo>
                  <a:lnTo>
                    <a:pt x="17181" y="48461"/>
                  </a:lnTo>
                  <a:lnTo>
                    <a:pt x="6910" y="62280"/>
                  </a:lnTo>
                  <a:lnTo>
                    <a:pt x="3455" y="72644"/>
                  </a:lnTo>
                  <a:lnTo>
                    <a:pt x="0" y="93373"/>
                  </a:lnTo>
                  <a:lnTo>
                    <a:pt x="10271" y="100283"/>
                  </a:lnTo>
                  <a:lnTo>
                    <a:pt x="20635" y="107193"/>
                  </a:lnTo>
                  <a:lnTo>
                    <a:pt x="37909" y="110647"/>
                  </a:lnTo>
                  <a:lnTo>
                    <a:pt x="58638" y="110647"/>
                  </a:lnTo>
                  <a:close/>
                </a:path>
              </a:pathLst>
            </a:custGeom>
            <a:solidFill>
              <a:srgbClr val="CEE3BF"/>
            </a:solidFill>
            <a:ln w="9334" cap="flat">
              <a:noFill/>
              <a:prstDash val="solid"/>
              <a:miter/>
            </a:ln>
          </p:spPr>
          <p:txBody>
            <a:bodyPr rtlCol="0" anchor="ctr"/>
            <a:lstStyle/>
            <a:p>
              <a:endParaRPr lang="en-GB" dirty="0"/>
            </a:p>
          </p:txBody>
        </p:sp>
        <p:sp>
          <p:nvSpPr>
            <p:cNvPr id="1118" name="Freeform: Shape 1117">
              <a:extLst>
                <a:ext uri="{FF2B5EF4-FFF2-40B4-BE49-F238E27FC236}">
                  <a16:creationId xmlns:a16="http://schemas.microsoft.com/office/drawing/2014/main" id="{E1F54F77-1885-4D7C-8AC6-08D6DC8F0104}"/>
                </a:ext>
              </a:extLst>
            </p:cNvPr>
            <p:cNvSpPr/>
            <p:nvPr/>
          </p:nvSpPr>
          <p:spPr>
            <a:xfrm>
              <a:off x="3395857" y="4014616"/>
              <a:ext cx="20728" cy="76099"/>
            </a:xfrm>
            <a:custGeom>
              <a:avLst/>
              <a:gdLst>
                <a:gd name="connsiteX0" fmla="*/ 17274 w 20728"/>
                <a:gd name="connsiteY0" fmla="*/ 0 h 76099"/>
                <a:gd name="connsiteX1" fmla="*/ 20729 w 20728"/>
                <a:gd name="connsiteY1" fmla="*/ 10364 h 76099"/>
                <a:gd name="connsiteX2" fmla="*/ 17274 w 20728"/>
                <a:gd name="connsiteY2" fmla="*/ 20729 h 76099"/>
                <a:gd name="connsiteX3" fmla="*/ 17274 w 20728"/>
                <a:gd name="connsiteY3" fmla="*/ 45006 h 76099"/>
                <a:gd name="connsiteX4" fmla="*/ 17274 w 20728"/>
                <a:gd name="connsiteY4" fmla="*/ 58825 h 76099"/>
                <a:gd name="connsiteX5" fmla="*/ 10364 w 20728"/>
                <a:gd name="connsiteY5" fmla="*/ 65735 h 76099"/>
                <a:gd name="connsiteX6" fmla="*/ 0 w 20728"/>
                <a:gd name="connsiteY6" fmla="*/ 76099 h 76099"/>
                <a:gd name="connsiteX7" fmla="*/ 0 w 20728"/>
                <a:gd name="connsiteY7" fmla="*/ 17274 h 76099"/>
                <a:gd name="connsiteX8" fmla="*/ 10364 w 20728"/>
                <a:gd name="connsiteY8" fmla="*/ 6910 h 76099"/>
                <a:gd name="connsiteX9" fmla="*/ 17274 w 20728"/>
                <a:gd name="connsiteY9" fmla="*/ 0 h 7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28" h="76099">
                  <a:moveTo>
                    <a:pt x="17274" y="0"/>
                  </a:moveTo>
                  <a:lnTo>
                    <a:pt x="20729" y="10364"/>
                  </a:lnTo>
                  <a:lnTo>
                    <a:pt x="17274" y="20729"/>
                  </a:lnTo>
                  <a:lnTo>
                    <a:pt x="17274" y="45006"/>
                  </a:lnTo>
                  <a:lnTo>
                    <a:pt x="17274" y="58825"/>
                  </a:lnTo>
                  <a:lnTo>
                    <a:pt x="10364" y="65735"/>
                  </a:lnTo>
                  <a:lnTo>
                    <a:pt x="0" y="76099"/>
                  </a:lnTo>
                  <a:lnTo>
                    <a:pt x="0" y="17274"/>
                  </a:lnTo>
                  <a:lnTo>
                    <a:pt x="10364" y="6910"/>
                  </a:lnTo>
                  <a:lnTo>
                    <a:pt x="17274" y="0"/>
                  </a:lnTo>
                  <a:close/>
                </a:path>
              </a:pathLst>
            </a:custGeom>
            <a:solidFill>
              <a:srgbClr val="CEE3BF"/>
            </a:solidFill>
            <a:ln w="9334" cap="flat">
              <a:noFill/>
              <a:prstDash val="solid"/>
              <a:miter/>
            </a:ln>
          </p:spPr>
          <p:txBody>
            <a:bodyPr rtlCol="0" anchor="ctr"/>
            <a:lstStyle/>
            <a:p>
              <a:endParaRPr lang="en-GB" dirty="0"/>
            </a:p>
          </p:txBody>
        </p:sp>
        <p:sp>
          <p:nvSpPr>
            <p:cNvPr id="1119" name="Freeform: Shape 1118">
              <a:extLst>
                <a:ext uri="{FF2B5EF4-FFF2-40B4-BE49-F238E27FC236}">
                  <a16:creationId xmlns:a16="http://schemas.microsoft.com/office/drawing/2014/main" id="{F2763D89-745E-491C-9493-73BCA9435D05}"/>
                </a:ext>
              </a:extLst>
            </p:cNvPr>
            <p:cNvSpPr/>
            <p:nvPr/>
          </p:nvSpPr>
          <p:spPr>
            <a:xfrm>
              <a:off x="3395857" y="4014616"/>
              <a:ext cx="20728" cy="76099"/>
            </a:xfrm>
            <a:custGeom>
              <a:avLst/>
              <a:gdLst>
                <a:gd name="connsiteX0" fmla="*/ 17274 w 20728"/>
                <a:gd name="connsiteY0" fmla="*/ 0 h 76099"/>
                <a:gd name="connsiteX1" fmla="*/ 20729 w 20728"/>
                <a:gd name="connsiteY1" fmla="*/ 10364 h 76099"/>
                <a:gd name="connsiteX2" fmla="*/ 17274 w 20728"/>
                <a:gd name="connsiteY2" fmla="*/ 20729 h 76099"/>
                <a:gd name="connsiteX3" fmla="*/ 17274 w 20728"/>
                <a:gd name="connsiteY3" fmla="*/ 45006 h 76099"/>
                <a:gd name="connsiteX4" fmla="*/ 17274 w 20728"/>
                <a:gd name="connsiteY4" fmla="*/ 58825 h 76099"/>
                <a:gd name="connsiteX5" fmla="*/ 10364 w 20728"/>
                <a:gd name="connsiteY5" fmla="*/ 65735 h 76099"/>
                <a:gd name="connsiteX6" fmla="*/ 0 w 20728"/>
                <a:gd name="connsiteY6" fmla="*/ 76099 h 76099"/>
                <a:gd name="connsiteX7" fmla="*/ 0 w 20728"/>
                <a:gd name="connsiteY7" fmla="*/ 17274 h 76099"/>
                <a:gd name="connsiteX8" fmla="*/ 10364 w 20728"/>
                <a:gd name="connsiteY8" fmla="*/ 6910 h 76099"/>
                <a:gd name="connsiteX9" fmla="*/ 17274 w 20728"/>
                <a:gd name="connsiteY9" fmla="*/ 0 h 7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28" h="76099">
                  <a:moveTo>
                    <a:pt x="17274" y="0"/>
                  </a:moveTo>
                  <a:lnTo>
                    <a:pt x="20729" y="10364"/>
                  </a:lnTo>
                  <a:lnTo>
                    <a:pt x="17274" y="20729"/>
                  </a:lnTo>
                  <a:lnTo>
                    <a:pt x="17274" y="45006"/>
                  </a:lnTo>
                  <a:lnTo>
                    <a:pt x="17274" y="58825"/>
                  </a:lnTo>
                  <a:lnTo>
                    <a:pt x="10364" y="65735"/>
                  </a:lnTo>
                  <a:lnTo>
                    <a:pt x="0" y="76099"/>
                  </a:lnTo>
                  <a:lnTo>
                    <a:pt x="0" y="17274"/>
                  </a:lnTo>
                  <a:lnTo>
                    <a:pt x="10364" y="6910"/>
                  </a:lnTo>
                  <a:lnTo>
                    <a:pt x="17274" y="0"/>
                  </a:lnTo>
                  <a:close/>
                </a:path>
              </a:pathLst>
            </a:custGeom>
            <a:solidFill>
              <a:srgbClr val="CEE3BF"/>
            </a:solidFill>
            <a:ln w="9334" cap="flat">
              <a:noFill/>
              <a:prstDash val="solid"/>
              <a:miter/>
            </a:ln>
          </p:spPr>
          <p:txBody>
            <a:bodyPr rtlCol="0" anchor="ctr"/>
            <a:lstStyle/>
            <a:p>
              <a:endParaRPr lang="en-GB" dirty="0"/>
            </a:p>
          </p:txBody>
        </p:sp>
        <p:sp>
          <p:nvSpPr>
            <p:cNvPr id="1120" name="Freeform: Shape 1119">
              <a:extLst>
                <a:ext uri="{FF2B5EF4-FFF2-40B4-BE49-F238E27FC236}">
                  <a16:creationId xmlns:a16="http://schemas.microsoft.com/office/drawing/2014/main" id="{6B048EBC-B737-43E7-B2FA-6E025CDF92F1}"/>
                </a:ext>
              </a:extLst>
            </p:cNvPr>
            <p:cNvSpPr/>
            <p:nvPr/>
          </p:nvSpPr>
          <p:spPr>
            <a:xfrm>
              <a:off x="3371673" y="4125263"/>
              <a:ext cx="58731" cy="38002"/>
            </a:xfrm>
            <a:custGeom>
              <a:avLst/>
              <a:gdLst>
                <a:gd name="connsiteX0" fmla="*/ 0 w 58731"/>
                <a:gd name="connsiteY0" fmla="*/ 17274 h 38002"/>
                <a:gd name="connsiteX1" fmla="*/ 20729 w 58731"/>
                <a:gd name="connsiteY1" fmla="*/ 0 h 38002"/>
                <a:gd name="connsiteX2" fmla="*/ 31093 w 58731"/>
                <a:gd name="connsiteY2" fmla="*/ 6910 h 38002"/>
                <a:gd name="connsiteX3" fmla="*/ 41458 w 58731"/>
                <a:gd name="connsiteY3" fmla="*/ 13819 h 38002"/>
                <a:gd name="connsiteX4" fmla="*/ 55277 w 58731"/>
                <a:gd name="connsiteY4" fmla="*/ 17274 h 38002"/>
                <a:gd name="connsiteX5" fmla="*/ 58732 w 58731"/>
                <a:gd name="connsiteY5" fmla="*/ 24184 h 38002"/>
                <a:gd name="connsiteX6" fmla="*/ 51822 w 58731"/>
                <a:gd name="connsiteY6" fmla="*/ 34548 h 38002"/>
                <a:gd name="connsiteX7" fmla="*/ 44912 w 58731"/>
                <a:gd name="connsiteY7" fmla="*/ 38003 h 38002"/>
                <a:gd name="connsiteX8" fmla="*/ 27638 w 58731"/>
                <a:gd name="connsiteY8" fmla="*/ 31093 h 38002"/>
                <a:gd name="connsiteX9" fmla="*/ 13819 w 58731"/>
                <a:gd name="connsiteY9" fmla="*/ 24184 h 38002"/>
                <a:gd name="connsiteX10" fmla="*/ 0 w 58731"/>
                <a:gd name="connsiteY10" fmla="*/ 17274 h 3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731" h="38002">
                  <a:moveTo>
                    <a:pt x="0" y="17274"/>
                  </a:moveTo>
                  <a:lnTo>
                    <a:pt x="20729" y="0"/>
                  </a:lnTo>
                  <a:lnTo>
                    <a:pt x="31093" y="6910"/>
                  </a:lnTo>
                  <a:lnTo>
                    <a:pt x="41458" y="13819"/>
                  </a:lnTo>
                  <a:lnTo>
                    <a:pt x="55277" y="17274"/>
                  </a:lnTo>
                  <a:lnTo>
                    <a:pt x="58732" y="24184"/>
                  </a:lnTo>
                  <a:lnTo>
                    <a:pt x="51822" y="34548"/>
                  </a:lnTo>
                  <a:lnTo>
                    <a:pt x="44912" y="38003"/>
                  </a:lnTo>
                  <a:lnTo>
                    <a:pt x="27638" y="31093"/>
                  </a:lnTo>
                  <a:lnTo>
                    <a:pt x="13819" y="24184"/>
                  </a:lnTo>
                  <a:lnTo>
                    <a:pt x="0" y="17274"/>
                  </a:lnTo>
                  <a:close/>
                </a:path>
              </a:pathLst>
            </a:custGeom>
            <a:solidFill>
              <a:srgbClr val="CEE3BF"/>
            </a:solidFill>
            <a:ln w="9334" cap="flat">
              <a:noFill/>
              <a:prstDash val="solid"/>
              <a:miter/>
            </a:ln>
          </p:spPr>
          <p:txBody>
            <a:bodyPr rtlCol="0" anchor="ctr"/>
            <a:lstStyle/>
            <a:p>
              <a:endParaRPr lang="en-GB" dirty="0"/>
            </a:p>
          </p:txBody>
        </p:sp>
        <p:sp>
          <p:nvSpPr>
            <p:cNvPr id="1121" name="Freeform: Shape 1120">
              <a:extLst>
                <a:ext uri="{FF2B5EF4-FFF2-40B4-BE49-F238E27FC236}">
                  <a16:creationId xmlns:a16="http://schemas.microsoft.com/office/drawing/2014/main" id="{403E54E8-3634-4FC0-B866-8B5756A49AD3}"/>
                </a:ext>
              </a:extLst>
            </p:cNvPr>
            <p:cNvSpPr/>
            <p:nvPr/>
          </p:nvSpPr>
          <p:spPr>
            <a:xfrm>
              <a:off x="3371673" y="4125263"/>
              <a:ext cx="58731" cy="38002"/>
            </a:xfrm>
            <a:custGeom>
              <a:avLst/>
              <a:gdLst>
                <a:gd name="connsiteX0" fmla="*/ 0 w 58731"/>
                <a:gd name="connsiteY0" fmla="*/ 17274 h 38002"/>
                <a:gd name="connsiteX1" fmla="*/ 20729 w 58731"/>
                <a:gd name="connsiteY1" fmla="*/ 0 h 38002"/>
                <a:gd name="connsiteX2" fmla="*/ 31093 w 58731"/>
                <a:gd name="connsiteY2" fmla="*/ 6910 h 38002"/>
                <a:gd name="connsiteX3" fmla="*/ 41458 w 58731"/>
                <a:gd name="connsiteY3" fmla="*/ 13819 h 38002"/>
                <a:gd name="connsiteX4" fmla="*/ 55277 w 58731"/>
                <a:gd name="connsiteY4" fmla="*/ 17274 h 38002"/>
                <a:gd name="connsiteX5" fmla="*/ 58732 w 58731"/>
                <a:gd name="connsiteY5" fmla="*/ 24184 h 38002"/>
                <a:gd name="connsiteX6" fmla="*/ 51822 w 58731"/>
                <a:gd name="connsiteY6" fmla="*/ 34548 h 38002"/>
                <a:gd name="connsiteX7" fmla="*/ 44912 w 58731"/>
                <a:gd name="connsiteY7" fmla="*/ 38003 h 38002"/>
                <a:gd name="connsiteX8" fmla="*/ 27638 w 58731"/>
                <a:gd name="connsiteY8" fmla="*/ 31093 h 38002"/>
                <a:gd name="connsiteX9" fmla="*/ 13819 w 58731"/>
                <a:gd name="connsiteY9" fmla="*/ 24184 h 38002"/>
                <a:gd name="connsiteX10" fmla="*/ 0 w 58731"/>
                <a:gd name="connsiteY10" fmla="*/ 17274 h 3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731" h="38002">
                  <a:moveTo>
                    <a:pt x="0" y="17274"/>
                  </a:moveTo>
                  <a:lnTo>
                    <a:pt x="20729" y="0"/>
                  </a:lnTo>
                  <a:lnTo>
                    <a:pt x="31093" y="6910"/>
                  </a:lnTo>
                  <a:lnTo>
                    <a:pt x="41458" y="13819"/>
                  </a:lnTo>
                  <a:lnTo>
                    <a:pt x="55277" y="17274"/>
                  </a:lnTo>
                  <a:lnTo>
                    <a:pt x="58732" y="24184"/>
                  </a:lnTo>
                  <a:lnTo>
                    <a:pt x="51822" y="34548"/>
                  </a:lnTo>
                  <a:lnTo>
                    <a:pt x="44912" y="38003"/>
                  </a:lnTo>
                  <a:lnTo>
                    <a:pt x="27638" y="31093"/>
                  </a:lnTo>
                  <a:lnTo>
                    <a:pt x="13819" y="24184"/>
                  </a:lnTo>
                  <a:lnTo>
                    <a:pt x="0" y="17274"/>
                  </a:lnTo>
                  <a:close/>
                </a:path>
              </a:pathLst>
            </a:custGeom>
            <a:solidFill>
              <a:srgbClr val="CEE3BF"/>
            </a:solidFill>
            <a:ln w="9334" cap="flat">
              <a:noFill/>
              <a:prstDash val="solid"/>
              <a:miter/>
            </a:ln>
          </p:spPr>
          <p:txBody>
            <a:bodyPr rtlCol="0" anchor="ctr"/>
            <a:lstStyle/>
            <a:p>
              <a:endParaRPr lang="en-GB" dirty="0"/>
            </a:p>
          </p:txBody>
        </p:sp>
        <p:sp>
          <p:nvSpPr>
            <p:cNvPr id="1122" name="Freeform: Shape 1121">
              <a:extLst>
                <a:ext uri="{FF2B5EF4-FFF2-40B4-BE49-F238E27FC236}">
                  <a16:creationId xmlns:a16="http://schemas.microsoft.com/office/drawing/2014/main" id="{BE5A3A40-1A6F-4FB7-BCBE-57BF75D6589E}"/>
                </a:ext>
              </a:extLst>
            </p:cNvPr>
            <p:cNvSpPr/>
            <p:nvPr/>
          </p:nvSpPr>
          <p:spPr>
            <a:xfrm>
              <a:off x="3392402" y="4087260"/>
              <a:ext cx="165737" cy="82915"/>
            </a:xfrm>
            <a:custGeom>
              <a:avLst/>
              <a:gdLst>
                <a:gd name="connsiteX0" fmla="*/ 20729 w 165737"/>
                <a:gd name="connsiteY0" fmla="*/ 10364 h 82915"/>
                <a:gd name="connsiteX1" fmla="*/ 44912 w 165737"/>
                <a:gd name="connsiteY1" fmla="*/ 3455 h 82915"/>
                <a:gd name="connsiteX2" fmla="*/ 58732 w 165737"/>
                <a:gd name="connsiteY2" fmla="*/ 3455 h 82915"/>
                <a:gd name="connsiteX3" fmla="*/ 72458 w 165737"/>
                <a:gd name="connsiteY3" fmla="*/ 6910 h 82915"/>
                <a:gd name="connsiteX4" fmla="*/ 89732 w 165737"/>
                <a:gd name="connsiteY4" fmla="*/ 3455 h 82915"/>
                <a:gd name="connsiteX5" fmla="*/ 110461 w 165737"/>
                <a:gd name="connsiteY5" fmla="*/ 0 h 82915"/>
                <a:gd name="connsiteX6" fmla="*/ 127734 w 165737"/>
                <a:gd name="connsiteY6" fmla="*/ 0 h 82915"/>
                <a:gd name="connsiteX7" fmla="*/ 138099 w 165737"/>
                <a:gd name="connsiteY7" fmla="*/ 0 h 82915"/>
                <a:gd name="connsiteX8" fmla="*/ 145009 w 165737"/>
                <a:gd name="connsiteY8" fmla="*/ 6910 h 82915"/>
                <a:gd name="connsiteX9" fmla="*/ 165737 w 165737"/>
                <a:gd name="connsiteY9" fmla="*/ 20729 h 82915"/>
                <a:gd name="connsiteX10" fmla="*/ 162283 w 165737"/>
                <a:gd name="connsiteY10" fmla="*/ 27638 h 82915"/>
                <a:gd name="connsiteX11" fmla="*/ 151918 w 165737"/>
                <a:gd name="connsiteY11" fmla="*/ 31093 h 82915"/>
                <a:gd name="connsiteX12" fmla="*/ 138099 w 165737"/>
                <a:gd name="connsiteY12" fmla="*/ 31093 h 82915"/>
                <a:gd name="connsiteX13" fmla="*/ 120825 w 165737"/>
                <a:gd name="connsiteY13" fmla="*/ 31093 h 82915"/>
                <a:gd name="connsiteX14" fmla="*/ 110461 w 165737"/>
                <a:gd name="connsiteY14" fmla="*/ 38003 h 82915"/>
                <a:gd name="connsiteX15" fmla="*/ 96641 w 165737"/>
                <a:gd name="connsiteY15" fmla="*/ 51822 h 82915"/>
                <a:gd name="connsiteX16" fmla="*/ 82822 w 165737"/>
                <a:gd name="connsiteY16" fmla="*/ 55277 h 82915"/>
                <a:gd name="connsiteX17" fmla="*/ 72458 w 165737"/>
                <a:gd name="connsiteY17" fmla="*/ 58732 h 82915"/>
                <a:gd name="connsiteX18" fmla="*/ 69003 w 165737"/>
                <a:gd name="connsiteY18" fmla="*/ 72551 h 82915"/>
                <a:gd name="connsiteX19" fmla="*/ 62186 w 165737"/>
                <a:gd name="connsiteY19" fmla="*/ 79460 h 82915"/>
                <a:gd name="connsiteX20" fmla="*/ 51822 w 165737"/>
                <a:gd name="connsiteY20" fmla="*/ 82915 h 82915"/>
                <a:gd name="connsiteX21" fmla="*/ 51822 w 165737"/>
                <a:gd name="connsiteY21" fmla="*/ 72551 h 82915"/>
                <a:gd name="connsiteX22" fmla="*/ 48367 w 165737"/>
                <a:gd name="connsiteY22" fmla="*/ 62186 h 82915"/>
                <a:gd name="connsiteX23" fmla="*/ 38003 w 165737"/>
                <a:gd name="connsiteY23" fmla="*/ 62186 h 82915"/>
                <a:gd name="connsiteX24" fmla="*/ 34548 w 165737"/>
                <a:gd name="connsiteY24" fmla="*/ 55277 h 82915"/>
                <a:gd name="connsiteX25" fmla="*/ 10364 w 165737"/>
                <a:gd name="connsiteY25" fmla="*/ 44912 h 82915"/>
                <a:gd name="connsiteX26" fmla="*/ 0 w 165737"/>
                <a:gd name="connsiteY26" fmla="*/ 38003 h 82915"/>
                <a:gd name="connsiteX27" fmla="*/ 20729 w 165737"/>
                <a:gd name="connsiteY27" fmla="*/ 10364 h 8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5737" h="82915">
                  <a:moveTo>
                    <a:pt x="20729" y="10364"/>
                  </a:moveTo>
                  <a:lnTo>
                    <a:pt x="44912" y="3455"/>
                  </a:lnTo>
                  <a:lnTo>
                    <a:pt x="58732" y="3455"/>
                  </a:lnTo>
                  <a:lnTo>
                    <a:pt x="72458" y="6910"/>
                  </a:lnTo>
                  <a:lnTo>
                    <a:pt x="89732" y="3455"/>
                  </a:lnTo>
                  <a:lnTo>
                    <a:pt x="110461" y="0"/>
                  </a:lnTo>
                  <a:lnTo>
                    <a:pt x="127734" y="0"/>
                  </a:lnTo>
                  <a:lnTo>
                    <a:pt x="138099" y="0"/>
                  </a:lnTo>
                  <a:lnTo>
                    <a:pt x="145009" y="6910"/>
                  </a:lnTo>
                  <a:lnTo>
                    <a:pt x="165737" y="20729"/>
                  </a:lnTo>
                  <a:lnTo>
                    <a:pt x="162283" y="27638"/>
                  </a:lnTo>
                  <a:lnTo>
                    <a:pt x="151918" y="31093"/>
                  </a:lnTo>
                  <a:lnTo>
                    <a:pt x="138099" y="31093"/>
                  </a:lnTo>
                  <a:lnTo>
                    <a:pt x="120825" y="31093"/>
                  </a:lnTo>
                  <a:lnTo>
                    <a:pt x="110461" y="38003"/>
                  </a:lnTo>
                  <a:lnTo>
                    <a:pt x="96641" y="51822"/>
                  </a:lnTo>
                  <a:lnTo>
                    <a:pt x="82822" y="55277"/>
                  </a:lnTo>
                  <a:lnTo>
                    <a:pt x="72458" y="58732"/>
                  </a:lnTo>
                  <a:lnTo>
                    <a:pt x="69003" y="72551"/>
                  </a:lnTo>
                  <a:lnTo>
                    <a:pt x="62186" y="79460"/>
                  </a:lnTo>
                  <a:lnTo>
                    <a:pt x="51822" y="82915"/>
                  </a:lnTo>
                  <a:lnTo>
                    <a:pt x="51822" y="72551"/>
                  </a:lnTo>
                  <a:lnTo>
                    <a:pt x="48367" y="62186"/>
                  </a:lnTo>
                  <a:lnTo>
                    <a:pt x="38003" y="62186"/>
                  </a:lnTo>
                  <a:lnTo>
                    <a:pt x="34548" y="55277"/>
                  </a:lnTo>
                  <a:lnTo>
                    <a:pt x="10364" y="44912"/>
                  </a:lnTo>
                  <a:lnTo>
                    <a:pt x="0" y="38003"/>
                  </a:lnTo>
                  <a:lnTo>
                    <a:pt x="20729" y="10364"/>
                  </a:lnTo>
                  <a:close/>
                </a:path>
              </a:pathLst>
            </a:custGeom>
            <a:solidFill>
              <a:srgbClr val="CEE3BF"/>
            </a:solidFill>
            <a:ln w="9334" cap="flat">
              <a:noFill/>
              <a:prstDash val="solid"/>
              <a:miter/>
            </a:ln>
          </p:spPr>
          <p:txBody>
            <a:bodyPr rtlCol="0" anchor="ctr"/>
            <a:lstStyle/>
            <a:p>
              <a:endParaRPr lang="en-GB" dirty="0"/>
            </a:p>
          </p:txBody>
        </p:sp>
        <p:sp>
          <p:nvSpPr>
            <p:cNvPr id="1123" name="Freeform: Shape 1122">
              <a:extLst>
                <a:ext uri="{FF2B5EF4-FFF2-40B4-BE49-F238E27FC236}">
                  <a16:creationId xmlns:a16="http://schemas.microsoft.com/office/drawing/2014/main" id="{81C2A63B-372F-4401-9276-76CF1459C99D}"/>
                </a:ext>
              </a:extLst>
            </p:cNvPr>
            <p:cNvSpPr/>
            <p:nvPr/>
          </p:nvSpPr>
          <p:spPr>
            <a:xfrm>
              <a:off x="3392402" y="4087260"/>
              <a:ext cx="165737" cy="82915"/>
            </a:xfrm>
            <a:custGeom>
              <a:avLst/>
              <a:gdLst>
                <a:gd name="connsiteX0" fmla="*/ 20729 w 165737"/>
                <a:gd name="connsiteY0" fmla="*/ 10364 h 82915"/>
                <a:gd name="connsiteX1" fmla="*/ 44912 w 165737"/>
                <a:gd name="connsiteY1" fmla="*/ 3455 h 82915"/>
                <a:gd name="connsiteX2" fmla="*/ 58732 w 165737"/>
                <a:gd name="connsiteY2" fmla="*/ 3455 h 82915"/>
                <a:gd name="connsiteX3" fmla="*/ 72458 w 165737"/>
                <a:gd name="connsiteY3" fmla="*/ 6910 h 82915"/>
                <a:gd name="connsiteX4" fmla="*/ 89732 w 165737"/>
                <a:gd name="connsiteY4" fmla="*/ 3455 h 82915"/>
                <a:gd name="connsiteX5" fmla="*/ 110461 w 165737"/>
                <a:gd name="connsiteY5" fmla="*/ 0 h 82915"/>
                <a:gd name="connsiteX6" fmla="*/ 127734 w 165737"/>
                <a:gd name="connsiteY6" fmla="*/ 0 h 82915"/>
                <a:gd name="connsiteX7" fmla="*/ 138099 w 165737"/>
                <a:gd name="connsiteY7" fmla="*/ 0 h 82915"/>
                <a:gd name="connsiteX8" fmla="*/ 145009 w 165737"/>
                <a:gd name="connsiteY8" fmla="*/ 6910 h 82915"/>
                <a:gd name="connsiteX9" fmla="*/ 165737 w 165737"/>
                <a:gd name="connsiteY9" fmla="*/ 20729 h 82915"/>
                <a:gd name="connsiteX10" fmla="*/ 162283 w 165737"/>
                <a:gd name="connsiteY10" fmla="*/ 27638 h 82915"/>
                <a:gd name="connsiteX11" fmla="*/ 151918 w 165737"/>
                <a:gd name="connsiteY11" fmla="*/ 31093 h 82915"/>
                <a:gd name="connsiteX12" fmla="*/ 138099 w 165737"/>
                <a:gd name="connsiteY12" fmla="*/ 31093 h 82915"/>
                <a:gd name="connsiteX13" fmla="*/ 120825 w 165737"/>
                <a:gd name="connsiteY13" fmla="*/ 31093 h 82915"/>
                <a:gd name="connsiteX14" fmla="*/ 110461 w 165737"/>
                <a:gd name="connsiteY14" fmla="*/ 38003 h 82915"/>
                <a:gd name="connsiteX15" fmla="*/ 96641 w 165737"/>
                <a:gd name="connsiteY15" fmla="*/ 51822 h 82915"/>
                <a:gd name="connsiteX16" fmla="*/ 82822 w 165737"/>
                <a:gd name="connsiteY16" fmla="*/ 55277 h 82915"/>
                <a:gd name="connsiteX17" fmla="*/ 72458 w 165737"/>
                <a:gd name="connsiteY17" fmla="*/ 58732 h 82915"/>
                <a:gd name="connsiteX18" fmla="*/ 69003 w 165737"/>
                <a:gd name="connsiteY18" fmla="*/ 72551 h 82915"/>
                <a:gd name="connsiteX19" fmla="*/ 62186 w 165737"/>
                <a:gd name="connsiteY19" fmla="*/ 79460 h 82915"/>
                <a:gd name="connsiteX20" fmla="*/ 51822 w 165737"/>
                <a:gd name="connsiteY20" fmla="*/ 82915 h 82915"/>
                <a:gd name="connsiteX21" fmla="*/ 51822 w 165737"/>
                <a:gd name="connsiteY21" fmla="*/ 72551 h 82915"/>
                <a:gd name="connsiteX22" fmla="*/ 48367 w 165737"/>
                <a:gd name="connsiteY22" fmla="*/ 62186 h 82915"/>
                <a:gd name="connsiteX23" fmla="*/ 38003 w 165737"/>
                <a:gd name="connsiteY23" fmla="*/ 62186 h 82915"/>
                <a:gd name="connsiteX24" fmla="*/ 34548 w 165737"/>
                <a:gd name="connsiteY24" fmla="*/ 55277 h 82915"/>
                <a:gd name="connsiteX25" fmla="*/ 10364 w 165737"/>
                <a:gd name="connsiteY25" fmla="*/ 44912 h 82915"/>
                <a:gd name="connsiteX26" fmla="*/ 0 w 165737"/>
                <a:gd name="connsiteY26" fmla="*/ 38003 h 82915"/>
                <a:gd name="connsiteX27" fmla="*/ 20729 w 165737"/>
                <a:gd name="connsiteY27" fmla="*/ 10364 h 8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5737" h="82915">
                  <a:moveTo>
                    <a:pt x="20729" y="10364"/>
                  </a:moveTo>
                  <a:lnTo>
                    <a:pt x="44912" y="3455"/>
                  </a:lnTo>
                  <a:lnTo>
                    <a:pt x="58732" y="3455"/>
                  </a:lnTo>
                  <a:lnTo>
                    <a:pt x="72458" y="6910"/>
                  </a:lnTo>
                  <a:lnTo>
                    <a:pt x="89732" y="3455"/>
                  </a:lnTo>
                  <a:lnTo>
                    <a:pt x="110461" y="0"/>
                  </a:lnTo>
                  <a:lnTo>
                    <a:pt x="127734" y="0"/>
                  </a:lnTo>
                  <a:lnTo>
                    <a:pt x="138099" y="0"/>
                  </a:lnTo>
                  <a:lnTo>
                    <a:pt x="145009" y="6910"/>
                  </a:lnTo>
                  <a:lnTo>
                    <a:pt x="165737" y="20729"/>
                  </a:lnTo>
                  <a:lnTo>
                    <a:pt x="162283" y="27638"/>
                  </a:lnTo>
                  <a:lnTo>
                    <a:pt x="151918" y="31093"/>
                  </a:lnTo>
                  <a:lnTo>
                    <a:pt x="138099" y="31093"/>
                  </a:lnTo>
                  <a:lnTo>
                    <a:pt x="120825" y="31093"/>
                  </a:lnTo>
                  <a:lnTo>
                    <a:pt x="110461" y="38003"/>
                  </a:lnTo>
                  <a:lnTo>
                    <a:pt x="96641" y="51822"/>
                  </a:lnTo>
                  <a:lnTo>
                    <a:pt x="82822" y="55277"/>
                  </a:lnTo>
                  <a:lnTo>
                    <a:pt x="72458" y="58732"/>
                  </a:lnTo>
                  <a:lnTo>
                    <a:pt x="69003" y="72551"/>
                  </a:lnTo>
                  <a:lnTo>
                    <a:pt x="62186" y="79460"/>
                  </a:lnTo>
                  <a:lnTo>
                    <a:pt x="51822" y="82915"/>
                  </a:lnTo>
                  <a:lnTo>
                    <a:pt x="51822" y="72551"/>
                  </a:lnTo>
                  <a:lnTo>
                    <a:pt x="48367" y="62186"/>
                  </a:lnTo>
                  <a:lnTo>
                    <a:pt x="38003" y="62186"/>
                  </a:lnTo>
                  <a:lnTo>
                    <a:pt x="34548" y="55277"/>
                  </a:lnTo>
                  <a:lnTo>
                    <a:pt x="10364" y="44912"/>
                  </a:lnTo>
                  <a:lnTo>
                    <a:pt x="0" y="38003"/>
                  </a:lnTo>
                  <a:lnTo>
                    <a:pt x="20729" y="10364"/>
                  </a:lnTo>
                  <a:close/>
                </a:path>
              </a:pathLst>
            </a:custGeom>
            <a:solidFill>
              <a:srgbClr val="CEE3BF"/>
            </a:solidFill>
            <a:ln w="9334" cap="flat">
              <a:noFill/>
              <a:prstDash val="solid"/>
              <a:miter/>
            </a:ln>
          </p:spPr>
          <p:txBody>
            <a:bodyPr rtlCol="0" anchor="ctr"/>
            <a:lstStyle/>
            <a:p>
              <a:endParaRPr lang="en-GB" dirty="0"/>
            </a:p>
          </p:txBody>
        </p:sp>
        <p:sp>
          <p:nvSpPr>
            <p:cNvPr id="1124" name="Freeform: Shape 1123">
              <a:extLst>
                <a:ext uri="{FF2B5EF4-FFF2-40B4-BE49-F238E27FC236}">
                  <a16:creationId xmlns:a16="http://schemas.microsoft.com/office/drawing/2014/main" id="{9E28423D-6350-45D2-9040-F91F26ACB608}"/>
                </a:ext>
              </a:extLst>
            </p:cNvPr>
            <p:cNvSpPr/>
            <p:nvPr/>
          </p:nvSpPr>
          <p:spPr>
            <a:xfrm>
              <a:off x="3444224" y="4114899"/>
              <a:ext cx="110460" cy="114008"/>
            </a:xfrm>
            <a:custGeom>
              <a:avLst/>
              <a:gdLst>
                <a:gd name="connsiteX0" fmla="*/ 93187 w 110460"/>
                <a:gd name="connsiteY0" fmla="*/ 114009 h 114008"/>
                <a:gd name="connsiteX1" fmla="*/ 75912 w 110460"/>
                <a:gd name="connsiteY1" fmla="*/ 107099 h 114008"/>
                <a:gd name="connsiteX2" fmla="*/ 44819 w 110460"/>
                <a:gd name="connsiteY2" fmla="*/ 103644 h 114008"/>
                <a:gd name="connsiteX3" fmla="*/ 24090 w 110460"/>
                <a:gd name="connsiteY3" fmla="*/ 86370 h 114008"/>
                <a:gd name="connsiteX4" fmla="*/ 10364 w 110460"/>
                <a:gd name="connsiteY4" fmla="*/ 72551 h 114008"/>
                <a:gd name="connsiteX5" fmla="*/ 0 w 110460"/>
                <a:gd name="connsiteY5" fmla="*/ 55277 h 114008"/>
                <a:gd name="connsiteX6" fmla="*/ 17181 w 110460"/>
                <a:gd name="connsiteY6" fmla="*/ 44912 h 114008"/>
                <a:gd name="connsiteX7" fmla="*/ 20636 w 110460"/>
                <a:gd name="connsiteY7" fmla="*/ 31093 h 114008"/>
                <a:gd name="connsiteX8" fmla="*/ 44819 w 110460"/>
                <a:gd name="connsiteY8" fmla="*/ 24184 h 114008"/>
                <a:gd name="connsiteX9" fmla="*/ 58639 w 110460"/>
                <a:gd name="connsiteY9" fmla="*/ 10364 h 114008"/>
                <a:gd name="connsiteX10" fmla="*/ 69003 w 110460"/>
                <a:gd name="connsiteY10" fmla="*/ 3455 h 114008"/>
                <a:gd name="connsiteX11" fmla="*/ 86277 w 110460"/>
                <a:gd name="connsiteY11" fmla="*/ 3455 h 114008"/>
                <a:gd name="connsiteX12" fmla="*/ 100096 w 110460"/>
                <a:gd name="connsiteY12" fmla="*/ 3455 h 114008"/>
                <a:gd name="connsiteX13" fmla="*/ 110461 w 110460"/>
                <a:gd name="connsiteY13" fmla="*/ 0 h 114008"/>
                <a:gd name="connsiteX14" fmla="*/ 110461 w 110460"/>
                <a:gd name="connsiteY14" fmla="*/ 10364 h 114008"/>
                <a:gd name="connsiteX15" fmla="*/ 107006 w 110460"/>
                <a:gd name="connsiteY15" fmla="*/ 31093 h 114008"/>
                <a:gd name="connsiteX16" fmla="*/ 100096 w 110460"/>
                <a:gd name="connsiteY16" fmla="*/ 51822 h 114008"/>
                <a:gd name="connsiteX17" fmla="*/ 96641 w 110460"/>
                <a:gd name="connsiteY17" fmla="*/ 72551 h 114008"/>
                <a:gd name="connsiteX18" fmla="*/ 96641 w 110460"/>
                <a:gd name="connsiteY18" fmla="*/ 89825 h 114008"/>
                <a:gd name="connsiteX19" fmla="*/ 93187 w 110460"/>
                <a:gd name="connsiteY19" fmla="*/ 114009 h 114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0460" h="114008">
                  <a:moveTo>
                    <a:pt x="93187" y="114009"/>
                  </a:moveTo>
                  <a:lnTo>
                    <a:pt x="75912" y="107099"/>
                  </a:lnTo>
                  <a:lnTo>
                    <a:pt x="44819" y="103644"/>
                  </a:lnTo>
                  <a:lnTo>
                    <a:pt x="24090" y="86370"/>
                  </a:lnTo>
                  <a:lnTo>
                    <a:pt x="10364" y="72551"/>
                  </a:lnTo>
                  <a:lnTo>
                    <a:pt x="0" y="55277"/>
                  </a:lnTo>
                  <a:lnTo>
                    <a:pt x="17181" y="44912"/>
                  </a:lnTo>
                  <a:lnTo>
                    <a:pt x="20636" y="31093"/>
                  </a:lnTo>
                  <a:lnTo>
                    <a:pt x="44819" y="24184"/>
                  </a:lnTo>
                  <a:lnTo>
                    <a:pt x="58639" y="10364"/>
                  </a:lnTo>
                  <a:lnTo>
                    <a:pt x="69003" y="3455"/>
                  </a:lnTo>
                  <a:lnTo>
                    <a:pt x="86277" y="3455"/>
                  </a:lnTo>
                  <a:lnTo>
                    <a:pt x="100096" y="3455"/>
                  </a:lnTo>
                  <a:lnTo>
                    <a:pt x="110461" y="0"/>
                  </a:lnTo>
                  <a:lnTo>
                    <a:pt x="110461" y="10364"/>
                  </a:lnTo>
                  <a:lnTo>
                    <a:pt x="107006" y="31093"/>
                  </a:lnTo>
                  <a:lnTo>
                    <a:pt x="100096" y="51822"/>
                  </a:lnTo>
                  <a:lnTo>
                    <a:pt x="96641" y="72551"/>
                  </a:lnTo>
                  <a:lnTo>
                    <a:pt x="96641" y="89825"/>
                  </a:lnTo>
                  <a:lnTo>
                    <a:pt x="93187" y="114009"/>
                  </a:lnTo>
                  <a:close/>
                </a:path>
              </a:pathLst>
            </a:custGeom>
            <a:solidFill>
              <a:srgbClr val="CEE3BF"/>
            </a:solidFill>
            <a:ln w="9334" cap="flat">
              <a:noFill/>
              <a:prstDash val="solid"/>
              <a:miter/>
            </a:ln>
          </p:spPr>
          <p:txBody>
            <a:bodyPr rtlCol="0" anchor="ctr"/>
            <a:lstStyle/>
            <a:p>
              <a:endParaRPr lang="en-GB" dirty="0"/>
            </a:p>
          </p:txBody>
        </p:sp>
        <p:sp>
          <p:nvSpPr>
            <p:cNvPr id="1125" name="Freeform: Shape 1124">
              <a:extLst>
                <a:ext uri="{FF2B5EF4-FFF2-40B4-BE49-F238E27FC236}">
                  <a16:creationId xmlns:a16="http://schemas.microsoft.com/office/drawing/2014/main" id="{C2FADB8F-CD44-4224-B227-C21EF19CFDAB}"/>
                </a:ext>
              </a:extLst>
            </p:cNvPr>
            <p:cNvSpPr/>
            <p:nvPr/>
          </p:nvSpPr>
          <p:spPr>
            <a:xfrm>
              <a:off x="3444224" y="4114899"/>
              <a:ext cx="110460" cy="114008"/>
            </a:xfrm>
            <a:custGeom>
              <a:avLst/>
              <a:gdLst>
                <a:gd name="connsiteX0" fmla="*/ 93187 w 110460"/>
                <a:gd name="connsiteY0" fmla="*/ 114009 h 114008"/>
                <a:gd name="connsiteX1" fmla="*/ 75912 w 110460"/>
                <a:gd name="connsiteY1" fmla="*/ 107099 h 114008"/>
                <a:gd name="connsiteX2" fmla="*/ 44819 w 110460"/>
                <a:gd name="connsiteY2" fmla="*/ 103644 h 114008"/>
                <a:gd name="connsiteX3" fmla="*/ 24090 w 110460"/>
                <a:gd name="connsiteY3" fmla="*/ 86370 h 114008"/>
                <a:gd name="connsiteX4" fmla="*/ 10364 w 110460"/>
                <a:gd name="connsiteY4" fmla="*/ 72551 h 114008"/>
                <a:gd name="connsiteX5" fmla="*/ 0 w 110460"/>
                <a:gd name="connsiteY5" fmla="*/ 55277 h 114008"/>
                <a:gd name="connsiteX6" fmla="*/ 17181 w 110460"/>
                <a:gd name="connsiteY6" fmla="*/ 44912 h 114008"/>
                <a:gd name="connsiteX7" fmla="*/ 20636 w 110460"/>
                <a:gd name="connsiteY7" fmla="*/ 31093 h 114008"/>
                <a:gd name="connsiteX8" fmla="*/ 44819 w 110460"/>
                <a:gd name="connsiteY8" fmla="*/ 24184 h 114008"/>
                <a:gd name="connsiteX9" fmla="*/ 58639 w 110460"/>
                <a:gd name="connsiteY9" fmla="*/ 10364 h 114008"/>
                <a:gd name="connsiteX10" fmla="*/ 69003 w 110460"/>
                <a:gd name="connsiteY10" fmla="*/ 3455 h 114008"/>
                <a:gd name="connsiteX11" fmla="*/ 86277 w 110460"/>
                <a:gd name="connsiteY11" fmla="*/ 3455 h 114008"/>
                <a:gd name="connsiteX12" fmla="*/ 100096 w 110460"/>
                <a:gd name="connsiteY12" fmla="*/ 3455 h 114008"/>
                <a:gd name="connsiteX13" fmla="*/ 110461 w 110460"/>
                <a:gd name="connsiteY13" fmla="*/ 0 h 114008"/>
                <a:gd name="connsiteX14" fmla="*/ 110461 w 110460"/>
                <a:gd name="connsiteY14" fmla="*/ 10364 h 114008"/>
                <a:gd name="connsiteX15" fmla="*/ 107006 w 110460"/>
                <a:gd name="connsiteY15" fmla="*/ 31093 h 114008"/>
                <a:gd name="connsiteX16" fmla="*/ 100096 w 110460"/>
                <a:gd name="connsiteY16" fmla="*/ 51822 h 114008"/>
                <a:gd name="connsiteX17" fmla="*/ 96641 w 110460"/>
                <a:gd name="connsiteY17" fmla="*/ 72551 h 114008"/>
                <a:gd name="connsiteX18" fmla="*/ 96641 w 110460"/>
                <a:gd name="connsiteY18" fmla="*/ 89825 h 114008"/>
                <a:gd name="connsiteX19" fmla="*/ 93187 w 110460"/>
                <a:gd name="connsiteY19" fmla="*/ 114009 h 114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0460" h="114008">
                  <a:moveTo>
                    <a:pt x="93187" y="114009"/>
                  </a:moveTo>
                  <a:lnTo>
                    <a:pt x="75912" y="107099"/>
                  </a:lnTo>
                  <a:lnTo>
                    <a:pt x="44819" y="103644"/>
                  </a:lnTo>
                  <a:lnTo>
                    <a:pt x="24090" y="86370"/>
                  </a:lnTo>
                  <a:lnTo>
                    <a:pt x="10364" y="72551"/>
                  </a:lnTo>
                  <a:lnTo>
                    <a:pt x="0" y="55277"/>
                  </a:lnTo>
                  <a:lnTo>
                    <a:pt x="17181" y="44912"/>
                  </a:lnTo>
                  <a:lnTo>
                    <a:pt x="20636" y="31093"/>
                  </a:lnTo>
                  <a:lnTo>
                    <a:pt x="44819" y="24184"/>
                  </a:lnTo>
                  <a:lnTo>
                    <a:pt x="58639" y="10364"/>
                  </a:lnTo>
                  <a:lnTo>
                    <a:pt x="69003" y="3455"/>
                  </a:lnTo>
                  <a:lnTo>
                    <a:pt x="86277" y="3455"/>
                  </a:lnTo>
                  <a:lnTo>
                    <a:pt x="100096" y="3455"/>
                  </a:lnTo>
                  <a:lnTo>
                    <a:pt x="110461" y="0"/>
                  </a:lnTo>
                  <a:lnTo>
                    <a:pt x="110461" y="10364"/>
                  </a:lnTo>
                  <a:lnTo>
                    <a:pt x="107006" y="31093"/>
                  </a:lnTo>
                  <a:lnTo>
                    <a:pt x="100096" y="51822"/>
                  </a:lnTo>
                  <a:lnTo>
                    <a:pt x="96641" y="72551"/>
                  </a:lnTo>
                  <a:lnTo>
                    <a:pt x="96641" y="89825"/>
                  </a:lnTo>
                  <a:lnTo>
                    <a:pt x="93187" y="114009"/>
                  </a:lnTo>
                  <a:close/>
                </a:path>
              </a:pathLst>
            </a:custGeom>
            <a:solidFill>
              <a:srgbClr val="CEE3BF"/>
            </a:solidFill>
            <a:ln w="9334" cap="flat">
              <a:noFill/>
              <a:prstDash val="solid"/>
              <a:miter/>
            </a:ln>
          </p:spPr>
          <p:txBody>
            <a:bodyPr rtlCol="0" anchor="ctr"/>
            <a:lstStyle/>
            <a:p>
              <a:endParaRPr lang="en-GB" dirty="0"/>
            </a:p>
          </p:txBody>
        </p:sp>
        <p:sp>
          <p:nvSpPr>
            <p:cNvPr id="1126" name="Freeform: Shape 1125">
              <a:extLst>
                <a:ext uri="{FF2B5EF4-FFF2-40B4-BE49-F238E27FC236}">
                  <a16:creationId xmlns:a16="http://schemas.microsoft.com/office/drawing/2014/main" id="{3ACAA40A-89B0-4DA0-9B27-63C04D5A586F}"/>
                </a:ext>
              </a:extLst>
            </p:cNvPr>
            <p:cNvSpPr/>
            <p:nvPr/>
          </p:nvSpPr>
          <p:spPr>
            <a:xfrm>
              <a:off x="3485588" y="4218543"/>
              <a:ext cx="86370" cy="76099"/>
            </a:xfrm>
            <a:custGeom>
              <a:avLst/>
              <a:gdLst>
                <a:gd name="connsiteX0" fmla="*/ 31093 w 86370"/>
                <a:gd name="connsiteY0" fmla="*/ 34641 h 76099"/>
                <a:gd name="connsiteX1" fmla="*/ 20729 w 86370"/>
                <a:gd name="connsiteY1" fmla="*/ 27732 h 76099"/>
                <a:gd name="connsiteX2" fmla="*/ 17274 w 86370"/>
                <a:gd name="connsiteY2" fmla="*/ 38096 h 76099"/>
                <a:gd name="connsiteX3" fmla="*/ 13819 w 86370"/>
                <a:gd name="connsiteY3" fmla="*/ 41551 h 76099"/>
                <a:gd name="connsiteX4" fmla="*/ 3455 w 86370"/>
                <a:gd name="connsiteY4" fmla="*/ 34641 h 76099"/>
                <a:gd name="connsiteX5" fmla="*/ 0 w 86370"/>
                <a:gd name="connsiteY5" fmla="*/ 27732 h 76099"/>
                <a:gd name="connsiteX6" fmla="*/ 0 w 86370"/>
                <a:gd name="connsiteY6" fmla="*/ 17367 h 76099"/>
                <a:gd name="connsiteX7" fmla="*/ 3455 w 86370"/>
                <a:gd name="connsiteY7" fmla="*/ 10364 h 76099"/>
                <a:gd name="connsiteX8" fmla="*/ 3455 w 86370"/>
                <a:gd name="connsiteY8" fmla="*/ 0 h 76099"/>
                <a:gd name="connsiteX9" fmla="*/ 31093 w 86370"/>
                <a:gd name="connsiteY9" fmla="*/ 3455 h 76099"/>
                <a:gd name="connsiteX10" fmla="*/ 51822 w 86370"/>
                <a:gd name="connsiteY10" fmla="*/ 10364 h 76099"/>
                <a:gd name="connsiteX11" fmla="*/ 58732 w 86370"/>
                <a:gd name="connsiteY11" fmla="*/ 17367 h 76099"/>
                <a:gd name="connsiteX12" fmla="*/ 72551 w 86370"/>
                <a:gd name="connsiteY12" fmla="*/ 31187 h 76099"/>
                <a:gd name="connsiteX13" fmla="*/ 82915 w 86370"/>
                <a:gd name="connsiteY13" fmla="*/ 41551 h 76099"/>
                <a:gd name="connsiteX14" fmla="*/ 86370 w 86370"/>
                <a:gd name="connsiteY14" fmla="*/ 48461 h 76099"/>
                <a:gd name="connsiteX15" fmla="*/ 79461 w 86370"/>
                <a:gd name="connsiteY15" fmla="*/ 51915 h 76099"/>
                <a:gd name="connsiteX16" fmla="*/ 76006 w 86370"/>
                <a:gd name="connsiteY16" fmla="*/ 62280 h 76099"/>
                <a:gd name="connsiteX17" fmla="*/ 72551 w 86370"/>
                <a:gd name="connsiteY17" fmla="*/ 72644 h 76099"/>
                <a:gd name="connsiteX18" fmla="*/ 65641 w 86370"/>
                <a:gd name="connsiteY18" fmla="*/ 76099 h 76099"/>
                <a:gd name="connsiteX19" fmla="*/ 58732 w 86370"/>
                <a:gd name="connsiteY19" fmla="*/ 55370 h 76099"/>
                <a:gd name="connsiteX20" fmla="*/ 48367 w 86370"/>
                <a:gd name="connsiteY20" fmla="*/ 45006 h 76099"/>
                <a:gd name="connsiteX21" fmla="*/ 41458 w 86370"/>
                <a:gd name="connsiteY21" fmla="*/ 41551 h 76099"/>
                <a:gd name="connsiteX22" fmla="*/ 31093 w 86370"/>
                <a:gd name="connsiteY22" fmla="*/ 34641 h 7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6370" h="76099">
                  <a:moveTo>
                    <a:pt x="31093" y="34641"/>
                  </a:moveTo>
                  <a:lnTo>
                    <a:pt x="20729" y="27732"/>
                  </a:lnTo>
                  <a:lnTo>
                    <a:pt x="17274" y="38096"/>
                  </a:lnTo>
                  <a:lnTo>
                    <a:pt x="13819" y="41551"/>
                  </a:lnTo>
                  <a:lnTo>
                    <a:pt x="3455" y="34641"/>
                  </a:lnTo>
                  <a:lnTo>
                    <a:pt x="0" y="27732"/>
                  </a:lnTo>
                  <a:lnTo>
                    <a:pt x="0" y="17367"/>
                  </a:lnTo>
                  <a:lnTo>
                    <a:pt x="3455" y="10364"/>
                  </a:lnTo>
                  <a:lnTo>
                    <a:pt x="3455" y="0"/>
                  </a:lnTo>
                  <a:lnTo>
                    <a:pt x="31093" y="3455"/>
                  </a:lnTo>
                  <a:lnTo>
                    <a:pt x="51822" y="10364"/>
                  </a:lnTo>
                  <a:lnTo>
                    <a:pt x="58732" y="17367"/>
                  </a:lnTo>
                  <a:lnTo>
                    <a:pt x="72551" y="31187"/>
                  </a:lnTo>
                  <a:lnTo>
                    <a:pt x="82915" y="41551"/>
                  </a:lnTo>
                  <a:lnTo>
                    <a:pt x="86370" y="48461"/>
                  </a:lnTo>
                  <a:lnTo>
                    <a:pt x="79461" y="51915"/>
                  </a:lnTo>
                  <a:lnTo>
                    <a:pt x="76006" y="62280"/>
                  </a:lnTo>
                  <a:lnTo>
                    <a:pt x="72551" y="72644"/>
                  </a:lnTo>
                  <a:lnTo>
                    <a:pt x="65641" y="76099"/>
                  </a:lnTo>
                  <a:lnTo>
                    <a:pt x="58732" y="55370"/>
                  </a:lnTo>
                  <a:lnTo>
                    <a:pt x="48367" y="45006"/>
                  </a:lnTo>
                  <a:lnTo>
                    <a:pt x="41458" y="41551"/>
                  </a:lnTo>
                  <a:lnTo>
                    <a:pt x="31093" y="34641"/>
                  </a:lnTo>
                  <a:close/>
                </a:path>
              </a:pathLst>
            </a:custGeom>
            <a:solidFill>
              <a:srgbClr val="CEE3BF"/>
            </a:solidFill>
            <a:ln w="9334" cap="flat">
              <a:noFill/>
              <a:prstDash val="solid"/>
              <a:miter/>
            </a:ln>
          </p:spPr>
          <p:txBody>
            <a:bodyPr rtlCol="0" anchor="ctr"/>
            <a:lstStyle/>
            <a:p>
              <a:endParaRPr lang="en-GB" dirty="0"/>
            </a:p>
          </p:txBody>
        </p:sp>
        <p:sp>
          <p:nvSpPr>
            <p:cNvPr id="1127" name="Freeform: Shape 1126">
              <a:extLst>
                <a:ext uri="{FF2B5EF4-FFF2-40B4-BE49-F238E27FC236}">
                  <a16:creationId xmlns:a16="http://schemas.microsoft.com/office/drawing/2014/main" id="{95118139-A6FF-44C2-8581-DA9AEB2E59B3}"/>
                </a:ext>
              </a:extLst>
            </p:cNvPr>
            <p:cNvSpPr/>
            <p:nvPr/>
          </p:nvSpPr>
          <p:spPr>
            <a:xfrm>
              <a:off x="3485588" y="4218543"/>
              <a:ext cx="86370" cy="76099"/>
            </a:xfrm>
            <a:custGeom>
              <a:avLst/>
              <a:gdLst>
                <a:gd name="connsiteX0" fmla="*/ 31093 w 86370"/>
                <a:gd name="connsiteY0" fmla="*/ 34641 h 76099"/>
                <a:gd name="connsiteX1" fmla="*/ 20729 w 86370"/>
                <a:gd name="connsiteY1" fmla="*/ 27732 h 76099"/>
                <a:gd name="connsiteX2" fmla="*/ 17274 w 86370"/>
                <a:gd name="connsiteY2" fmla="*/ 38096 h 76099"/>
                <a:gd name="connsiteX3" fmla="*/ 13819 w 86370"/>
                <a:gd name="connsiteY3" fmla="*/ 41551 h 76099"/>
                <a:gd name="connsiteX4" fmla="*/ 3455 w 86370"/>
                <a:gd name="connsiteY4" fmla="*/ 34641 h 76099"/>
                <a:gd name="connsiteX5" fmla="*/ 0 w 86370"/>
                <a:gd name="connsiteY5" fmla="*/ 27732 h 76099"/>
                <a:gd name="connsiteX6" fmla="*/ 0 w 86370"/>
                <a:gd name="connsiteY6" fmla="*/ 17367 h 76099"/>
                <a:gd name="connsiteX7" fmla="*/ 3455 w 86370"/>
                <a:gd name="connsiteY7" fmla="*/ 10364 h 76099"/>
                <a:gd name="connsiteX8" fmla="*/ 3455 w 86370"/>
                <a:gd name="connsiteY8" fmla="*/ 0 h 76099"/>
                <a:gd name="connsiteX9" fmla="*/ 31093 w 86370"/>
                <a:gd name="connsiteY9" fmla="*/ 3455 h 76099"/>
                <a:gd name="connsiteX10" fmla="*/ 51822 w 86370"/>
                <a:gd name="connsiteY10" fmla="*/ 10364 h 76099"/>
                <a:gd name="connsiteX11" fmla="*/ 58732 w 86370"/>
                <a:gd name="connsiteY11" fmla="*/ 17367 h 76099"/>
                <a:gd name="connsiteX12" fmla="*/ 72551 w 86370"/>
                <a:gd name="connsiteY12" fmla="*/ 31187 h 76099"/>
                <a:gd name="connsiteX13" fmla="*/ 82915 w 86370"/>
                <a:gd name="connsiteY13" fmla="*/ 41551 h 76099"/>
                <a:gd name="connsiteX14" fmla="*/ 86370 w 86370"/>
                <a:gd name="connsiteY14" fmla="*/ 48461 h 76099"/>
                <a:gd name="connsiteX15" fmla="*/ 79461 w 86370"/>
                <a:gd name="connsiteY15" fmla="*/ 51915 h 76099"/>
                <a:gd name="connsiteX16" fmla="*/ 76006 w 86370"/>
                <a:gd name="connsiteY16" fmla="*/ 62280 h 76099"/>
                <a:gd name="connsiteX17" fmla="*/ 72551 w 86370"/>
                <a:gd name="connsiteY17" fmla="*/ 72644 h 76099"/>
                <a:gd name="connsiteX18" fmla="*/ 65641 w 86370"/>
                <a:gd name="connsiteY18" fmla="*/ 76099 h 76099"/>
                <a:gd name="connsiteX19" fmla="*/ 58732 w 86370"/>
                <a:gd name="connsiteY19" fmla="*/ 55370 h 76099"/>
                <a:gd name="connsiteX20" fmla="*/ 48367 w 86370"/>
                <a:gd name="connsiteY20" fmla="*/ 45006 h 76099"/>
                <a:gd name="connsiteX21" fmla="*/ 41458 w 86370"/>
                <a:gd name="connsiteY21" fmla="*/ 41551 h 76099"/>
                <a:gd name="connsiteX22" fmla="*/ 31093 w 86370"/>
                <a:gd name="connsiteY22" fmla="*/ 34641 h 7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6370" h="76099">
                  <a:moveTo>
                    <a:pt x="31093" y="34641"/>
                  </a:moveTo>
                  <a:lnTo>
                    <a:pt x="20729" y="27732"/>
                  </a:lnTo>
                  <a:lnTo>
                    <a:pt x="17274" y="38096"/>
                  </a:lnTo>
                  <a:lnTo>
                    <a:pt x="13819" y="41551"/>
                  </a:lnTo>
                  <a:lnTo>
                    <a:pt x="3455" y="34641"/>
                  </a:lnTo>
                  <a:lnTo>
                    <a:pt x="0" y="27732"/>
                  </a:lnTo>
                  <a:lnTo>
                    <a:pt x="0" y="17367"/>
                  </a:lnTo>
                  <a:lnTo>
                    <a:pt x="3455" y="10364"/>
                  </a:lnTo>
                  <a:lnTo>
                    <a:pt x="3455" y="0"/>
                  </a:lnTo>
                  <a:lnTo>
                    <a:pt x="31093" y="3455"/>
                  </a:lnTo>
                  <a:lnTo>
                    <a:pt x="51822" y="10364"/>
                  </a:lnTo>
                  <a:lnTo>
                    <a:pt x="58732" y="17367"/>
                  </a:lnTo>
                  <a:lnTo>
                    <a:pt x="72551" y="31187"/>
                  </a:lnTo>
                  <a:lnTo>
                    <a:pt x="82915" y="41551"/>
                  </a:lnTo>
                  <a:lnTo>
                    <a:pt x="86370" y="48461"/>
                  </a:lnTo>
                  <a:lnTo>
                    <a:pt x="79461" y="51915"/>
                  </a:lnTo>
                  <a:lnTo>
                    <a:pt x="76006" y="62280"/>
                  </a:lnTo>
                  <a:lnTo>
                    <a:pt x="72551" y="72644"/>
                  </a:lnTo>
                  <a:lnTo>
                    <a:pt x="65641" y="76099"/>
                  </a:lnTo>
                  <a:lnTo>
                    <a:pt x="58732" y="55370"/>
                  </a:lnTo>
                  <a:lnTo>
                    <a:pt x="48367" y="45006"/>
                  </a:lnTo>
                  <a:lnTo>
                    <a:pt x="41458" y="41551"/>
                  </a:lnTo>
                  <a:lnTo>
                    <a:pt x="31093" y="34641"/>
                  </a:lnTo>
                  <a:close/>
                </a:path>
              </a:pathLst>
            </a:custGeom>
            <a:solidFill>
              <a:srgbClr val="CEE3BF"/>
            </a:solidFill>
            <a:ln w="9334" cap="flat">
              <a:noFill/>
              <a:prstDash val="solid"/>
              <a:miter/>
            </a:ln>
          </p:spPr>
          <p:txBody>
            <a:bodyPr rtlCol="0" anchor="ctr"/>
            <a:lstStyle/>
            <a:p>
              <a:endParaRPr lang="en-GB" dirty="0"/>
            </a:p>
          </p:txBody>
        </p:sp>
        <p:sp>
          <p:nvSpPr>
            <p:cNvPr id="1128" name="Freeform: Shape 1127">
              <a:extLst>
                <a:ext uri="{FF2B5EF4-FFF2-40B4-BE49-F238E27FC236}">
                  <a16:creationId xmlns:a16="http://schemas.microsoft.com/office/drawing/2014/main" id="{8576BDCE-5917-410C-9B71-2C67414F829D}"/>
                </a:ext>
              </a:extLst>
            </p:cNvPr>
            <p:cNvSpPr/>
            <p:nvPr/>
          </p:nvSpPr>
          <p:spPr>
            <a:xfrm>
              <a:off x="3551230" y="4263549"/>
              <a:ext cx="176101" cy="65641"/>
            </a:xfrm>
            <a:custGeom>
              <a:avLst/>
              <a:gdLst>
                <a:gd name="connsiteX0" fmla="*/ 151918 w 176101"/>
                <a:gd name="connsiteY0" fmla="*/ 58732 h 65641"/>
                <a:gd name="connsiteX1" fmla="*/ 141554 w 176101"/>
                <a:gd name="connsiteY1" fmla="*/ 55277 h 65641"/>
                <a:gd name="connsiteX2" fmla="*/ 138099 w 176101"/>
                <a:gd name="connsiteY2" fmla="*/ 48368 h 65641"/>
                <a:gd name="connsiteX3" fmla="*/ 138099 w 176101"/>
                <a:gd name="connsiteY3" fmla="*/ 38003 h 65641"/>
                <a:gd name="connsiteX4" fmla="*/ 138099 w 176101"/>
                <a:gd name="connsiteY4" fmla="*/ 27639 h 65641"/>
                <a:gd name="connsiteX5" fmla="*/ 134644 w 176101"/>
                <a:gd name="connsiteY5" fmla="*/ 20729 h 65641"/>
                <a:gd name="connsiteX6" fmla="*/ 124280 w 176101"/>
                <a:gd name="connsiteY6" fmla="*/ 17274 h 65641"/>
                <a:gd name="connsiteX7" fmla="*/ 113915 w 176101"/>
                <a:gd name="connsiteY7" fmla="*/ 17274 h 65641"/>
                <a:gd name="connsiteX8" fmla="*/ 107006 w 176101"/>
                <a:gd name="connsiteY8" fmla="*/ 20729 h 65641"/>
                <a:gd name="connsiteX9" fmla="*/ 103551 w 176101"/>
                <a:gd name="connsiteY9" fmla="*/ 27639 h 65641"/>
                <a:gd name="connsiteX10" fmla="*/ 89732 w 176101"/>
                <a:gd name="connsiteY10" fmla="*/ 31093 h 65641"/>
                <a:gd name="connsiteX11" fmla="*/ 82822 w 176101"/>
                <a:gd name="connsiteY11" fmla="*/ 38003 h 65641"/>
                <a:gd name="connsiteX12" fmla="*/ 86277 w 176101"/>
                <a:gd name="connsiteY12" fmla="*/ 44912 h 65641"/>
                <a:gd name="connsiteX13" fmla="*/ 89732 w 176101"/>
                <a:gd name="connsiteY13" fmla="*/ 51822 h 65641"/>
                <a:gd name="connsiteX14" fmla="*/ 89732 w 176101"/>
                <a:gd name="connsiteY14" fmla="*/ 62187 h 65641"/>
                <a:gd name="connsiteX15" fmla="*/ 75912 w 176101"/>
                <a:gd name="connsiteY15" fmla="*/ 65641 h 65641"/>
                <a:gd name="connsiteX16" fmla="*/ 65548 w 176101"/>
                <a:gd name="connsiteY16" fmla="*/ 55277 h 65641"/>
                <a:gd name="connsiteX17" fmla="*/ 55184 w 176101"/>
                <a:gd name="connsiteY17" fmla="*/ 44912 h 65641"/>
                <a:gd name="connsiteX18" fmla="*/ 44819 w 176101"/>
                <a:gd name="connsiteY18" fmla="*/ 38003 h 65641"/>
                <a:gd name="connsiteX19" fmla="*/ 31093 w 176101"/>
                <a:gd name="connsiteY19" fmla="*/ 34548 h 65641"/>
                <a:gd name="connsiteX20" fmla="*/ 24184 w 176101"/>
                <a:gd name="connsiteY20" fmla="*/ 31093 h 65641"/>
                <a:gd name="connsiteX21" fmla="*/ 13819 w 176101"/>
                <a:gd name="connsiteY21" fmla="*/ 34548 h 65641"/>
                <a:gd name="connsiteX22" fmla="*/ 0 w 176101"/>
                <a:gd name="connsiteY22" fmla="*/ 31093 h 65641"/>
                <a:gd name="connsiteX23" fmla="*/ 6910 w 176101"/>
                <a:gd name="connsiteY23" fmla="*/ 24184 h 65641"/>
                <a:gd name="connsiteX24" fmla="*/ 10364 w 176101"/>
                <a:gd name="connsiteY24" fmla="*/ 13819 h 65641"/>
                <a:gd name="connsiteX25" fmla="*/ 20729 w 176101"/>
                <a:gd name="connsiteY25" fmla="*/ 3455 h 65641"/>
                <a:gd name="connsiteX26" fmla="*/ 31093 w 176101"/>
                <a:gd name="connsiteY26" fmla="*/ 6910 h 65641"/>
                <a:gd name="connsiteX27" fmla="*/ 38003 w 176101"/>
                <a:gd name="connsiteY27" fmla="*/ 13819 h 65641"/>
                <a:gd name="connsiteX28" fmla="*/ 51729 w 176101"/>
                <a:gd name="connsiteY28" fmla="*/ 20729 h 65641"/>
                <a:gd name="connsiteX29" fmla="*/ 65548 w 176101"/>
                <a:gd name="connsiteY29" fmla="*/ 20729 h 65641"/>
                <a:gd name="connsiteX30" fmla="*/ 75912 w 176101"/>
                <a:gd name="connsiteY30" fmla="*/ 17274 h 65641"/>
                <a:gd name="connsiteX31" fmla="*/ 89732 w 176101"/>
                <a:gd name="connsiteY31" fmla="*/ 10365 h 65641"/>
                <a:gd name="connsiteX32" fmla="*/ 107006 w 176101"/>
                <a:gd name="connsiteY32" fmla="*/ 3455 h 65641"/>
                <a:gd name="connsiteX33" fmla="*/ 124280 w 176101"/>
                <a:gd name="connsiteY33" fmla="*/ 0 h 65641"/>
                <a:gd name="connsiteX34" fmla="*/ 141554 w 176101"/>
                <a:gd name="connsiteY34" fmla="*/ 3455 h 65641"/>
                <a:gd name="connsiteX35" fmla="*/ 151918 w 176101"/>
                <a:gd name="connsiteY35" fmla="*/ 10365 h 65641"/>
                <a:gd name="connsiteX36" fmla="*/ 162283 w 176101"/>
                <a:gd name="connsiteY36" fmla="*/ 17274 h 65641"/>
                <a:gd name="connsiteX37" fmla="*/ 169192 w 176101"/>
                <a:gd name="connsiteY37" fmla="*/ 27639 h 65641"/>
                <a:gd name="connsiteX38" fmla="*/ 176102 w 176101"/>
                <a:gd name="connsiteY38" fmla="*/ 34548 h 65641"/>
                <a:gd name="connsiteX39" fmla="*/ 172647 w 176101"/>
                <a:gd name="connsiteY39" fmla="*/ 44912 h 65641"/>
                <a:gd name="connsiteX40" fmla="*/ 162283 w 176101"/>
                <a:gd name="connsiteY40" fmla="*/ 51822 h 65641"/>
                <a:gd name="connsiteX41" fmla="*/ 151918 w 176101"/>
                <a:gd name="connsiteY41" fmla="*/ 58732 h 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6101" h="65641">
                  <a:moveTo>
                    <a:pt x="151918" y="58732"/>
                  </a:moveTo>
                  <a:lnTo>
                    <a:pt x="141554" y="55277"/>
                  </a:lnTo>
                  <a:lnTo>
                    <a:pt x="138099" y="48368"/>
                  </a:lnTo>
                  <a:lnTo>
                    <a:pt x="138099" y="38003"/>
                  </a:lnTo>
                  <a:lnTo>
                    <a:pt x="138099" y="27639"/>
                  </a:lnTo>
                  <a:lnTo>
                    <a:pt x="134644" y="20729"/>
                  </a:lnTo>
                  <a:lnTo>
                    <a:pt x="124280" y="17274"/>
                  </a:lnTo>
                  <a:lnTo>
                    <a:pt x="113915" y="17274"/>
                  </a:lnTo>
                  <a:lnTo>
                    <a:pt x="107006" y="20729"/>
                  </a:lnTo>
                  <a:lnTo>
                    <a:pt x="103551" y="27639"/>
                  </a:lnTo>
                  <a:lnTo>
                    <a:pt x="89732" y="31093"/>
                  </a:lnTo>
                  <a:lnTo>
                    <a:pt x="82822" y="38003"/>
                  </a:lnTo>
                  <a:lnTo>
                    <a:pt x="86277" y="44912"/>
                  </a:lnTo>
                  <a:lnTo>
                    <a:pt x="89732" y="51822"/>
                  </a:lnTo>
                  <a:lnTo>
                    <a:pt x="89732" y="62187"/>
                  </a:lnTo>
                  <a:lnTo>
                    <a:pt x="75912" y="65641"/>
                  </a:lnTo>
                  <a:lnTo>
                    <a:pt x="65548" y="55277"/>
                  </a:lnTo>
                  <a:lnTo>
                    <a:pt x="55184" y="44912"/>
                  </a:lnTo>
                  <a:lnTo>
                    <a:pt x="44819" y="38003"/>
                  </a:lnTo>
                  <a:lnTo>
                    <a:pt x="31093" y="34548"/>
                  </a:lnTo>
                  <a:lnTo>
                    <a:pt x="24184" y="31093"/>
                  </a:lnTo>
                  <a:lnTo>
                    <a:pt x="13819" y="34548"/>
                  </a:lnTo>
                  <a:lnTo>
                    <a:pt x="0" y="31093"/>
                  </a:lnTo>
                  <a:lnTo>
                    <a:pt x="6910" y="24184"/>
                  </a:lnTo>
                  <a:lnTo>
                    <a:pt x="10364" y="13819"/>
                  </a:lnTo>
                  <a:lnTo>
                    <a:pt x="20729" y="3455"/>
                  </a:lnTo>
                  <a:lnTo>
                    <a:pt x="31093" y="6910"/>
                  </a:lnTo>
                  <a:lnTo>
                    <a:pt x="38003" y="13819"/>
                  </a:lnTo>
                  <a:lnTo>
                    <a:pt x="51729" y="20729"/>
                  </a:lnTo>
                  <a:lnTo>
                    <a:pt x="65548" y="20729"/>
                  </a:lnTo>
                  <a:lnTo>
                    <a:pt x="75912" y="17274"/>
                  </a:lnTo>
                  <a:lnTo>
                    <a:pt x="89732" y="10365"/>
                  </a:lnTo>
                  <a:lnTo>
                    <a:pt x="107006" y="3455"/>
                  </a:lnTo>
                  <a:lnTo>
                    <a:pt x="124280" y="0"/>
                  </a:lnTo>
                  <a:lnTo>
                    <a:pt x="141554" y="3455"/>
                  </a:lnTo>
                  <a:lnTo>
                    <a:pt x="151918" y="10365"/>
                  </a:lnTo>
                  <a:lnTo>
                    <a:pt x="162283" y="17274"/>
                  </a:lnTo>
                  <a:lnTo>
                    <a:pt x="169192" y="27639"/>
                  </a:lnTo>
                  <a:lnTo>
                    <a:pt x="176102" y="34548"/>
                  </a:lnTo>
                  <a:lnTo>
                    <a:pt x="172647" y="44912"/>
                  </a:lnTo>
                  <a:lnTo>
                    <a:pt x="162283" y="51822"/>
                  </a:lnTo>
                  <a:lnTo>
                    <a:pt x="151918" y="58732"/>
                  </a:lnTo>
                  <a:close/>
                </a:path>
              </a:pathLst>
            </a:custGeom>
            <a:solidFill>
              <a:srgbClr val="CEE3BF"/>
            </a:solidFill>
            <a:ln w="9334" cap="flat">
              <a:noFill/>
              <a:prstDash val="solid"/>
              <a:miter/>
            </a:ln>
          </p:spPr>
          <p:txBody>
            <a:bodyPr rtlCol="0" anchor="ctr"/>
            <a:lstStyle/>
            <a:p>
              <a:endParaRPr lang="en-GB" dirty="0"/>
            </a:p>
          </p:txBody>
        </p:sp>
        <p:sp>
          <p:nvSpPr>
            <p:cNvPr id="1129" name="Freeform: Shape 1128">
              <a:extLst>
                <a:ext uri="{FF2B5EF4-FFF2-40B4-BE49-F238E27FC236}">
                  <a16:creationId xmlns:a16="http://schemas.microsoft.com/office/drawing/2014/main" id="{E1EF0F13-F417-4BD7-8EE3-0C9D5F67BD9C}"/>
                </a:ext>
              </a:extLst>
            </p:cNvPr>
            <p:cNvSpPr/>
            <p:nvPr/>
          </p:nvSpPr>
          <p:spPr>
            <a:xfrm>
              <a:off x="3551230" y="4263549"/>
              <a:ext cx="176008" cy="65641"/>
            </a:xfrm>
            <a:custGeom>
              <a:avLst/>
              <a:gdLst>
                <a:gd name="connsiteX0" fmla="*/ 151918 w 176008"/>
                <a:gd name="connsiteY0" fmla="*/ 58732 h 65641"/>
                <a:gd name="connsiteX1" fmla="*/ 141554 w 176008"/>
                <a:gd name="connsiteY1" fmla="*/ 55277 h 65641"/>
                <a:gd name="connsiteX2" fmla="*/ 138099 w 176008"/>
                <a:gd name="connsiteY2" fmla="*/ 48368 h 65641"/>
                <a:gd name="connsiteX3" fmla="*/ 138099 w 176008"/>
                <a:gd name="connsiteY3" fmla="*/ 38003 h 65641"/>
                <a:gd name="connsiteX4" fmla="*/ 138099 w 176008"/>
                <a:gd name="connsiteY4" fmla="*/ 27639 h 65641"/>
                <a:gd name="connsiteX5" fmla="*/ 134644 w 176008"/>
                <a:gd name="connsiteY5" fmla="*/ 20729 h 65641"/>
                <a:gd name="connsiteX6" fmla="*/ 124280 w 176008"/>
                <a:gd name="connsiteY6" fmla="*/ 17274 h 65641"/>
                <a:gd name="connsiteX7" fmla="*/ 113915 w 176008"/>
                <a:gd name="connsiteY7" fmla="*/ 17274 h 65641"/>
                <a:gd name="connsiteX8" fmla="*/ 107006 w 176008"/>
                <a:gd name="connsiteY8" fmla="*/ 20729 h 65641"/>
                <a:gd name="connsiteX9" fmla="*/ 103551 w 176008"/>
                <a:gd name="connsiteY9" fmla="*/ 27639 h 65641"/>
                <a:gd name="connsiteX10" fmla="*/ 89732 w 176008"/>
                <a:gd name="connsiteY10" fmla="*/ 31093 h 65641"/>
                <a:gd name="connsiteX11" fmla="*/ 82822 w 176008"/>
                <a:gd name="connsiteY11" fmla="*/ 38003 h 65641"/>
                <a:gd name="connsiteX12" fmla="*/ 86277 w 176008"/>
                <a:gd name="connsiteY12" fmla="*/ 44912 h 65641"/>
                <a:gd name="connsiteX13" fmla="*/ 89732 w 176008"/>
                <a:gd name="connsiteY13" fmla="*/ 51822 h 65641"/>
                <a:gd name="connsiteX14" fmla="*/ 89732 w 176008"/>
                <a:gd name="connsiteY14" fmla="*/ 62187 h 65641"/>
                <a:gd name="connsiteX15" fmla="*/ 75912 w 176008"/>
                <a:gd name="connsiteY15" fmla="*/ 65641 h 65641"/>
                <a:gd name="connsiteX16" fmla="*/ 65548 w 176008"/>
                <a:gd name="connsiteY16" fmla="*/ 55277 h 65641"/>
                <a:gd name="connsiteX17" fmla="*/ 55184 w 176008"/>
                <a:gd name="connsiteY17" fmla="*/ 44912 h 65641"/>
                <a:gd name="connsiteX18" fmla="*/ 44819 w 176008"/>
                <a:gd name="connsiteY18" fmla="*/ 38003 h 65641"/>
                <a:gd name="connsiteX19" fmla="*/ 31093 w 176008"/>
                <a:gd name="connsiteY19" fmla="*/ 34548 h 65641"/>
                <a:gd name="connsiteX20" fmla="*/ 24184 w 176008"/>
                <a:gd name="connsiteY20" fmla="*/ 31093 h 65641"/>
                <a:gd name="connsiteX21" fmla="*/ 13819 w 176008"/>
                <a:gd name="connsiteY21" fmla="*/ 34548 h 65641"/>
                <a:gd name="connsiteX22" fmla="*/ 0 w 176008"/>
                <a:gd name="connsiteY22" fmla="*/ 31093 h 65641"/>
                <a:gd name="connsiteX23" fmla="*/ 6910 w 176008"/>
                <a:gd name="connsiteY23" fmla="*/ 24184 h 65641"/>
                <a:gd name="connsiteX24" fmla="*/ 10364 w 176008"/>
                <a:gd name="connsiteY24" fmla="*/ 13819 h 65641"/>
                <a:gd name="connsiteX25" fmla="*/ 20729 w 176008"/>
                <a:gd name="connsiteY25" fmla="*/ 3455 h 65641"/>
                <a:gd name="connsiteX26" fmla="*/ 31093 w 176008"/>
                <a:gd name="connsiteY26" fmla="*/ 6910 h 65641"/>
                <a:gd name="connsiteX27" fmla="*/ 38003 w 176008"/>
                <a:gd name="connsiteY27" fmla="*/ 13819 h 65641"/>
                <a:gd name="connsiteX28" fmla="*/ 51729 w 176008"/>
                <a:gd name="connsiteY28" fmla="*/ 20729 h 65641"/>
                <a:gd name="connsiteX29" fmla="*/ 65548 w 176008"/>
                <a:gd name="connsiteY29" fmla="*/ 20729 h 65641"/>
                <a:gd name="connsiteX30" fmla="*/ 75912 w 176008"/>
                <a:gd name="connsiteY30" fmla="*/ 17274 h 65641"/>
                <a:gd name="connsiteX31" fmla="*/ 89732 w 176008"/>
                <a:gd name="connsiteY31" fmla="*/ 10365 h 65641"/>
                <a:gd name="connsiteX32" fmla="*/ 107006 w 176008"/>
                <a:gd name="connsiteY32" fmla="*/ 3455 h 65641"/>
                <a:gd name="connsiteX33" fmla="*/ 124280 w 176008"/>
                <a:gd name="connsiteY33" fmla="*/ 0 h 65641"/>
                <a:gd name="connsiteX34" fmla="*/ 141554 w 176008"/>
                <a:gd name="connsiteY34" fmla="*/ 3455 h 65641"/>
                <a:gd name="connsiteX35" fmla="*/ 151918 w 176008"/>
                <a:gd name="connsiteY35" fmla="*/ 10365 h 65641"/>
                <a:gd name="connsiteX36" fmla="*/ 162283 w 176008"/>
                <a:gd name="connsiteY36" fmla="*/ 17274 h 65641"/>
                <a:gd name="connsiteX37" fmla="*/ 169192 w 176008"/>
                <a:gd name="connsiteY37" fmla="*/ 27639 h 65641"/>
                <a:gd name="connsiteX38" fmla="*/ 176009 w 176008"/>
                <a:gd name="connsiteY38" fmla="*/ 34548 h 65641"/>
                <a:gd name="connsiteX39" fmla="*/ 172647 w 176008"/>
                <a:gd name="connsiteY39" fmla="*/ 44912 h 65641"/>
                <a:gd name="connsiteX40" fmla="*/ 162283 w 176008"/>
                <a:gd name="connsiteY40" fmla="*/ 51822 h 65641"/>
                <a:gd name="connsiteX41" fmla="*/ 151918 w 176008"/>
                <a:gd name="connsiteY41" fmla="*/ 58732 h 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6008" h="65641">
                  <a:moveTo>
                    <a:pt x="151918" y="58732"/>
                  </a:moveTo>
                  <a:lnTo>
                    <a:pt x="141554" y="55277"/>
                  </a:lnTo>
                  <a:lnTo>
                    <a:pt x="138099" y="48368"/>
                  </a:lnTo>
                  <a:lnTo>
                    <a:pt x="138099" y="38003"/>
                  </a:lnTo>
                  <a:lnTo>
                    <a:pt x="138099" y="27639"/>
                  </a:lnTo>
                  <a:lnTo>
                    <a:pt x="134644" y="20729"/>
                  </a:lnTo>
                  <a:lnTo>
                    <a:pt x="124280" y="17274"/>
                  </a:lnTo>
                  <a:lnTo>
                    <a:pt x="113915" y="17274"/>
                  </a:lnTo>
                  <a:lnTo>
                    <a:pt x="107006" y="20729"/>
                  </a:lnTo>
                  <a:lnTo>
                    <a:pt x="103551" y="27639"/>
                  </a:lnTo>
                  <a:lnTo>
                    <a:pt x="89732" y="31093"/>
                  </a:lnTo>
                  <a:lnTo>
                    <a:pt x="82822" y="38003"/>
                  </a:lnTo>
                  <a:lnTo>
                    <a:pt x="86277" y="44912"/>
                  </a:lnTo>
                  <a:lnTo>
                    <a:pt x="89732" y="51822"/>
                  </a:lnTo>
                  <a:lnTo>
                    <a:pt x="89732" y="62187"/>
                  </a:lnTo>
                  <a:lnTo>
                    <a:pt x="75912" y="65641"/>
                  </a:lnTo>
                  <a:lnTo>
                    <a:pt x="65548" y="55277"/>
                  </a:lnTo>
                  <a:lnTo>
                    <a:pt x="55184" y="44912"/>
                  </a:lnTo>
                  <a:lnTo>
                    <a:pt x="44819" y="38003"/>
                  </a:lnTo>
                  <a:lnTo>
                    <a:pt x="31093" y="34548"/>
                  </a:lnTo>
                  <a:lnTo>
                    <a:pt x="24184" y="31093"/>
                  </a:lnTo>
                  <a:lnTo>
                    <a:pt x="13819" y="34548"/>
                  </a:lnTo>
                  <a:lnTo>
                    <a:pt x="0" y="31093"/>
                  </a:lnTo>
                  <a:lnTo>
                    <a:pt x="6910" y="24184"/>
                  </a:lnTo>
                  <a:lnTo>
                    <a:pt x="10364" y="13819"/>
                  </a:lnTo>
                  <a:lnTo>
                    <a:pt x="20729" y="3455"/>
                  </a:lnTo>
                  <a:lnTo>
                    <a:pt x="31093" y="6910"/>
                  </a:lnTo>
                  <a:lnTo>
                    <a:pt x="38003" y="13819"/>
                  </a:lnTo>
                  <a:lnTo>
                    <a:pt x="51729" y="20729"/>
                  </a:lnTo>
                  <a:lnTo>
                    <a:pt x="65548" y="20729"/>
                  </a:lnTo>
                  <a:lnTo>
                    <a:pt x="75912" y="17274"/>
                  </a:lnTo>
                  <a:lnTo>
                    <a:pt x="89732" y="10365"/>
                  </a:lnTo>
                  <a:lnTo>
                    <a:pt x="107006" y="3455"/>
                  </a:lnTo>
                  <a:lnTo>
                    <a:pt x="124280" y="0"/>
                  </a:lnTo>
                  <a:lnTo>
                    <a:pt x="141554" y="3455"/>
                  </a:lnTo>
                  <a:lnTo>
                    <a:pt x="151918" y="10365"/>
                  </a:lnTo>
                  <a:lnTo>
                    <a:pt x="162283" y="17274"/>
                  </a:lnTo>
                  <a:lnTo>
                    <a:pt x="169192" y="27639"/>
                  </a:lnTo>
                  <a:lnTo>
                    <a:pt x="176009" y="34548"/>
                  </a:lnTo>
                  <a:lnTo>
                    <a:pt x="172647" y="44912"/>
                  </a:lnTo>
                  <a:lnTo>
                    <a:pt x="162283" y="51822"/>
                  </a:lnTo>
                  <a:lnTo>
                    <a:pt x="151918" y="58732"/>
                  </a:lnTo>
                  <a:close/>
                </a:path>
              </a:pathLst>
            </a:custGeom>
            <a:solidFill>
              <a:srgbClr val="CEE3BF"/>
            </a:solidFill>
            <a:ln w="9334" cap="flat">
              <a:noFill/>
              <a:prstDash val="solid"/>
              <a:miter/>
            </a:ln>
          </p:spPr>
          <p:txBody>
            <a:bodyPr rtlCol="0" anchor="ctr"/>
            <a:lstStyle/>
            <a:p>
              <a:endParaRPr lang="en-GB" dirty="0"/>
            </a:p>
          </p:txBody>
        </p:sp>
        <p:sp>
          <p:nvSpPr>
            <p:cNvPr id="1130" name="Freeform: Shape 1129">
              <a:extLst>
                <a:ext uri="{FF2B5EF4-FFF2-40B4-BE49-F238E27FC236}">
                  <a16:creationId xmlns:a16="http://schemas.microsoft.com/office/drawing/2014/main" id="{A7E69930-3954-40FE-A2A3-9581124D5095}"/>
                </a:ext>
              </a:extLst>
            </p:cNvPr>
            <p:cNvSpPr/>
            <p:nvPr/>
          </p:nvSpPr>
          <p:spPr>
            <a:xfrm>
              <a:off x="3513227" y="3879785"/>
              <a:ext cx="286562" cy="96827"/>
            </a:xfrm>
            <a:custGeom>
              <a:avLst/>
              <a:gdLst>
                <a:gd name="connsiteX0" fmla="*/ 255469 w 286562"/>
                <a:gd name="connsiteY0" fmla="*/ 96828 h 96827"/>
                <a:gd name="connsiteX1" fmla="*/ 241650 w 286562"/>
                <a:gd name="connsiteY1" fmla="*/ 89918 h 96827"/>
                <a:gd name="connsiteX2" fmla="*/ 224376 w 286562"/>
                <a:gd name="connsiteY2" fmla="*/ 89918 h 96827"/>
                <a:gd name="connsiteX3" fmla="*/ 214012 w 286562"/>
                <a:gd name="connsiteY3" fmla="*/ 96828 h 96827"/>
                <a:gd name="connsiteX4" fmla="*/ 200286 w 286562"/>
                <a:gd name="connsiteY4" fmla="*/ 93373 h 96827"/>
                <a:gd name="connsiteX5" fmla="*/ 203740 w 286562"/>
                <a:gd name="connsiteY5" fmla="*/ 79554 h 96827"/>
                <a:gd name="connsiteX6" fmla="*/ 200286 w 286562"/>
                <a:gd name="connsiteY6" fmla="*/ 69189 h 96827"/>
                <a:gd name="connsiteX7" fmla="*/ 179557 w 286562"/>
                <a:gd name="connsiteY7" fmla="*/ 69189 h 96827"/>
                <a:gd name="connsiteX8" fmla="*/ 172647 w 286562"/>
                <a:gd name="connsiteY8" fmla="*/ 55370 h 96827"/>
                <a:gd name="connsiteX9" fmla="*/ 162283 w 286562"/>
                <a:gd name="connsiteY9" fmla="*/ 51915 h 96827"/>
                <a:gd name="connsiteX10" fmla="*/ 138099 w 286562"/>
                <a:gd name="connsiteY10" fmla="*/ 45006 h 96827"/>
                <a:gd name="connsiteX11" fmla="*/ 131190 w 286562"/>
                <a:gd name="connsiteY11" fmla="*/ 38096 h 96827"/>
                <a:gd name="connsiteX12" fmla="*/ 107006 w 286562"/>
                <a:gd name="connsiteY12" fmla="*/ 31187 h 96827"/>
                <a:gd name="connsiteX13" fmla="*/ 82822 w 286562"/>
                <a:gd name="connsiteY13" fmla="*/ 27732 h 96827"/>
                <a:gd name="connsiteX14" fmla="*/ 76006 w 286562"/>
                <a:gd name="connsiteY14" fmla="*/ 20729 h 96827"/>
                <a:gd name="connsiteX15" fmla="*/ 58732 w 286562"/>
                <a:gd name="connsiteY15" fmla="*/ 17274 h 96827"/>
                <a:gd name="connsiteX16" fmla="*/ 48367 w 286562"/>
                <a:gd name="connsiteY16" fmla="*/ 24277 h 96827"/>
                <a:gd name="connsiteX17" fmla="*/ 34548 w 286562"/>
                <a:gd name="connsiteY17" fmla="*/ 31187 h 96827"/>
                <a:gd name="connsiteX18" fmla="*/ 20729 w 286562"/>
                <a:gd name="connsiteY18" fmla="*/ 38096 h 96827"/>
                <a:gd name="connsiteX19" fmla="*/ 0 w 286562"/>
                <a:gd name="connsiteY19" fmla="*/ 38096 h 96827"/>
                <a:gd name="connsiteX20" fmla="*/ 3455 w 286562"/>
                <a:gd name="connsiteY20" fmla="*/ 27732 h 96827"/>
                <a:gd name="connsiteX21" fmla="*/ 17274 w 286562"/>
                <a:gd name="connsiteY21" fmla="*/ 10364 h 96827"/>
                <a:gd name="connsiteX22" fmla="*/ 44913 w 286562"/>
                <a:gd name="connsiteY22" fmla="*/ 3455 h 96827"/>
                <a:gd name="connsiteX23" fmla="*/ 69096 w 286562"/>
                <a:gd name="connsiteY23" fmla="*/ 0 h 96827"/>
                <a:gd name="connsiteX24" fmla="*/ 100096 w 286562"/>
                <a:gd name="connsiteY24" fmla="*/ 0 h 96827"/>
                <a:gd name="connsiteX25" fmla="*/ 127735 w 286562"/>
                <a:gd name="connsiteY25" fmla="*/ 6910 h 96827"/>
                <a:gd name="connsiteX26" fmla="*/ 151918 w 286562"/>
                <a:gd name="connsiteY26" fmla="*/ 17274 h 96827"/>
                <a:gd name="connsiteX27" fmla="*/ 179557 w 286562"/>
                <a:gd name="connsiteY27" fmla="*/ 24277 h 96827"/>
                <a:gd name="connsiteX28" fmla="*/ 189921 w 286562"/>
                <a:gd name="connsiteY28" fmla="*/ 34641 h 96827"/>
                <a:gd name="connsiteX29" fmla="*/ 200286 w 286562"/>
                <a:gd name="connsiteY29" fmla="*/ 41551 h 96827"/>
                <a:gd name="connsiteX30" fmla="*/ 224376 w 286562"/>
                <a:gd name="connsiteY30" fmla="*/ 51915 h 96827"/>
                <a:gd name="connsiteX31" fmla="*/ 245105 w 286562"/>
                <a:gd name="connsiteY31" fmla="*/ 58825 h 96827"/>
                <a:gd name="connsiteX32" fmla="*/ 265834 w 286562"/>
                <a:gd name="connsiteY32" fmla="*/ 69189 h 96827"/>
                <a:gd name="connsiteX33" fmla="*/ 286562 w 286562"/>
                <a:gd name="connsiteY33" fmla="*/ 79554 h 96827"/>
                <a:gd name="connsiteX34" fmla="*/ 276198 w 286562"/>
                <a:gd name="connsiteY34" fmla="*/ 86463 h 96827"/>
                <a:gd name="connsiteX35" fmla="*/ 262379 w 286562"/>
                <a:gd name="connsiteY35" fmla="*/ 89918 h 96827"/>
                <a:gd name="connsiteX36" fmla="*/ 258924 w 286562"/>
                <a:gd name="connsiteY36" fmla="*/ 96828 h 96827"/>
                <a:gd name="connsiteX37" fmla="*/ 255469 w 286562"/>
                <a:gd name="connsiteY37" fmla="*/ 96828 h 9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6562" h="96827">
                  <a:moveTo>
                    <a:pt x="255469" y="96828"/>
                  </a:moveTo>
                  <a:lnTo>
                    <a:pt x="241650" y="89918"/>
                  </a:lnTo>
                  <a:lnTo>
                    <a:pt x="224376" y="89918"/>
                  </a:lnTo>
                  <a:lnTo>
                    <a:pt x="214012" y="96828"/>
                  </a:lnTo>
                  <a:lnTo>
                    <a:pt x="200286" y="93373"/>
                  </a:lnTo>
                  <a:lnTo>
                    <a:pt x="203740" y="79554"/>
                  </a:lnTo>
                  <a:lnTo>
                    <a:pt x="200286" y="69189"/>
                  </a:lnTo>
                  <a:lnTo>
                    <a:pt x="179557" y="69189"/>
                  </a:lnTo>
                  <a:lnTo>
                    <a:pt x="172647" y="55370"/>
                  </a:lnTo>
                  <a:lnTo>
                    <a:pt x="162283" y="51915"/>
                  </a:lnTo>
                  <a:lnTo>
                    <a:pt x="138099" y="45006"/>
                  </a:lnTo>
                  <a:lnTo>
                    <a:pt x="131190" y="38096"/>
                  </a:lnTo>
                  <a:lnTo>
                    <a:pt x="107006" y="31187"/>
                  </a:lnTo>
                  <a:lnTo>
                    <a:pt x="82822" y="27732"/>
                  </a:lnTo>
                  <a:lnTo>
                    <a:pt x="76006" y="20729"/>
                  </a:lnTo>
                  <a:lnTo>
                    <a:pt x="58732" y="17274"/>
                  </a:lnTo>
                  <a:lnTo>
                    <a:pt x="48367" y="24277"/>
                  </a:lnTo>
                  <a:lnTo>
                    <a:pt x="34548" y="31187"/>
                  </a:lnTo>
                  <a:lnTo>
                    <a:pt x="20729" y="38096"/>
                  </a:lnTo>
                  <a:lnTo>
                    <a:pt x="0" y="38096"/>
                  </a:lnTo>
                  <a:lnTo>
                    <a:pt x="3455" y="27732"/>
                  </a:lnTo>
                  <a:lnTo>
                    <a:pt x="17274" y="10364"/>
                  </a:lnTo>
                  <a:lnTo>
                    <a:pt x="44913" y="3455"/>
                  </a:lnTo>
                  <a:lnTo>
                    <a:pt x="69096" y="0"/>
                  </a:lnTo>
                  <a:lnTo>
                    <a:pt x="100096" y="0"/>
                  </a:lnTo>
                  <a:lnTo>
                    <a:pt x="127735" y="6910"/>
                  </a:lnTo>
                  <a:lnTo>
                    <a:pt x="151918" y="17274"/>
                  </a:lnTo>
                  <a:lnTo>
                    <a:pt x="179557" y="24277"/>
                  </a:lnTo>
                  <a:lnTo>
                    <a:pt x="189921" y="34641"/>
                  </a:lnTo>
                  <a:lnTo>
                    <a:pt x="200286" y="41551"/>
                  </a:lnTo>
                  <a:lnTo>
                    <a:pt x="224376" y="51915"/>
                  </a:lnTo>
                  <a:lnTo>
                    <a:pt x="245105" y="58825"/>
                  </a:lnTo>
                  <a:lnTo>
                    <a:pt x="265834" y="69189"/>
                  </a:lnTo>
                  <a:lnTo>
                    <a:pt x="286562" y="79554"/>
                  </a:lnTo>
                  <a:lnTo>
                    <a:pt x="276198" y="86463"/>
                  </a:lnTo>
                  <a:lnTo>
                    <a:pt x="262379" y="89918"/>
                  </a:lnTo>
                  <a:lnTo>
                    <a:pt x="258924" y="96828"/>
                  </a:lnTo>
                  <a:lnTo>
                    <a:pt x="255469" y="96828"/>
                  </a:lnTo>
                  <a:close/>
                </a:path>
              </a:pathLst>
            </a:custGeom>
            <a:solidFill>
              <a:srgbClr val="CEE3BF"/>
            </a:solidFill>
            <a:ln w="9334" cap="flat">
              <a:noFill/>
              <a:prstDash val="solid"/>
              <a:miter/>
            </a:ln>
          </p:spPr>
          <p:txBody>
            <a:bodyPr rtlCol="0" anchor="ctr"/>
            <a:lstStyle/>
            <a:p>
              <a:endParaRPr lang="en-GB" dirty="0"/>
            </a:p>
          </p:txBody>
        </p:sp>
        <p:sp>
          <p:nvSpPr>
            <p:cNvPr id="1131" name="Freeform: Shape 1130">
              <a:extLst>
                <a:ext uri="{FF2B5EF4-FFF2-40B4-BE49-F238E27FC236}">
                  <a16:creationId xmlns:a16="http://schemas.microsoft.com/office/drawing/2014/main" id="{B2DE6B0B-57A9-4532-8863-AD7C0D05BD99}"/>
                </a:ext>
              </a:extLst>
            </p:cNvPr>
            <p:cNvSpPr/>
            <p:nvPr/>
          </p:nvSpPr>
          <p:spPr>
            <a:xfrm>
              <a:off x="3513227" y="3879785"/>
              <a:ext cx="286562" cy="96827"/>
            </a:xfrm>
            <a:custGeom>
              <a:avLst/>
              <a:gdLst>
                <a:gd name="connsiteX0" fmla="*/ 255469 w 286562"/>
                <a:gd name="connsiteY0" fmla="*/ 96828 h 96827"/>
                <a:gd name="connsiteX1" fmla="*/ 241650 w 286562"/>
                <a:gd name="connsiteY1" fmla="*/ 89918 h 96827"/>
                <a:gd name="connsiteX2" fmla="*/ 224376 w 286562"/>
                <a:gd name="connsiteY2" fmla="*/ 89918 h 96827"/>
                <a:gd name="connsiteX3" fmla="*/ 214012 w 286562"/>
                <a:gd name="connsiteY3" fmla="*/ 96828 h 96827"/>
                <a:gd name="connsiteX4" fmla="*/ 200286 w 286562"/>
                <a:gd name="connsiteY4" fmla="*/ 93373 h 96827"/>
                <a:gd name="connsiteX5" fmla="*/ 203740 w 286562"/>
                <a:gd name="connsiteY5" fmla="*/ 79554 h 96827"/>
                <a:gd name="connsiteX6" fmla="*/ 200286 w 286562"/>
                <a:gd name="connsiteY6" fmla="*/ 69189 h 96827"/>
                <a:gd name="connsiteX7" fmla="*/ 179557 w 286562"/>
                <a:gd name="connsiteY7" fmla="*/ 69189 h 96827"/>
                <a:gd name="connsiteX8" fmla="*/ 172647 w 286562"/>
                <a:gd name="connsiteY8" fmla="*/ 55370 h 96827"/>
                <a:gd name="connsiteX9" fmla="*/ 162283 w 286562"/>
                <a:gd name="connsiteY9" fmla="*/ 51915 h 96827"/>
                <a:gd name="connsiteX10" fmla="*/ 138099 w 286562"/>
                <a:gd name="connsiteY10" fmla="*/ 45006 h 96827"/>
                <a:gd name="connsiteX11" fmla="*/ 131190 w 286562"/>
                <a:gd name="connsiteY11" fmla="*/ 38096 h 96827"/>
                <a:gd name="connsiteX12" fmla="*/ 107006 w 286562"/>
                <a:gd name="connsiteY12" fmla="*/ 31187 h 96827"/>
                <a:gd name="connsiteX13" fmla="*/ 82822 w 286562"/>
                <a:gd name="connsiteY13" fmla="*/ 27732 h 96827"/>
                <a:gd name="connsiteX14" fmla="*/ 76006 w 286562"/>
                <a:gd name="connsiteY14" fmla="*/ 20729 h 96827"/>
                <a:gd name="connsiteX15" fmla="*/ 58732 w 286562"/>
                <a:gd name="connsiteY15" fmla="*/ 17274 h 96827"/>
                <a:gd name="connsiteX16" fmla="*/ 48367 w 286562"/>
                <a:gd name="connsiteY16" fmla="*/ 24277 h 96827"/>
                <a:gd name="connsiteX17" fmla="*/ 34548 w 286562"/>
                <a:gd name="connsiteY17" fmla="*/ 31187 h 96827"/>
                <a:gd name="connsiteX18" fmla="*/ 20729 w 286562"/>
                <a:gd name="connsiteY18" fmla="*/ 38096 h 96827"/>
                <a:gd name="connsiteX19" fmla="*/ 0 w 286562"/>
                <a:gd name="connsiteY19" fmla="*/ 38096 h 96827"/>
                <a:gd name="connsiteX20" fmla="*/ 3455 w 286562"/>
                <a:gd name="connsiteY20" fmla="*/ 27732 h 96827"/>
                <a:gd name="connsiteX21" fmla="*/ 17274 w 286562"/>
                <a:gd name="connsiteY21" fmla="*/ 10364 h 96827"/>
                <a:gd name="connsiteX22" fmla="*/ 44913 w 286562"/>
                <a:gd name="connsiteY22" fmla="*/ 3455 h 96827"/>
                <a:gd name="connsiteX23" fmla="*/ 69096 w 286562"/>
                <a:gd name="connsiteY23" fmla="*/ 0 h 96827"/>
                <a:gd name="connsiteX24" fmla="*/ 100096 w 286562"/>
                <a:gd name="connsiteY24" fmla="*/ 0 h 96827"/>
                <a:gd name="connsiteX25" fmla="*/ 127735 w 286562"/>
                <a:gd name="connsiteY25" fmla="*/ 6910 h 96827"/>
                <a:gd name="connsiteX26" fmla="*/ 151918 w 286562"/>
                <a:gd name="connsiteY26" fmla="*/ 17274 h 96827"/>
                <a:gd name="connsiteX27" fmla="*/ 179557 w 286562"/>
                <a:gd name="connsiteY27" fmla="*/ 24277 h 96827"/>
                <a:gd name="connsiteX28" fmla="*/ 189921 w 286562"/>
                <a:gd name="connsiteY28" fmla="*/ 34641 h 96827"/>
                <a:gd name="connsiteX29" fmla="*/ 200286 w 286562"/>
                <a:gd name="connsiteY29" fmla="*/ 41551 h 96827"/>
                <a:gd name="connsiteX30" fmla="*/ 224376 w 286562"/>
                <a:gd name="connsiteY30" fmla="*/ 51915 h 96827"/>
                <a:gd name="connsiteX31" fmla="*/ 245105 w 286562"/>
                <a:gd name="connsiteY31" fmla="*/ 58825 h 96827"/>
                <a:gd name="connsiteX32" fmla="*/ 265834 w 286562"/>
                <a:gd name="connsiteY32" fmla="*/ 69189 h 96827"/>
                <a:gd name="connsiteX33" fmla="*/ 286562 w 286562"/>
                <a:gd name="connsiteY33" fmla="*/ 79554 h 96827"/>
                <a:gd name="connsiteX34" fmla="*/ 276198 w 286562"/>
                <a:gd name="connsiteY34" fmla="*/ 86463 h 96827"/>
                <a:gd name="connsiteX35" fmla="*/ 262379 w 286562"/>
                <a:gd name="connsiteY35" fmla="*/ 89918 h 96827"/>
                <a:gd name="connsiteX36" fmla="*/ 258924 w 286562"/>
                <a:gd name="connsiteY36" fmla="*/ 96828 h 96827"/>
                <a:gd name="connsiteX37" fmla="*/ 255469 w 286562"/>
                <a:gd name="connsiteY37" fmla="*/ 96828 h 9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6562" h="96827">
                  <a:moveTo>
                    <a:pt x="255469" y="96828"/>
                  </a:moveTo>
                  <a:lnTo>
                    <a:pt x="241650" y="89918"/>
                  </a:lnTo>
                  <a:lnTo>
                    <a:pt x="224376" y="89918"/>
                  </a:lnTo>
                  <a:lnTo>
                    <a:pt x="214012" y="96828"/>
                  </a:lnTo>
                  <a:lnTo>
                    <a:pt x="200286" y="93373"/>
                  </a:lnTo>
                  <a:lnTo>
                    <a:pt x="203740" y="79554"/>
                  </a:lnTo>
                  <a:lnTo>
                    <a:pt x="200286" y="69189"/>
                  </a:lnTo>
                  <a:lnTo>
                    <a:pt x="179557" y="69189"/>
                  </a:lnTo>
                  <a:lnTo>
                    <a:pt x="172647" y="55370"/>
                  </a:lnTo>
                  <a:lnTo>
                    <a:pt x="162283" y="51915"/>
                  </a:lnTo>
                  <a:lnTo>
                    <a:pt x="138099" y="45006"/>
                  </a:lnTo>
                  <a:lnTo>
                    <a:pt x="131190" y="38096"/>
                  </a:lnTo>
                  <a:lnTo>
                    <a:pt x="107006" y="31187"/>
                  </a:lnTo>
                  <a:lnTo>
                    <a:pt x="82822" y="27732"/>
                  </a:lnTo>
                  <a:lnTo>
                    <a:pt x="76006" y="20729"/>
                  </a:lnTo>
                  <a:lnTo>
                    <a:pt x="58732" y="17274"/>
                  </a:lnTo>
                  <a:lnTo>
                    <a:pt x="48367" y="24277"/>
                  </a:lnTo>
                  <a:lnTo>
                    <a:pt x="34548" y="31187"/>
                  </a:lnTo>
                  <a:lnTo>
                    <a:pt x="20729" y="38096"/>
                  </a:lnTo>
                  <a:lnTo>
                    <a:pt x="0" y="38096"/>
                  </a:lnTo>
                  <a:lnTo>
                    <a:pt x="3455" y="27732"/>
                  </a:lnTo>
                  <a:lnTo>
                    <a:pt x="17274" y="10364"/>
                  </a:lnTo>
                  <a:lnTo>
                    <a:pt x="44913" y="3455"/>
                  </a:lnTo>
                  <a:lnTo>
                    <a:pt x="69096" y="0"/>
                  </a:lnTo>
                  <a:lnTo>
                    <a:pt x="100096" y="0"/>
                  </a:lnTo>
                  <a:lnTo>
                    <a:pt x="127735" y="6910"/>
                  </a:lnTo>
                  <a:lnTo>
                    <a:pt x="151918" y="17274"/>
                  </a:lnTo>
                  <a:lnTo>
                    <a:pt x="179557" y="24277"/>
                  </a:lnTo>
                  <a:lnTo>
                    <a:pt x="189921" y="34641"/>
                  </a:lnTo>
                  <a:lnTo>
                    <a:pt x="200286" y="41551"/>
                  </a:lnTo>
                  <a:lnTo>
                    <a:pt x="224376" y="51915"/>
                  </a:lnTo>
                  <a:lnTo>
                    <a:pt x="245105" y="58825"/>
                  </a:lnTo>
                  <a:lnTo>
                    <a:pt x="265834" y="69189"/>
                  </a:lnTo>
                  <a:lnTo>
                    <a:pt x="286562" y="79554"/>
                  </a:lnTo>
                  <a:lnTo>
                    <a:pt x="276198" y="86463"/>
                  </a:lnTo>
                  <a:lnTo>
                    <a:pt x="262379" y="89918"/>
                  </a:lnTo>
                  <a:lnTo>
                    <a:pt x="258924" y="96828"/>
                  </a:lnTo>
                  <a:lnTo>
                    <a:pt x="255469" y="96828"/>
                  </a:lnTo>
                  <a:close/>
                </a:path>
              </a:pathLst>
            </a:custGeom>
            <a:solidFill>
              <a:srgbClr val="CEE3BF"/>
            </a:solidFill>
            <a:ln w="9334" cap="flat">
              <a:noFill/>
              <a:prstDash val="solid"/>
              <a:miter/>
            </a:ln>
          </p:spPr>
          <p:txBody>
            <a:bodyPr rtlCol="0" anchor="ctr"/>
            <a:lstStyle/>
            <a:p>
              <a:endParaRPr lang="en-GB" dirty="0"/>
            </a:p>
          </p:txBody>
        </p:sp>
        <p:sp>
          <p:nvSpPr>
            <p:cNvPr id="1132" name="Freeform: Shape 1131">
              <a:extLst>
                <a:ext uri="{FF2B5EF4-FFF2-40B4-BE49-F238E27FC236}">
                  <a16:creationId xmlns:a16="http://schemas.microsoft.com/office/drawing/2014/main" id="{24D0F1AA-606E-412B-9304-A6938E7A3780}"/>
                </a:ext>
              </a:extLst>
            </p:cNvPr>
            <p:cNvSpPr/>
            <p:nvPr/>
          </p:nvSpPr>
          <p:spPr>
            <a:xfrm>
              <a:off x="3799789" y="3969703"/>
              <a:ext cx="75912" cy="51822"/>
            </a:xfrm>
            <a:custGeom>
              <a:avLst/>
              <a:gdLst>
                <a:gd name="connsiteX0" fmla="*/ 0 w 75912"/>
                <a:gd name="connsiteY0" fmla="*/ 48368 h 51822"/>
                <a:gd name="connsiteX1" fmla="*/ 27638 w 75912"/>
                <a:gd name="connsiteY1" fmla="*/ 51822 h 51822"/>
                <a:gd name="connsiteX2" fmla="*/ 55277 w 75912"/>
                <a:gd name="connsiteY2" fmla="*/ 51822 h 51822"/>
                <a:gd name="connsiteX3" fmla="*/ 69003 w 75912"/>
                <a:gd name="connsiteY3" fmla="*/ 51822 h 51822"/>
                <a:gd name="connsiteX4" fmla="*/ 69003 w 75912"/>
                <a:gd name="connsiteY4" fmla="*/ 41458 h 51822"/>
                <a:gd name="connsiteX5" fmla="*/ 62093 w 75912"/>
                <a:gd name="connsiteY5" fmla="*/ 34548 h 51822"/>
                <a:gd name="connsiteX6" fmla="*/ 72458 w 75912"/>
                <a:gd name="connsiteY6" fmla="*/ 31093 h 51822"/>
                <a:gd name="connsiteX7" fmla="*/ 75912 w 75912"/>
                <a:gd name="connsiteY7" fmla="*/ 24184 h 51822"/>
                <a:gd name="connsiteX8" fmla="*/ 72458 w 75912"/>
                <a:gd name="connsiteY8" fmla="*/ 6910 h 51822"/>
                <a:gd name="connsiteX9" fmla="*/ 55277 w 75912"/>
                <a:gd name="connsiteY9" fmla="*/ 3455 h 51822"/>
                <a:gd name="connsiteX10" fmla="*/ 41458 w 75912"/>
                <a:gd name="connsiteY10" fmla="*/ 0 h 51822"/>
                <a:gd name="connsiteX11" fmla="*/ 27638 w 75912"/>
                <a:gd name="connsiteY11" fmla="*/ 3455 h 51822"/>
                <a:gd name="connsiteX12" fmla="*/ 38003 w 75912"/>
                <a:gd name="connsiteY12" fmla="*/ 10365 h 51822"/>
                <a:gd name="connsiteX13" fmla="*/ 48367 w 75912"/>
                <a:gd name="connsiteY13" fmla="*/ 24184 h 51822"/>
                <a:gd name="connsiteX14" fmla="*/ 48367 w 75912"/>
                <a:gd name="connsiteY14" fmla="*/ 34548 h 51822"/>
                <a:gd name="connsiteX15" fmla="*/ 34548 w 75912"/>
                <a:gd name="connsiteY15" fmla="*/ 34548 h 51822"/>
                <a:gd name="connsiteX16" fmla="*/ 24184 w 75912"/>
                <a:gd name="connsiteY16" fmla="*/ 31093 h 51822"/>
                <a:gd name="connsiteX17" fmla="*/ 10365 w 75912"/>
                <a:gd name="connsiteY17" fmla="*/ 34548 h 51822"/>
                <a:gd name="connsiteX18" fmla="*/ 0 w 75912"/>
                <a:gd name="connsiteY18" fmla="*/ 34548 h 51822"/>
                <a:gd name="connsiteX19" fmla="*/ 0 w 75912"/>
                <a:gd name="connsiteY19" fmla="*/ 48368 h 5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912" h="51822">
                  <a:moveTo>
                    <a:pt x="0" y="48368"/>
                  </a:moveTo>
                  <a:lnTo>
                    <a:pt x="27638" y="51822"/>
                  </a:lnTo>
                  <a:lnTo>
                    <a:pt x="55277" y="51822"/>
                  </a:lnTo>
                  <a:lnTo>
                    <a:pt x="69003" y="51822"/>
                  </a:lnTo>
                  <a:lnTo>
                    <a:pt x="69003" y="41458"/>
                  </a:lnTo>
                  <a:lnTo>
                    <a:pt x="62093" y="34548"/>
                  </a:lnTo>
                  <a:lnTo>
                    <a:pt x="72458" y="31093"/>
                  </a:lnTo>
                  <a:lnTo>
                    <a:pt x="75912" y="24184"/>
                  </a:lnTo>
                  <a:lnTo>
                    <a:pt x="72458" y="6910"/>
                  </a:lnTo>
                  <a:lnTo>
                    <a:pt x="55277" y="3455"/>
                  </a:lnTo>
                  <a:lnTo>
                    <a:pt x="41458" y="0"/>
                  </a:lnTo>
                  <a:lnTo>
                    <a:pt x="27638" y="3455"/>
                  </a:lnTo>
                  <a:lnTo>
                    <a:pt x="38003" y="10365"/>
                  </a:lnTo>
                  <a:lnTo>
                    <a:pt x="48367" y="24184"/>
                  </a:lnTo>
                  <a:lnTo>
                    <a:pt x="48367" y="34548"/>
                  </a:lnTo>
                  <a:lnTo>
                    <a:pt x="34548" y="34548"/>
                  </a:lnTo>
                  <a:lnTo>
                    <a:pt x="24184" y="31093"/>
                  </a:lnTo>
                  <a:lnTo>
                    <a:pt x="10365" y="34548"/>
                  </a:lnTo>
                  <a:lnTo>
                    <a:pt x="0" y="34548"/>
                  </a:lnTo>
                  <a:lnTo>
                    <a:pt x="0" y="48368"/>
                  </a:lnTo>
                  <a:close/>
                </a:path>
              </a:pathLst>
            </a:custGeom>
            <a:solidFill>
              <a:srgbClr val="CEE3BF"/>
            </a:solidFill>
            <a:ln w="9334" cap="flat">
              <a:noFill/>
              <a:prstDash val="solid"/>
              <a:miter/>
            </a:ln>
          </p:spPr>
          <p:txBody>
            <a:bodyPr rtlCol="0" anchor="ctr"/>
            <a:lstStyle/>
            <a:p>
              <a:endParaRPr lang="en-GB" dirty="0"/>
            </a:p>
          </p:txBody>
        </p:sp>
        <p:sp>
          <p:nvSpPr>
            <p:cNvPr id="1133" name="Freeform: Shape 1132">
              <a:extLst>
                <a:ext uri="{FF2B5EF4-FFF2-40B4-BE49-F238E27FC236}">
                  <a16:creationId xmlns:a16="http://schemas.microsoft.com/office/drawing/2014/main" id="{D4832CA7-0525-4DAA-B089-3AE7E19C2F64}"/>
                </a:ext>
              </a:extLst>
            </p:cNvPr>
            <p:cNvSpPr/>
            <p:nvPr/>
          </p:nvSpPr>
          <p:spPr>
            <a:xfrm>
              <a:off x="3799789" y="3969703"/>
              <a:ext cx="75912" cy="51822"/>
            </a:xfrm>
            <a:custGeom>
              <a:avLst/>
              <a:gdLst>
                <a:gd name="connsiteX0" fmla="*/ 0 w 75912"/>
                <a:gd name="connsiteY0" fmla="*/ 48368 h 51822"/>
                <a:gd name="connsiteX1" fmla="*/ 27638 w 75912"/>
                <a:gd name="connsiteY1" fmla="*/ 51822 h 51822"/>
                <a:gd name="connsiteX2" fmla="*/ 55277 w 75912"/>
                <a:gd name="connsiteY2" fmla="*/ 51822 h 51822"/>
                <a:gd name="connsiteX3" fmla="*/ 69003 w 75912"/>
                <a:gd name="connsiteY3" fmla="*/ 51822 h 51822"/>
                <a:gd name="connsiteX4" fmla="*/ 69003 w 75912"/>
                <a:gd name="connsiteY4" fmla="*/ 41458 h 51822"/>
                <a:gd name="connsiteX5" fmla="*/ 62187 w 75912"/>
                <a:gd name="connsiteY5" fmla="*/ 34548 h 51822"/>
                <a:gd name="connsiteX6" fmla="*/ 72458 w 75912"/>
                <a:gd name="connsiteY6" fmla="*/ 31093 h 51822"/>
                <a:gd name="connsiteX7" fmla="*/ 75912 w 75912"/>
                <a:gd name="connsiteY7" fmla="*/ 24184 h 51822"/>
                <a:gd name="connsiteX8" fmla="*/ 72458 w 75912"/>
                <a:gd name="connsiteY8" fmla="*/ 6910 h 51822"/>
                <a:gd name="connsiteX9" fmla="*/ 55277 w 75912"/>
                <a:gd name="connsiteY9" fmla="*/ 3455 h 51822"/>
                <a:gd name="connsiteX10" fmla="*/ 41458 w 75912"/>
                <a:gd name="connsiteY10" fmla="*/ 0 h 51822"/>
                <a:gd name="connsiteX11" fmla="*/ 27638 w 75912"/>
                <a:gd name="connsiteY11" fmla="*/ 3455 h 51822"/>
                <a:gd name="connsiteX12" fmla="*/ 38003 w 75912"/>
                <a:gd name="connsiteY12" fmla="*/ 10365 h 51822"/>
                <a:gd name="connsiteX13" fmla="*/ 48367 w 75912"/>
                <a:gd name="connsiteY13" fmla="*/ 24184 h 51822"/>
                <a:gd name="connsiteX14" fmla="*/ 48367 w 75912"/>
                <a:gd name="connsiteY14" fmla="*/ 34548 h 51822"/>
                <a:gd name="connsiteX15" fmla="*/ 34548 w 75912"/>
                <a:gd name="connsiteY15" fmla="*/ 34548 h 51822"/>
                <a:gd name="connsiteX16" fmla="*/ 24184 w 75912"/>
                <a:gd name="connsiteY16" fmla="*/ 31093 h 51822"/>
                <a:gd name="connsiteX17" fmla="*/ 10365 w 75912"/>
                <a:gd name="connsiteY17" fmla="*/ 34548 h 51822"/>
                <a:gd name="connsiteX18" fmla="*/ 0 w 75912"/>
                <a:gd name="connsiteY18" fmla="*/ 34548 h 51822"/>
                <a:gd name="connsiteX19" fmla="*/ 0 w 75912"/>
                <a:gd name="connsiteY19" fmla="*/ 48368 h 5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912" h="51822">
                  <a:moveTo>
                    <a:pt x="0" y="48368"/>
                  </a:moveTo>
                  <a:lnTo>
                    <a:pt x="27638" y="51822"/>
                  </a:lnTo>
                  <a:lnTo>
                    <a:pt x="55277" y="51822"/>
                  </a:lnTo>
                  <a:lnTo>
                    <a:pt x="69003" y="51822"/>
                  </a:lnTo>
                  <a:lnTo>
                    <a:pt x="69003" y="41458"/>
                  </a:lnTo>
                  <a:lnTo>
                    <a:pt x="62187" y="34548"/>
                  </a:lnTo>
                  <a:lnTo>
                    <a:pt x="72458" y="31093"/>
                  </a:lnTo>
                  <a:lnTo>
                    <a:pt x="75912" y="24184"/>
                  </a:lnTo>
                  <a:lnTo>
                    <a:pt x="72458" y="6910"/>
                  </a:lnTo>
                  <a:lnTo>
                    <a:pt x="55277" y="3455"/>
                  </a:lnTo>
                  <a:lnTo>
                    <a:pt x="41458" y="0"/>
                  </a:lnTo>
                  <a:lnTo>
                    <a:pt x="27638" y="3455"/>
                  </a:lnTo>
                  <a:lnTo>
                    <a:pt x="38003" y="10365"/>
                  </a:lnTo>
                  <a:lnTo>
                    <a:pt x="48367" y="24184"/>
                  </a:lnTo>
                  <a:lnTo>
                    <a:pt x="48367" y="34548"/>
                  </a:lnTo>
                  <a:lnTo>
                    <a:pt x="34548" y="34548"/>
                  </a:lnTo>
                  <a:lnTo>
                    <a:pt x="24184" y="31093"/>
                  </a:lnTo>
                  <a:lnTo>
                    <a:pt x="10365" y="34548"/>
                  </a:lnTo>
                  <a:lnTo>
                    <a:pt x="0" y="34548"/>
                  </a:lnTo>
                  <a:lnTo>
                    <a:pt x="0" y="48368"/>
                  </a:lnTo>
                  <a:close/>
                </a:path>
              </a:pathLst>
            </a:custGeom>
            <a:solidFill>
              <a:srgbClr val="CEE3BF"/>
            </a:solidFill>
            <a:ln w="9334" cap="flat">
              <a:noFill/>
              <a:prstDash val="solid"/>
              <a:miter/>
            </a:ln>
          </p:spPr>
          <p:txBody>
            <a:bodyPr rtlCol="0" anchor="ctr"/>
            <a:lstStyle/>
            <a:p>
              <a:endParaRPr lang="en-GB" dirty="0"/>
            </a:p>
          </p:txBody>
        </p:sp>
        <p:sp>
          <p:nvSpPr>
            <p:cNvPr id="1134" name="Freeform: Shape 1133">
              <a:extLst>
                <a:ext uri="{FF2B5EF4-FFF2-40B4-BE49-F238E27FC236}">
                  <a16:creationId xmlns:a16="http://schemas.microsoft.com/office/drawing/2014/main" id="{844B0DD1-9EFE-4588-9E04-84A0C0A7CBE4}"/>
                </a:ext>
              </a:extLst>
            </p:cNvPr>
            <p:cNvSpPr/>
            <p:nvPr/>
          </p:nvSpPr>
          <p:spPr>
            <a:xfrm>
              <a:off x="3692783" y="4007706"/>
              <a:ext cx="55183" cy="31093"/>
            </a:xfrm>
            <a:custGeom>
              <a:avLst/>
              <a:gdLst>
                <a:gd name="connsiteX0" fmla="*/ 0 w 55183"/>
                <a:gd name="connsiteY0" fmla="*/ 10365 h 31093"/>
                <a:gd name="connsiteX1" fmla="*/ 10364 w 55183"/>
                <a:gd name="connsiteY1" fmla="*/ 0 h 31093"/>
                <a:gd name="connsiteX2" fmla="*/ 24184 w 55183"/>
                <a:gd name="connsiteY2" fmla="*/ 0 h 31093"/>
                <a:gd name="connsiteX3" fmla="*/ 34455 w 55183"/>
                <a:gd name="connsiteY3" fmla="*/ 3455 h 31093"/>
                <a:gd name="connsiteX4" fmla="*/ 48274 w 55183"/>
                <a:gd name="connsiteY4" fmla="*/ 10365 h 31093"/>
                <a:gd name="connsiteX5" fmla="*/ 55184 w 55183"/>
                <a:gd name="connsiteY5" fmla="*/ 17274 h 31093"/>
                <a:gd name="connsiteX6" fmla="*/ 41364 w 55183"/>
                <a:gd name="connsiteY6" fmla="*/ 24184 h 31093"/>
                <a:gd name="connsiteX7" fmla="*/ 31093 w 55183"/>
                <a:gd name="connsiteY7" fmla="*/ 24184 h 31093"/>
                <a:gd name="connsiteX8" fmla="*/ 24184 w 55183"/>
                <a:gd name="connsiteY8" fmla="*/ 31093 h 31093"/>
                <a:gd name="connsiteX9" fmla="*/ 17274 w 55183"/>
                <a:gd name="connsiteY9" fmla="*/ 20729 h 31093"/>
                <a:gd name="connsiteX10" fmla="*/ 10364 w 55183"/>
                <a:gd name="connsiteY10" fmla="*/ 13819 h 31093"/>
                <a:gd name="connsiteX11" fmla="*/ 0 w 55183"/>
                <a:gd name="connsiteY11" fmla="*/ 10365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183" h="31093">
                  <a:moveTo>
                    <a:pt x="0" y="10365"/>
                  </a:moveTo>
                  <a:lnTo>
                    <a:pt x="10364" y="0"/>
                  </a:lnTo>
                  <a:lnTo>
                    <a:pt x="24184" y="0"/>
                  </a:lnTo>
                  <a:lnTo>
                    <a:pt x="34455" y="3455"/>
                  </a:lnTo>
                  <a:lnTo>
                    <a:pt x="48274" y="10365"/>
                  </a:lnTo>
                  <a:lnTo>
                    <a:pt x="55184" y="17274"/>
                  </a:lnTo>
                  <a:lnTo>
                    <a:pt x="41364" y="24184"/>
                  </a:lnTo>
                  <a:lnTo>
                    <a:pt x="31093" y="24184"/>
                  </a:lnTo>
                  <a:lnTo>
                    <a:pt x="24184" y="31093"/>
                  </a:lnTo>
                  <a:lnTo>
                    <a:pt x="17274" y="20729"/>
                  </a:lnTo>
                  <a:lnTo>
                    <a:pt x="10364" y="13819"/>
                  </a:lnTo>
                  <a:lnTo>
                    <a:pt x="0" y="10365"/>
                  </a:lnTo>
                  <a:close/>
                </a:path>
              </a:pathLst>
            </a:custGeom>
            <a:solidFill>
              <a:srgbClr val="CEE3BF"/>
            </a:solidFill>
            <a:ln w="9334" cap="flat">
              <a:noFill/>
              <a:prstDash val="solid"/>
              <a:miter/>
            </a:ln>
          </p:spPr>
          <p:txBody>
            <a:bodyPr rtlCol="0" anchor="ctr"/>
            <a:lstStyle/>
            <a:p>
              <a:endParaRPr lang="en-GB" dirty="0"/>
            </a:p>
          </p:txBody>
        </p:sp>
        <p:sp>
          <p:nvSpPr>
            <p:cNvPr id="1135" name="Freeform: Shape 1134">
              <a:extLst>
                <a:ext uri="{FF2B5EF4-FFF2-40B4-BE49-F238E27FC236}">
                  <a16:creationId xmlns:a16="http://schemas.microsoft.com/office/drawing/2014/main" id="{D828FB9E-F26E-4F00-A3AB-DBADBB7D7405}"/>
                </a:ext>
              </a:extLst>
            </p:cNvPr>
            <p:cNvSpPr/>
            <p:nvPr/>
          </p:nvSpPr>
          <p:spPr>
            <a:xfrm>
              <a:off x="3692783" y="4007706"/>
              <a:ext cx="55183" cy="31093"/>
            </a:xfrm>
            <a:custGeom>
              <a:avLst/>
              <a:gdLst>
                <a:gd name="connsiteX0" fmla="*/ 0 w 55183"/>
                <a:gd name="connsiteY0" fmla="*/ 10365 h 31093"/>
                <a:gd name="connsiteX1" fmla="*/ 10364 w 55183"/>
                <a:gd name="connsiteY1" fmla="*/ 0 h 31093"/>
                <a:gd name="connsiteX2" fmla="*/ 24184 w 55183"/>
                <a:gd name="connsiteY2" fmla="*/ 0 h 31093"/>
                <a:gd name="connsiteX3" fmla="*/ 34455 w 55183"/>
                <a:gd name="connsiteY3" fmla="*/ 3455 h 31093"/>
                <a:gd name="connsiteX4" fmla="*/ 48274 w 55183"/>
                <a:gd name="connsiteY4" fmla="*/ 10365 h 31093"/>
                <a:gd name="connsiteX5" fmla="*/ 55184 w 55183"/>
                <a:gd name="connsiteY5" fmla="*/ 17274 h 31093"/>
                <a:gd name="connsiteX6" fmla="*/ 41364 w 55183"/>
                <a:gd name="connsiteY6" fmla="*/ 24184 h 31093"/>
                <a:gd name="connsiteX7" fmla="*/ 31093 w 55183"/>
                <a:gd name="connsiteY7" fmla="*/ 24184 h 31093"/>
                <a:gd name="connsiteX8" fmla="*/ 24184 w 55183"/>
                <a:gd name="connsiteY8" fmla="*/ 31093 h 31093"/>
                <a:gd name="connsiteX9" fmla="*/ 17274 w 55183"/>
                <a:gd name="connsiteY9" fmla="*/ 20729 h 31093"/>
                <a:gd name="connsiteX10" fmla="*/ 10364 w 55183"/>
                <a:gd name="connsiteY10" fmla="*/ 13819 h 31093"/>
                <a:gd name="connsiteX11" fmla="*/ 0 w 55183"/>
                <a:gd name="connsiteY11" fmla="*/ 10365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183" h="31093">
                  <a:moveTo>
                    <a:pt x="0" y="10365"/>
                  </a:moveTo>
                  <a:lnTo>
                    <a:pt x="10364" y="0"/>
                  </a:lnTo>
                  <a:lnTo>
                    <a:pt x="24184" y="0"/>
                  </a:lnTo>
                  <a:lnTo>
                    <a:pt x="34455" y="3455"/>
                  </a:lnTo>
                  <a:lnTo>
                    <a:pt x="48274" y="10365"/>
                  </a:lnTo>
                  <a:lnTo>
                    <a:pt x="55184" y="17274"/>
                  </a:lnTo>
                  <a:lnTo>
                    <a:pt x="41364" y="24184"/>
                  </a:lnTo>
                  <a:lnTo>
                    <a:pt x="31093" y="24184"/>
                  </a:lnTo>
                  <a:lnTo>
                    <a:pt x="24184" y="31093"/>
                  </a:lnTo>
                  <a:lnTo>
                    <a:pt x="17274" y="20729"/>
                  </a:lnTo>
                  <a:lnTo>
                    <a:pt x="10364" y="13819"/>
                  </a:lnTo>
                  <a:lnTo>
                    <a:pt x="0" y="10365"/>
                  </a:lnTo>
                  <a:close/>
                </a:path>
              </a:pathLst>
            </a:custGeom>
            <a:solidFill>
              <a:srgbClr val="CEE3BF"/>
            </a:solidFill>
            <a:ln w="9334" cap="flat">
              <a:noFill/>
              <a:prstDash val="solid"/>
              <a:miter/>
            </a:ln>
          </p:spPr>
          <p:txBody>
            <a:bodyPr rtlCol="0" anchor="ctr"/>
            <a:lstStyle/>
            <a:p>
              <a:endParaRPr lang="en-GB" dirty="0"/>
            </a:p>
          </p:txBody>
        </p:sp>
        <p:sp>
          <p:nvSpPr>
            <p:cNvPr id="1136" name="Freeform: Shape 1135">
              <a:extLst>
                <a:ext uri="{FF2B5EF4-FFF2-40B4-BE49-F238E27FC236}">
                  <a16:creationId xmlns:a16="http://schemas.microsoft.com/office/drawing/2014/main" id="{AD8B313E-7805-476F-8FFA-0FF25B7E8C87}"/>
                </a:ext>
              </a:extLst>
            </p:cNvPr>
            <p:cNvSpPr/>
            <p:nvPr/>
          </p:nvSpPr>
          <p:spPr>
            <a:xfrm>
              <a:off x="3861882" y="3976613"/>
              <a:ext cx="100189" cy="62186"/>
            </a:xfrm>
            <a:custGeom>
              <a:avLst/>
              <a:gdLst>
                <a:gd name="connsiteX0" fmla="*/ 10365 w 100189"/>
                <a:gd name="connsiteY0" fmla="*/ 0 h 62186"/>
                <a:gd name="connsiteX1" fmla="*/ 27639 w 100189"/>
                <a:gd name="connsiteY1" fmla="*/ 3455 h 62186"/>
                <a:gd name="connsiteX2" fmla="*/ 41458 w 100189"/>
                <a:gd name="connsiteY2" fmla="*/ 3455 h 62186"/>
                <a:gd name="connsiteX3" fmla="*/ 58732 w 100189"/>
                <a:gd name="connsiteY3" fmla="*/ 6910 h 62186"/>
                <a:gd name="connsiteX4" fmla="*/ 69096 w 100189"/>
                <a:gd name="connsiteY4" fmla="*/ 10364 h 62186"/>
                <a:gd name="connsiteX5" fmla="*/ 79461 w 100189"/>
                <a:gd name="connsiteY5" fmla="*/ 17274 h 62186"/>
                <a:gd name="connsiteX6" fmla="*/ 96735 w 100189"/>
                <a:gd name="connsiteY6" fmla="*/ 27638 h 62186"/>
                <a:gd name="connsiteX7" fmla="*/ 100190 w 100189"/>
                <a:gd name="connsiteY7" fmla="*/ 34548 h 62186"/>
                <a:gd name="connsiteX8" fmla="*/ 93280 w 100189"/>
                <a:gd name="connsiteY8" fmla="*/ 41458 h 62186"/>
                <a:gd name="connsiteX9" fmla="*/ 76006 w 100189"/>
                <a:gd name="connsiteY9" fmla="*/ 38003 h 62186"/>
                <a:gd name="connsiteX10" fmla="*/ 65641 w 100189"/>
                <a:gd name="connsiteY10" fmla="*/ 38003 h 62186"/>
                <a:gd name="connsiteX11" fmla="*/ 51822 w 100189"/>
                <a:gd name="connsiteY11" fmla="*/ 41458 h 62186"/>
                <a:gd name="connsiteX12" fmla="*/ 41458 w 100189"/>
                <a:gd name="connsiteY12" fmla="*/ 41458 h 62186"/>
                <a:gd name="connsiteX13" fmla="*/ 34548 w 100189"/>
                <a:gd name="connsiteY13" fmla="*/ 34548 h 62186"/>
                <a:gd name="connsiteX14" fmla="*/ 24184 w 100189"/>
                <a:gd name="connsiteY14" fmla="*/ 38003 h 62186"/>
                <a:gd name="connsiteX15" fmla="*/ 20729 w 100189"/>
                <a:gd name="connsiteY15" fmla="*/ 48367 h 62186"/>
                <a:gd name="connsiteX16" fmla="*/ 20729 w 100189"/>
                <a:gd name="connsiteY16" fmla="*/ 58732 h 62186"/>
                <a:gd name="connsiteX17" fmla="*/ 13819 w 100189"/>
                <a:gd name="connsiteY17" fmla="*/ 62187 h 62186"/>
                <a:gd name="connsiteX18" fmla="*/ 6910 w 100189"/>
                <a:gd name="connsiteY18" fmla="*/ 51822 h 62186"/>
                <a:gd name="connsiteX19" fmla="*/ 6910 w 100189"/>
                <a:gd name="connsiteY19" fmla="*/ 44912 h 62186"/>
                <a:gd name="connsiteX20" fmla="*/ 6910 w 100189"/>
                <a:gd name="connsiteY20" fmla="*/ 34548 h 62186"/>
                <a:gd name="connsiteX21" fmla="*/ 0 w 100189"/>
                <a:gd name="connsiteY21" fmla="*/ 27638 h 62186"/>
                <a:gd name="connsiteX22" fmla="*/ 10365 w 100189"/>
                <a:gd name="connsiteY22" fmla="*/ 24184 h 62186"/>
                <a:gd name="connsiteX23" fmla="*/ 13819 w 100189"/>
                <a:gd name="connsiteY23" fmla="*/ 17274 h 62186"/>
                <a:gd name="connsiteX24" fmla="*/ 10365 w 100189"/>
                <a:gd name="connsiteY24" fmla="*/ 0 h 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189" h="62186">
                  <a:moveTo>
                    <a:pt x="10365" y="0"/>
                  </a:moveTo>
                  <a:lnTo>
                    <a:pt x="27639" y="3455"/>
                  </a:lnTo>
                  <a:lnTo>
                    <a:pt x="41458" y="3455"/>
                  </a:lnTo>
                  <a:lnTo>
                    <a:pt x="58732" y="6910"/>
                  </a:lnTo>
                  <a:lnTo>
                    <a:pt x="69096" y="10364"/>
                  </a:lnTo>
                  <a:lnTo>
                    <a:pt x="79461" y="17274"/>
                  </a:lnTo>
                  <a:lnTo>
                    <a:pt x="96735" y="27638"/>
                  </a:lnTo>
                  <a:lnTo>
                    <a:pt x="100190" y="34548"/>
                  </a:lnTo>
                  <a:lnTo>
                    <a:pt x="93280" y="41458"/>
                  </a:lnTo>
                  <a:lnTo>
                    <a:pt x="76006" y="38003"/>
                  </a:lnTo>
                  <a:lnTo>
                    <a:pt x="65641" y="38003"/>
                  </a:lnTo>
                  <a:lnTo>
                    <a:pt x="51822" y="41458"/>
                  </a:lnTo>
                  <a:lnTo>
                    <a:pt x="41458" y="41458"/>
                  </a:lnTo>
                  <a:lnTo>
                    <a:pt x="34548" y="34548"/>
                  </a:lnTo>
                  <a:lnTo>
                    <a:pt x="24184" y="38003"/>
                  </a:lnTo>
                  <a:lnTo>
                    <a:pt x="20729" y="48367"/>
                  </a:lnTo>
                  <a:lnTo>
                    <a:pt x="20729" y="58732"/>
                  </a:lnTo>
                  <a:lnTo>
                    <a:pt x="13819" y="62187"/>
                  </a:lnTo>
                  <a:lnTo>
                    <a:pt x="6910" y="51822"/>
                  </a:lnTo>
                  <a:lnTo>
                    <a:pt x="6910" y="44912"/>
                  </a:lnTo>
                  <a:lnTo>
                    <a:pt x="6910" y="34548"/>
                  </a:lnTo>
                  <a:lnTo>
                    <a:pt x="0" y="27638"/>
                  </a:lnTo>
                  <a:lnTo>
                    <a:pt x="10365" y="24184"/>
                  </a:lnTo>
                  <a:lnTo>
                    <a:pt x="13819" y="17274"/>
                  </a:lnTo>
                  <a:lnTo>
                    <a:pt x="10365" y="0"/>
                  </a:lnTo>
                  <a:close/>
                </a:path>
              </a:pathLst>
            </a:custGeom>
            <a:solidFill>
              <a:srgbClr val="CEE3BF"/>
            </a:solidFill>
            <a:ln w="9334" cap="flat">
              <a:noFill/>
              <a:prstDash val="solid"/>
              <a:miter/>
            </a:ln>
          </p:spPr>
          <p:txBody>
            <a:bodyPr rtlCol="0" anchor="ctr"/>
            <a:lstStyle/>
            <a:p>
              <a:endParaRPr lang="en-GB" dirty="0"/>
            </a:p>
          </p:txBody>
        </p:sp>
        <p:sp>
          <p:nvSpPr>
            <p:cNvPr id="1137" name="Freeform: Shape 1136">
              <a:extLst>
                <a:ext uri="{FF2B5EF4-FFF2-40B4-BE49-F238E27FC236}">
                  <a16:creationId xmlns:a16="http://schemas.microsoft.com/office/drawing/2014/main" id="{CD49F2BD-E329-4451-A197-E060C9AA048E}"/>
                </a:ext>
              </a:extLst>
            </p:cNvPr>
            <p:cNvSpPr/>
            <p:nvPr/>
          </p:nvSpPr>
          <p:spPr>
            <a:xfrm>
              <a:off x="3861882" y="3976613"/>
              <a:ext cx="100189" cy="62186"/>
            </a:xfrm>
            <a:custGeom>
              <a:avLst/>
              <a:gdLst>
                <a:gd name="connsiteX0" fmla="*/ 10365 w 100189"/>
                <a:gd name="connsiteY0" fmla="*/ 0 h 62186"/>
                <a:gd name="connsiteX1" fmla="*/ 27639 w 100189"/>
                <a:gd name="connsiteY1" fmla="*/ 3455 h 62186"/>
                <a:gd name="connsiteX2" fmla="*/ 41458 w 100189"/>
                <a:gd name="connsiteY2" fmla="*/ 3455 h 62186"/>
                <a:gd name="connsiteX3" fmla="*/ 58732 w 100189"/>
                <a:gd name="connsiteY3" fmla="*/ 6910 h 62186"/>
                <a:gd name="connsiteX4" fmla="*/ 69096 w 100189"/>
                <a:gd name="connsiteY4" fmla="*/ 10364 h 62186"/>
                <a:gd name="connsiteX5" fmla="*/ 79461 w 100189"/>
                <a:gd name="connsiteY5" fmla="*/ 17274 h 62186"/>
                <a:gd name="connsiteX6" fmla="*/ 96735 w 100189"/>
                <a:gd name="connsiteY6" fmla="*/ 27638 h 62186"/>
                <a:gd name="connsiteX7" fmla="*/ 100190 w 100189"/>
                <a:gd name="connsiteY7" fmla="*/ 34548 h 62186"/>
                <a:gd name="connsiteX8" fmla="*/ 93280 w 100189"/>
                <a:gd name="connsiteY8" fmla="*/ 41458 h 62186"/>
                <a:gd name="connsiteX9" fmla="*/ 76006 w 100189"/>
                <a:gd name="connsiteY9" fmla="*/ 38003 h 62186"/>
                <a:gd name="connsiteX10" fmla="*/ 65641 w 100189"/>
                <a:gd name="connsiteY10" fmla="*/ 38003 h 62186"/>
                <a:gd name="connsiteX11" fmla="*/ 51822 w 100189"/>
                <a:gd name="connsiteY11" fmla="*/ 41458 h 62186"/>
                <a:gd name="connsiteX12" fmla="*/ 41458 w 100189"/>
                <a:gd name="connsiteY12" fmla="*/ 41458 h 62186"/>
                <a:gd name="connsiteX13" fmla="*/ 34548 w 100189"/>
                <a:gd name="connsiteY13" fmla="*/ 34548 h 62186"/>
                <a:gd name="connsiteX14" fmla="*/ 24184 w 100189"/>
                <a:gd name="connsiteY14" fmla="*/ 38003 h 62186"/>
                <a:gd name="connsiteX15" fmla="*/ 20729 w 100189"/>
                <a:gd name="connsiteY15" fmla="*/ 48367 h 62186"/>
                <a:gd name="connsiteX16" fmla="*/ 20729 w 100189"/>
                <a:gd name="connsiteY16" fmla="*/ 58732 h 62186"/>
                <a:gd name="connsiteX17" fmla="*/ 13819 w 100189"/>
                <a:gd name="connsiteY17" fmla="*/ 62187 h 62186"/>
                <a:gd name="connsiteX18" fmla="*/ 6910 w 100189"/>
                <a:gd name="connsiteY18" fmla="*/ 51822 h 62186"/>
                <a:gd name="connsiteX19" fmla="*/ 6910 w 100189"/>
                <a:gd name="connsiteY19" fmla="*/ 44912 h 62186"/>
                <a:gd name="connsiteX20" fmla="*/ 6910 w 100189"/>
                <a:gd name="connsiteY20" fmla="*/ 34548 h 62186"/>
                <a:gd name="connsiteX21" fmla="*/ 0 w 100189"/>
                <a:gd name="connsiteY21" fmla="*/ 27638 h 62186"/>
                <a:gd name="connsiteX22" fmla="*/ 10365 w 100189"/>
                <a:gd name="connsiteY22" fmla="*/ 24184 h 62186"/>
                <a:gd name="connsiteX23" fmla="*/ 13819 w 100189"/>
                <a:gd name="connsiteY23" fmla="*/ 17274 h 62186"/>
                <a:gd name="connsiteX24" fmla="*/ 10365 w 100189"/>
                <a:gd name="connsiteY24" fmla="*/ 0 h 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189" h="62186">
                  <a:moveTo>
                    <a:pt x="10365" y="0"/>
                  </a:moveTo>
                  <a:lnTo>
                    <a:pt x="27639" y="3455"/>
                  </a:lnTo>
                  <a:lnTo>
                    <a:pt x="41458" y="3455"/>
                  </a:lnTo>
                  <a:lnTo>
                    <a:pt x="58732" y="6910"/>
                  </a:lnTo>
                  <a:lnTo>
                    <a:pt x="69096" y="10364"/>
                  </a:lnTo>
                  <a:lnTo>
                    <a:pt x="79461" y="17274"/>
                  </a:lnTo>
                  <a:lnTo>
                    <a:pt x="96735" y="27638"/>
                  </a:lnTo>
                  <a:lnTo>
                    <a:pt x="100190" y="34548"/>
                  </a:lnTo>
                  <a:lnTo>
                    <a:pt x="93280" y="41458"/>
                  </a:lnTo>
                  <a:lnTo>
                    <a:pt x="76006" y="38003"/>
                  </a:lnTo>
                  <a:lnTo>
                    <a:pt x="65641" y="38003"/>
                  </a:lnTo>
                  <a:lnTo>
                    <a:pt x="51822" y="41458"/>
                  </a:lnTo>
                  <a:lnTo>
                    <a:pt x="41458" y="41458"/>
                  </a:lnTo>
                  <a:lnTo>
                    <a:pt x="34548" y="34548"/>
                  </a:lnTo>
                  <a:lnTo>
                    <a:pt x="24184" y="38003"/>
                  </a:lnTo>
                  <a:lnTo>
                    <a:pt x="20729" y="48367"/>
                  </a:lnTo>
                  <a:lnTo>
                    <a:pt x="20729" y="58732"/>
                  </a:lnTo>
                  <a:lnTo>
                    <a:pt x="13819" y="62187"/>
                  </a:lnTo>
                  <a:lnTo>
                    <a:pt x="6910" y="51822"/>
                  </a:lnTo>
                  <a:lnTo>
                    <a:pt x="6910" y="44912"/>
                  </a:lnTo>
                  <a:lnTo>
                    <a:pt x="6910" y="34548"/>
                  </a:lnTo>
                  <a:lnTo>
                    <a:pt x="0" y="27638"/>
                  </a:lnTo>
                  <a:lnTo>
                    <a:pt x="10365" y="24184"/>
                  </a:lnTo>
                  <a:lnTo>
                    <a:pt x="13819" y="17274"/>
                  </a:lnTo>
                  <a:lnTo>
                    <a:pt x="10365" y="0"/>
                  </a:lnTo>
                  <a:close/>
                </a:path>
              </a:pathLst>
            </a:custGeom>
            <a:solidFill>
              <a:srgbClr val="CEE3BF"/>
            </a:solidFill>
            <a:ln w="9334" cap="flat">
              <a:noFill/>
              <a:prstDash val="solid"/>
              <a:miter/>
            </a:ln>
          </p:spPr>
          <p:txBody>
            <a:bodyPr rtlCol="0" anchor="ctr"/>
            <a:lstStyle/>
            <a:p>
              <a:endParaRPr lang="en-GB" dirty="0"/>
            </a:p>
          </p:txBody>
        </p:sp>
        <p:sp>
          <p:nvSpPr>
            <p:cNvPr id="1138" name="Freeform: Shape 1137">
              <a:extLst>
                <a:ext uri="{FF2B5EF4-FFF2-40B4-BE49-F238E27FC236}">
                  <a16:creationId xmlns:a16="http://schemas.microsoft.com/office/drawing/2014/main" id="{40FD687E-A84B-4834-BE63-227757D994B5}"/>
                </a:ext>
              </a:extLst>
            </p:cNvPr>
            <p:cNvSpPr/>
            <p:nvPr/>
          </p:nvSpPr>
          <p:spPr>
            <a:xfrm>
              <a:off x="3993165" y="4011161"/>
              <a:ext cx="44819" cy="17274"/>
            </a:xfrm>
            <a:custGeom>
              <a:avLst/>
              <a:gdLst>
                <a:gd name="connsiteX0" fmla="*/ 31000 w 44819"/>
                <a:gd name="connsiteY0" fmla="*/ 0 h 17274"/>
                <a:gd name="connsiteX1" fmla="*/ 13726 w 44819"/>
                <a:gd name="connsiteY1" fmla="*/ 0 h 17274"/>
                <a:gd name="connsiteX2" fmla="*/ 0 w 44819"/>
                <a:gd name="connsiteY2" fmla="*/ 6910 h 17274"/>
                <a:gd name="connsiteX3" fmla="*/ 6816 w 44819"/>
                <a:gd name="connsiteY3" fmla="*/ 17274 h 17274"/>
                <a:gd name="connsiteX4" fmla="*/ 20636 w 44819"/>
                <a:gd name="connsiteY4" fmla="*/ 17274 h 17274"/>
                <a:gd name="connsiteX5" fmla="*/ 37910 w 44819"/>
                <a:gd name="connsiteY5" fmla="*/ 17274 h 17274"/>
                <a:gd name="connsiteX6" fmla="*/ 44819 w 44819"/>
                <a:gd name="connsiteY6" fmla="*/ 13819 h 17274"/>
                <a:gd name="connsiteX7" fmla="*/ 44819 w 44819"/>
                <a:gd name="connsiteY7" fmla="*/ 6910 h 17274"/>
                <a:gd name="connsiteX8" fmla="*/ 37910 w 44819"/>
                <a:gd name="connsiteY8" fmla="*/ 0 h 17274"/>
                <a:gd name="connsiteX9" fmla="*/ 31000 w 44819"/>
                <a:gd name="connsiteY9" fmla="*/ 0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9" h="17274">
                  <a:moveTo>
                    <a:pt x="31000" y="0"/>
                  </a:moveTo>
                  <a:lnTo>
                    <a:pt x="13726" y="0"/>
                  </a:lnTo>
                  <a:lnTo>
                    <a:pt x="0" y="6910"/>
                  </a:lnTo>
                  <a:lnTo>
                    <a:pt x="6816" y="17274"/>
                  </a:lnTo>
                  <a:lnTo>
                    <a:pt x="20636" y="17274"/>
                  </a:lnTo>
                  <a:lnTo>
                    <a:pt x="37910" y="17274"/>
                  </a:lnTo>
                  <a:lnTo>
                    <a:pt x="44819" y="13819"/>
                  </a:lnTo>
                  <a:lnTo>
                    <a:pt x="44819" y="6910"/>
                  </a:lnTo>
                  <a:lnTo>
                    <a:pt x="37910" y="0"/>
                  </a:lnTo>
                  <a:lnTo>
                    <a:pt x="31000" y="0"/>
                  </a:lnTo>
                  <a:close/>
                </a:path>
              </a:pathLst>
            </a:custGeom>
            <a:solidFill>
              <a:srgbClr val="CEE3BF"/>
            </a:solidFill>
            <a:ln w="9334" cap="flat">
              <a:noFill/>
              <a:prstDash val="solid"/>
              <a:miter/>
            </a:ln>
          </p:spPr>
          <p:txBody>
            <a:bodyPr rtlCol="0" anchor="ctr"/>
            <a:lstStyle/>
            <a:p>
              <a:endParaRPr lang="en-GB" dirty="0"/>
            </a:p>
          </p:txBody>
        </p:sp>
        <p:sp>
          <p:nvSpPr>
            <p:cNvPr id="1139" name="Freeform: Shape 1138">
              <a:extLst>
                <a:ext uri="{FF2B5EF4-FFF2-40B4-BE49-F238E27FC236}">
                  <a16:creationId xmlns:a16="http://schemas.microsoft.com/office/drawing/2014/main" id="{9FB17FBC-2274-4F1D-A00F-2B235200A263}"/>
                </a:ext>
              </a:extLst>
            </p:cNvPr>
            <p:cNvSpPr/>
            <p:nvPr/>
          </p:nvSpPr>
          <p:spPr>
            <a:xfrm>
              <a:off x="3993165" y="4011161"/>
              <a:ext cx="44819" cy="17274"/>
            </a:xfrm>
            <a:custGeom>
              <a:avLst/>
              <a:gdLst>
                <a:gd name="connsiteX0" fmla="*/ 31000 w 44819"/>
                <a:gd name="connsiteY0" fmla="*/ 0 h 17274"/>
                <a:gd name="connsiteX1" fmla="*/ 13726 w 44819"/>
                <a:gd name="connsiteY1" fmla="*/ 0 h 17274"/>
                <a:gd name="connsiteX2" fmla="*/ 0 w 44819"/>
                <a:gd name="connsiteY2" fmla="*/ 6910 h 17274"/>
                <a:gd name="connsiteX3" fmla="*/ 6816 w 44819"/>
                <a:gd name="connsiteY3" fmla="*/ 17274 h 17274"/>
                <a:gd name="connsiteX4" fmla="*/ 20636 w 44819"/>
                <a:gd name="connsiteY4" fmla="*/ 17274 h 17274"/>
                <a:gd name="connsiteX5" fmla="*/ 37910 w 44819"/>
                <a:gd name="connsiteY5" fmla="*/ 17274 h 17274"/>
                <a:gd name="connsiteX6" fmla="*/ 44819 w 44819"/>
                <a:gd name="connsiteY6" fmla="*/ 13819 h 17274"/>
                <a:gd name="connsiteX7" fmla="*/ 44819 w 44819"/>
                <a:gd name="connsiteY7" fmla="*/ 6910 h 17274"/>
                <a:gd name="connsiteX8" fmla="*/ 37910 w 44819"/>
                <a:gd name="connsiteY8" fmla="*/ 0 h 17274"/>
                <a:gd name="connsiteX9" fmla="*/ 31000 w 44819"/>
                <a:gd name="connsiteY9" fmla="*/ 0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19" h="17274">
                  <a:moveTo>
                    <a:pt x="31000" y="0"/>
                  </a:moveTo>
                  <a:lnTo>
                    <a:pt x="13726" y="0"/>
                  </a:lnTo>
                  <a:lnTo>
                    <a:pt x="0" y="6910"/>
                  </a:lnTo>
                  <a:lnTo>
                    <a:pt x="6816" y="17274"/>
                  </a:lnTo>
                  <a:lnTo>
                    <a:pt x="20636" y="17274"/>
                  </a:lnTo>
                  <a:lnTo>
                    <a:pt x="37910" y="17274"/>
                  </a:lnTo>
                  <a:lnTo>
                    <a:pt x="44819" y="13819"/>
                  </a:lnTo>
                  <a:lnTo>
                    <a:pt x="44819" y="6910"/>
                  </a:lnTo>
                  <a:lnTo>
                    <a:pt x="37910" y="0"/>
                  </a:lnTo>
                  <a:lnTo>
                    <a:pt x="31000" y="0"/>
                  </a:lnTo>
                  <a:close/>
                </a:path>
              </a:pathLst>
            </a:custGeom>
            <a:solidFill>
              <a:srgbClr val="CEE3BF"/>
            </a:solidFill>
            <a:ln w="9334" cap="flat">
              <a:noFill/>
              <a:prstDash val="solid"/>
              <a:miter/>
            </a:ln>
          </p:spPr>
          <p:txBody>
            <a:bodyPr rtlCol="0" anchor="ctr"/>
            <a:lstStyle/>
            <a:p>
              <a:endParaRPr lang="en-GB" dirty="0"/>
            </a:p>
          </p:txBody>
        </p:sp>
        <p:sp>
          <p:nvSpPr>
            <p:cNvPr id="1140" name="Freeform: Shape 1139">
              <a:extLst>
                <a:ext uri="{FF2B5EF4-FFF2-40B4-BE49-F238E27FC236}">
                  <a16:creationId xmlns:a16="http://schemas.microsoft.com/office/drawing/2014/main" id="{622B095E-51F7-474F-AAA5-D42A76666785}"/>
                </a:ext>
              </a:extLst>
            </p:cNvPr>
            <p:cNvSpPr/>
            <p:nvPr/>
          </p:nvSpPr>
          <p:spPr>
            <a:xfrm>
              <a:off x="3689329" y="3821053"/>
              <a:ext cx="20728" cy="27638"/>
            </a:xfrm>
            <a:custGeom>
              <a:avLst/>
              <a:gdLst>
                <a:gd name="connsiteX0" fmla="*/ 13819 w 20728"/>
                <a:gd name="connsiteY0" fmla="*/ 6910 h 27638"/>
                <a:gd name="connsiteX1" fmla="*/ 3455 w 20728"/>
                <a:gd name="connsiteY1" fmla="*/ 0 h 27638"/>
                <a:gd name="connsiteX2" fmla="*/ 0 w 20728"/>
                <a:gd name="connsiteY2" fmla="*/ 13819 h 27638"/>
                <a:gd name="connsiteX3" fmla="*/ 10364 w 20728"/>
                <a:gd name="connsiteY3" fmla="*/ 20729 h 27638"/>
                <a:gd name="connsiteX4" fmla="*/ 17274 w 20728"/>
                <a:gd name="connsiteY4" fmla="*/ 27638 h 27638"/>
                <a:gd name="connsiteX5" fmla="*/ 20729 w 20728"/>
                <a:gd name="connsiteY5" fmla="*/ 17274 h 27638"/>
                <a:gd name="connsiteX6" fmla="*/ 13819 w 20728"/>
                <a:gd name="connsiteY6" fmla="*/ 6910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8" h="27638">
                  <a:moveTo>
                    <a:pt x="13819" y="6910"/>
                  </a:moveTo>
                  <a:lnTo>
                    <a:pt x="3455" y="0"/>
                  </a:lnTo>
                  <a:lnTo>
                    <a:pt x="0" y="13819"/>
                  </a:lnTo>
                  <a:lnTo>
                    <a:pt x="10364" y="20729"/>
                  </a:lnTo>
                  <a:lnTo>
                    <a:pt x="17274" y="27638"/>
                  </a:lnTo>
                  <a:lnTo>
                    <a:pt x="20729" y="17274"/>
                  </a:lnTo>
                  <a:lnTo>
                    <a:pt x="13819" y="6910"/>
                  </a:lnTo>
                  <a:close/>
                </a:path>
              </a:pathLst>
            </a:custGeom>
            <a:solidFill>
              <a:srgbClr val="CEE3BF"/>
            </a:solidFill>
            <a:ln w="9334" cap="flat">
              <a:noFill/>
              <a:prstDash val="solid"/>
              <a:miter/>
            </a:ln>
          </p:spPr>
          <p:txBody>
            <a:bodyPr rtlCol="0" anchor="ctr"/>
            <a:lstStyle/>
            <a:p>
              <a:endParaRPr lang="en-GB" dirty="0"/>
            </a:p>
          </p:txBody>
        </p:sp>
        <p:sp>
          <p:nvSpPr>
            <p:cNvPr id="1141" name="Freeform: Shape 1140">
              <a:extLst>
                <a:ext uri="{FF2B5EF4-FFF2-40B4-BE49-F238E27FC236}">
                  <a16:creationId xmlns:a16="http://schemas.microsoft.com/office/drawing/2014/main" id="{B2026E2A-481A-4862-8571-0690E8F23DEF}"/>
                </a:ext>
              </a:extLst>
            </p:cNvPr>
            <p:cNvSpPr/>
            <p:nvPr/>
          </p:nvSpPr>
          <p:spPr>
            <a:xfrm>
              <a:off x="3689329" y="3821053"/>
              <a:ext cx="20728" cy="27638"/>
            </a:xfrm>
            <a:custGeom>
              <a:avLst/>
              <a:gdLst>
                <a:gd name="connsiteX0" fmla="*/ 13819 w 20728"/>
                <a:gd name="connsiteY0" fmla="*/ 6910 h 27638"/>
                <a:gd name="connsiteX1" fmla="*/ 3455 w 20728"/>
                <a:gd name="connsiteY1" fmla="*/ 0 h 27638"/>
                <a:gd name="connsiteX2" fmla="*/ 0 w 20728"/>
                <a:gd name="connsiteY2" fmla="*/ 13819 h 27638"/>
                <a:gd name="connsiteX3" fmla="*/ 10364 w 20728"/>
                <a:gd name="connsiteY3" fmla="*/ 20729 h 27638"/>
                <a:gd name="connsiteX4" fmla="*/ 17274 w 20728"/>
                <a:gd name="connsiteY4" fmla="*/ 27638 h 27638"/>
                <a:gd name="connsiteX5" fmla="*/ 20729 w 20728"/>
                <a:gd name="connsiteY5" fmla="*/ 17274 h 27638"/>
                <a:gd name="connsiteX6" fmla="*/ 13819 w 20728"/>
                <a:gd name="connsiteY6" fmla="*/ 6910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8" h="27638">
                  <a:moveTo>
                    <a:pt x="13819" y="6910"/>
                  </a:moveTo>
                  <a:lnTo>
                    <a:pt x="3455" y="0"/>
                  </a:lnTo>
                  <a:lnTo>
                    <a:pt x="0" y="13819"/>
                  </a:lnTo>
                  <a:lnTo>
                    <a:pt x="10364" y="20729"/>
                  </a:lnTo>
                  <a:lnTo>
                    <a:pt x="17274" y="27638"/>
                  </a:lnTo>
                  <a:lnTo>
                    <a:pt x="20729" y="17274"/>
                  </a:lnTo>
                  <a:lnTo>
                    <a:pt x="13819" y="6910"/>
                  </a:lnTo>
                  <a:close/>
                </a:path>
              </a:pathLst>
            </a:custGeom>
            <a:solidFill>
              <a:srgbClr val="CEE3BF"/>
            </a:solidFill>
            <a:ln w="9334" cap="flat">
              <a:noFill/>
              <a:prstDash val="solid"/>
              <a:miter/>
            </a:ln>
          </p:spPr>
          <p:txBody>
            <a:bodyPr rtlCol="0" anchor="ctr"/>
            <a:lstStyle/>
            <a:p>
              <a:endParaRPr lang="en-GB" dirty="0"/>
            </a:p>
          </p:txBody>
        </p:sp>
        <p:sp>
          <p:nvSpPr>
            <p:cNvPr id="1142" name="Freeform: Shape 1141">
              <a:extLst>
                <a:ext uri="{FF2B5EF4-FFF2-40B4-BE49-F238E27FC236}">
                  <a16:creationId xmlns:a16="http://schemas.microsoft.com/office/drawing/2014/main" id="{B13A8100-BC00-4816-A1C7-1DA8D2697492}"/>
                </a:ext>
              </a:extLst>
            </p:cNvPr>
            <p:cNvSpPr/>
            <p:nvPr/>
          </p:nvSpPr>
          <p:spPr>
            <a:xfrm>
              <a:off x="4055258" y="3599852"/>
              <a:ext cx="20728" cy="13819"/>
            </a:xfrm>
            <a:custGeom>
              <a:avLst/>
              <a:gdLst>
                <a:gd name="connsiteX0" fmla="*/ 10364 w 20728"/>
                <a:gd name="connsiteY0" fmla="*/ 0 h 13819"/>
                <a:gd name="connsiteX1" fmla="*/ 3455 w 20728"/>
                <a:gd name="connsiteY1" fmla="*/ 3455 h 13819"/>
                <a:gd name="connsiteX2" fmla="*/ 0 w 20728"/>
                <a:gd name="connsiteY2" fmla="*/ 13819 h 13819"/>
                <a:gd name="connsiteX3" fmla="*/ 13819 w 20728"/>
                <a:gd name="connsiteY3" fmla="*/ 13819 h 13819"/>
                <a:gd name="connsiteX4" fmla="*/ 20729 w 20728"/>
                <a:gd name="connsiteY4" fmla="*/ 13819 h 13819"/>
                <a:gd name="connsiteX5" fmla="*/ 10364 w 20728"/>
                <a:gd name="connsiteY5" fmla="*/ 0 h 1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28" h="13819">
                  <a:moveTo>
                    <a:pt x="10364" y="0"/>
                  </a:moveTo>
                  <a:lnTo>
                    <a:pt x="3455" y="3455"/>
                  </a:lnTo>
                  <a:lnTo>
                    <a:pt x="0" y="13819"/>
                  </a:lnTo>
                  <a:lnTo>
                    <a:pt x="13819" y="13819"/>
                  </a:lnTo>
                  <a:lnTo>
                    <a:pt x="20729" y="13819"/>
                  </a:lnTo>
                  <a:lnTo>
                    <a:pt x="10364" y="0"/>
                  </a:lnTo>
                  <a:close/>
                </a:path>
              </a:pathLst>
            </a:custGeom>
            <a:solidFill>
              <a:srgbClr val="CEE3BF"/>
            </a:solidFill>
            <a:ln w="9334" cap="flat">
              <a:noFill/>
              <a:prstDash val="solid"/>
              <a:miter/>
            </a:ln>
          </p:spPr>
          <p:txBody>
            <a:bodyPr rtlCol="0" anchor="ctr"/>
            <a:lstStyle/>
            <a:p>
              <a:endParaRPr lang="en-GB" dirty="0"/>
            </a:p>
          </p:txBody>
        </p:sp>
        <p:sp>
          <p:nvSpPr>
            <p:cNvPr id="1143" name="Freeform: Shape 1142">
              <a:extLst>
                <a:ext uri="{FF2B5EF4-FFF2-40B4-BE49-F238E27FC236}">
                  <a16:creationId xmlns:a16="http://schemas.microsoft.com/office/drawing/2014/main" id="{FB2F5492-5CC5-44D6-9A93-A25FC2A7F9AE}"/>
                </a:ext>
              </a:extLst>
            </p:cNvPr>
            <p:cNvSpPr/>
            <p:nvPr/>
          </p:nvSpPr>
          <p:spPr>
            <a:xfrm>
              <a:off x="4055258" y="3599852"/>
              <a:ext cx="20728" cy="13819"/>
            </a:xfrm>
            <a:custGeom>
              <a:avLst/>
              <a:gdLst>
                <a:gd name="connsiteX0" fmla="*/ 10364 w 20728"/>
                <a:gd name="connsiteY0" fmla="*/ 0 h 13819"/>
                <a:gd name="connsiteX1" fmla="*/ 3455 w 20728"/>
                <a:gd name="connsiteY1" fmla="*/ 3455 h 13819"/>
                <a:gd name="connsiteX2" fmla="*/ 0 w 20728"/>
                <a:gd name="connsiteY2" fmla="*/ 13819 h 13819"/>
                <a:gd name="connsiteX3" fmla="*/ 13819 w 20728"/>
                <a:gd name="connsiteY3" fmla="*/ 13819 h 13819"/>
                <a:gd name="connsiteX4" fmla="*/ 20729 w 20728"/>
                <a:gd name="connsiteY4" fmla="*/ 13819 h 13819"/>
                <a:gd name="connsiteX5" fmla="*/ 10364 w 20728"/>
                <a:gd name="connsiteY5" fmla="*/ 0 h 1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28" h="13819">
                  <a:moveTo>
                    <a:pt x="10364" y="0"/>
                  </a:moveTo>
                  <a:lnTo>
                    <a:pt x="3455" y="3455"/>
                  </a:lnTo>
                  <a:lnTo>
                    <a:pt x="0" y="13819"/>
                  </a:lnTo>
                  <a:lnTo>
                    <a:pt x="13819" y="13819"/>
                  </a:lnTo>
                  <a:lnTo>
                    <a:pt x="20729" y="13819"/>
                  </a:lnTo>
                  <a:lnTo>
                    <a:pt x="10364" y="0"/>
                  </a:lnTo>
                  <a:close/>
                </a:path>
              </a:pathLst>
            </a:custGeom>
            <a:solidFill>
              <a:srgbClr val="CEE3BF"/>
            </a:solidFill>
            <a:ln w="9334" cap="flat">
              <a:noFill/>
              <a:prstDash val="solid"/>
              <a:miter/>
            </a:ln>
          </p:spPr>
          <p:txBody>
            <a:bodyPr rtlCol="0" anchor="ctr"/>
            <a:lstStyle/>
            <a:p>
              <a:endParaRPr lang="en-GB" dirty="0"/>
            </a:p>
          </p:txBody>
        </p:sp>
        <p:sp>
          <p:nvSpPr>
            <p:cNvPr id="1144" name="Freeform: Shape 1143">
              <a:extLst>
                <a:ext uri="{FF2B5EF4-FFF2-40B4-BE49-F238E27FC236}">
                  <a16:creationId xmlns:a16="http://schemas.microsoft.com/office/drawing/2014/main" id="{D2506262-FA6D-409E-B512-28D6F8C537CB}"/>
                </a:ext>
              </a:extLst>
            </p:cNvPr>
            <p:cNvSpPr/>
            <p:nvPr/>
          </p:nvSpPr>
          <p:spPr>
            <a:xfrm>
              <a:off x="6559994" y="3299097"/>
              <a:ext cx="504028" cy="193562"/>
            </a:xfrm>
            <a:custGeom>
              <a:avLst/>
              <a:gdLst>
                <a:gd name="connsiteX0" fmla="*/ 17274 w 504028"/>
                <a:gd name="connsiteY0" fmla="*/ 82915 h 193562"/>
                <a:gd name="connsiteX1" fmla="*/ 0 w 504028"/>
                <a:gd name="connsiteY1" fmla="*/ 79461 h 193562"/>
                <a:gd name="connsiteX2" fmla="*/ 0 w 504028"/>
                <a:gd name="connsiteY2" fmla="*/ 72551 h 193562"/>
                <a:gd name="connsiteX3" fmla="*/ 10365 w 504028"/>
                <a:gd name="connsiteY3" fmla="*/ 58732 h 193562"/>
                <a:gd name="connsiteX4" fmla="*/ 20729 w 504028"/>
                <a:gd name="connsiteY4" fmla="*/ 55277 h 193562"/>
                <a:gd name="connsiteX5" fmla="*/ 44820 w 504028"/>
                <a:gd name="connsiteY5" fmla="*/ 58732 h 193562"/>
                <a:gd name="connsiteX6" fmla="*/ 65548 w 504028"/>
                <a:gd name="connsiteY6" fmla="*/ 58732 h 193562"/>
                <a:gd name="connsiteX7" fmla="*/ 79367 w 504028"/>
                <a:gd name="connsiteY7" fmla="*/ 58732 h 193562"/>
                <a:gd name="connsiteX8" fmla="*/ 79367 w 504028"/>
                <a:gd name="connsiteY8" fmla="*/ 48367 h 193562"/>
                <a:gd name="connsiteX9" fmla="*/ 89732 w 504028"/>
                <a:gd name="connsiteY9" fmla="*/ 44913 h 193562"/>
                <a:gd name="connsiteX10" fmla="*/ 100096 w 504028"/>
                <a:gd name="connsiteY10" fmla="*/ 44913 h 193562"/>
                <a:gd name="connsiteX11" fmla="*/ 89732 w 504028"/>
                <a:gd name="connsiteY11" fmla="*/ 38003 h 193562"/>
                <a:gd name="connsiteX12" fmla="*/ 79367 w 504028"/>
                <a:gd name="connsiteY12" fmla="*/ 38003 h 193562"/>
                <a:gd name="connsiteX13" fmla="*/ 79367 w 504028"/>
                <a:gd name="connsiteY13" fmla="*/ 27639 h 193562"/>
                <a:gd name="connsiteX14" fmla="*/ 117370 w 504028"/>
                <a:gd name="connsiteY14" fmla="*/ 31093 h 193562"/>
                <a:gd name="connsiteX15" fmla="*/ 141554 w 504028"/>
                <a:gd name="connsiteY15" fmla="*/ 31093 h 193562"/>
                <a:gd name="connsiteX16" fmla="*/ 155373 w 504028"/>
                <a:gd name="connsiteY16" fmla="*/ 17274 h 193562"/>
                <a:gd name="connsiteX17" fmla="*/ 189828 w 504028"/>
                <a:gd name="connsiteY17" fmla="*/ 0 h 193562"/>
                <a:gd name="connsiteX18" fmla="*/ 241650 w 504028"/>
                <a:gd name="connsiteY18" fmla="*/ 0 h 193562"/>
                <a:gd name="connsiteX19" fmla="*/ 252014 w 504028"/>
                <a:gd name="connsiteY19" fmla="*/ 20729 h 193562"/>
                <a:gd name="connsiteX20" fmla="*/ 265834 w 504028"/>
                <a:gd name="connsiteY20" fmla="*/ 17274 h 193562"/>
                <a:gd name="connsiteX21" fmla="*/ 276198 w 504028"/>
                <a:gd name="connsiteY21" fmla="*/ 27639 h 193562"/>
                <a:gd name="connsiteX22" fmla="*/ 290017 w 504028"/>
                <a:gd name="connsiteY22" fmla="*/ 31093 h 193562"/>
                <a:gd name="connsiteX23" fmla="*/ 314108 w 504028"/>
                <a:gd name="connsiteY23" fmla="*/ 38003 h 193562"/>
                <a:gd name="connsiteX24" fmla="*/ 345201 w 504028"/>
                <a:gd name="connsiteY24" fmla="*/ 38003 h 193562"/>
                <a:gd name="connsiteX25" fmla="*/ 376294 w 504028"/>
                <a:gd name="connsiteY25" fmla="*/ 38003 h 193562"/>
                <a:gd name="connsiteX26" fmla="*/ 403933 w 504028"/>
                <a:gd name="connsiteY26" fmla="*/ 31093 h 193562"/>
                <a:gd name="connsiteX27" fmla="*/ 417752 w 504028"/>
                <a:gd name="connsiteY27" fmla="*/ 17274 h 193562"/>
                <a:gd name="connsiteX28" fmla="*/ 428116 w 504028"/>
                <a:gd name="connsiteY28" fmla="*/ 20729 h 193562"/>
                <a:gd name="connsiteX29" fmla="*/ 434933 w 504028"/>
                <a:gd name="connsiteY29" fmla="*/ 24184 h 193562"/>
                <a:gd name="connsiteX30" fmla="*/ 438387 w 504028"/>
                <a:gd name="connsiteY30" fmla="*/ 13819 h 193562"/>
                <a:gd name="connsiteX31" fmla="*/ 452206 w 504028"/>
                <a:gd name="connsiteY31" fmla="*/ 17274 h 193562"/>
                <a:gd name="connsiteX32" fmla="*/ 462571 w 504028"/>
                <a:gd name="connsiteY32" fmla="*/ 27639 h 193562"/>
                <a:gd name="connsiteX33" fmla="*/ 472936 w 504028"/>
                <a:gd name="connsiteY33" fmla="*/ 34548 h 193562"/>
                <a:gd name="connsiteX34" fmla="*/ 472936 w 504028"/>
                <a:gd name="connsiteY34" fmla="*/ 51822 h 193562"/>
                <a:gd name="connsiteX35" fmla="*/ 472936 w 504028"/>
                <a:gd name="connsiteY35" fmla="*/ 72551 h 193562"/>
                <a:gd name="connsiteX36" fmla="*/ 493664 w 504028"/>
                <a:gd name="connsiteY36" fmla="*/ 72551 h 193562"/>
                <a:gd name="connsiteX37" fmla="*/ 504029 w 504028"/>
                <a:gd name="connsiteY37" fmla="*/ 79461 h 193562"/>
                <a:gd name="connsiteX38" fmla="*/ 490209 w 504028"/>
                <a:gd name="connsiteY38" fmla="*/ 82915 h 193562"/>
                <a:gd name="connsiteX39" fmla="*/ 486755 w 504028"/>
                <a:gd name="connsiteY39" fmla="*/ 89825 h 193562"/>
                <a:gd name="connsiteX40" fmla="*/ 490209 w 504028"/>
                <a:gd name="connsiteY40" fmla="*/ 103644 h 193562"/>
                <a:gd name="connsiteX41" fmla="*/ 493664 w 504028"/>
                <a:gd name="connsiteY41" fmla="*/ 117464 h 193562"/>
                <a:gd name="connsiteX42" fmla="*/ 497119 w 504028"/>
                <a:gd name="connsiteY42" fmla="*/ 134831 h 193562"/>
                <a:gd name="connsiteX43" fmla="*/ 504029 w 504028"/>
                <a:gd name="connsiteY43" fmla="*/ 152105 h 193562"/>
                <a:gd name="connsiteX44" fmla="*/ 500574 w 504028"/>
                <a:gd name="connsiteY44" fmla="*/ 159015 h 193562"/>
                <a:gd name="connsiteX45" fmla="*/ 486755 w 504028"/>
                <a:gd name="connsiteY45" fmla="*/ 155560 h 193562"/>
                <a:gd name="connsiteX46" fmla="*/ 452206 w 504028"/>
                <a:gd name="connsiteY46" fmla="*/ 148650 h 193562"/>
                <a:gd name="connsiteX47" fmla="*/ 434933 w 504028"/>
                <a:gd name="connsiteY47" fmla="*/ 159015 h 193562"/>
                <a:gd name="connsiteX48" fmla="*/ 390114 w 504028"/>
                <a:gd name="connsiteY48" fmla="*/ 159015 h 193562"/>
                <a:gd name="connsiteX49" fmla="*/ 369384 w 504028"/>
                <a:gd name="connsiteY49" fmla="*/ 172834 h 193562"/>
                <a:gd name="connsiteX50" fmla="*/ 338292 w 504028"/>
                <a:gd name="connsiteY50" fmla="*/ 176289 h 193562"/>
                <a:gd name="connsiteX51" fmla="*/ 327927 w 504028"/>
                <a:gd name="connsiteY51" fmla="*/ 165924 h 193562"/>
                <a:gd name="connsiteX52" fmla="*/ 317562 w 504028"/>
                <a:gd name="connsiteY52" fmla="*/ 165924 h 193562"/>
                <a:gd name="connsiteX53" fmla="*/ 314108 w 504028"/>
                <a:gd name="connsiteY53" fmla="*/ 172834 h 193562"/>
                <a:gd name="connsiteX54" fmla="*/ 293472 w 504028"/>
                <a:gd name="connsiteY54" fmla="*/ 172834 h 193562"/>
                <a:gd name="connsiteX55" fmla="*/ 283108 w 504028"/>
                <a:gd name="connsiteY55" fmla="*/ 165924 h 193562"/>
                <a:gd name="connsiteX56" fmla="*/ 279653 w 504028"/>
                <a:gd name="connsiteY56" fmla="*/ 179743 h 193562"/>
                <a:gd name="connsiteX57" fmla="*/ 265834 w 504028"/>
                <a:gd name="connsiteY57" fmla="*/ 193563 h 193562"/>
                <a:gd name="connsiteX58" fmla="*/ 262379 w 504028"/>
                <a:gd name="connsiteY58" fmla="*/ 179743 h 193562"/>
                <a:gd name="connsiteX59" fmla="*/ 269289 w 504028"/>
                <a:gd name="connsiteY59" fmla="*/ 165924 h 193562"/>
                <a:gd name="connsiteX60" fmla="*/ 258924 w 504028"/>
                <a:gd name="connsiteY60" fmla="*/ 165924 h 193562"/>
                <a:gd name="connsiteX61" fmla="*/ 252014 w 504028"/>
                <a:gd name="connsiteY61" fmla="*/ 172834 h 193562"/>
                <a:gd name="connsiteX62" fmla="*/ 227831 w 504028"/>
                <a:gd name="connsiteY62" fmla="*/ 169379 h 193562"/>
                <a:gd name="connsiteX63" fmla="*/ 220921 w 504028"/>
                <a:gd name="connsiteY63" fmla="*/ 172834 h 193562"/>
                <a:gd name="connsiteX64" fmla="*/ 207102 w 504028"/>
                <a:gd name="connsiteY64" fmla="*/ 186653 h 193562"/>
                <a:gd name="connsiteX65" fmla="*/ 189828 w 504028"/>
                <a:gd name="connsiteY65" fmla="*/ 190108 h 193562"/>
                <a:gd name="connsiteX66" fmla="*/ 172554 w 504028"/>
                <a:gd name="connsiteY66" fmla="*/ 190108 h 193562"/>
                <a:gd name="connsiteX67" fmla="*/ 158828 w 504028"/>
                <a:gd name="connsiteY67" fmla="*/ 179743 h 193562"/>
                <a:gd name="connsiteX68" fmla="*/ 138099 w 504028"/>
                <a:gd name="connsiteY68" fmla="*/ 172834 h 193562"/>
                <a:gd name="connsiteX69" fmla="*/ 124280 w 504028"/>
                <a:gd name="connsiteY69" fmla="*/ 165924 h 193562"/>
                <a:gd name="connsiteX70" fmla="*/ 113915 w 504028"/>
                <a:gd name="connsiteY70" fmla="*/ 169379 h 193562"/>
                <a:gd name="connsiteX71" fmla="*/ 117370 w 504028"/>
                <a:gd name="connsiteY71" fmla="*/ 179743 h 193562"/>
                <a:gd name="connsiteX72" fmla="*/ 113915 w 504028"/>
                <a:gd name="connsiteY72" fmla="*/ 186653 h 193562"/>
                <a:gd name="connsiteX73" fmla="*/ 86277 w 504028"/>
                <a:gd name="connsiteY73" fmla="*/ 186653 h 193562"/>
                <a:gd name="connsiteX74" fmla="*/ 69003 w 504028"/>
                <a:gd name="connsiteY74" fmla="*/ 172834 h 193562"/>
                <a:gd name="connsiteX75" fmla="*/ 58639 w 504028"/>
                <a:gd name="connsiteY75" fmla="*/ 165924 h 193562"/>
                <a:gd name="connsiteX76" fmla="*/ 34455 w 504028"/>
                <a:gd name="connsiteY76" fmla="*/ 159015 h 193562"/>
                <a:gd name="connsiteX77" fmla="*/ 27639 w 504028"/>
                <a:gd name="connsiteY77" fmla="*/ 145195 h 193562"/>
                <a:gd name="connsiteX78" fmla="*/ 27639 w 504028"/>
                <a:gd name="connsiteY78" fmla="*/ 134831 h 193562"/>
                <a:gd name="connsiteX79" fmla="*/ 10365 w 504028"/>
                <a:gd name="connsiteY79" fmla="*/ 127921 h 193562"/>
                <a:gd name="connsiteX80" fmla="*/ 17274 w 504028"/>
                <a:gd name="connsiteY80" fmla="*/ 117464 h 193562"/>
                <a:gd name="connsiteX81" fmla="*/ 24184 w 504028"/>
                <a:gd name="connsiteY81" fmla="*/ 107099 h 193562"/>
                <a:gd name="connsiteX82" fmla="*/ 20729 w 504028"/>
                <a:gd name="connsiteY82" fmla="*/ 93280 h 193562"/>
                <a:gd name="connsiteX83" fmla="*/ 17274 w 504028"/>
                <a:gd name="connsiteY83" fmla="*/ 82915 h 193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04028" h="193562">
                  <a:moveTo>
                    <a:pt x="17274" y="82915"/>
                  </a:moveTo>
                  <a:lnTo>
                    <a:pt x="0" y="79461"/>
                  </a:lnTo>
                  <a:lnTo>
                    <a:pt x="0" y="72551"/>
                  </a:lnTo>
                  <a:lnTo>
                    <a:pt x="10365" y="58732"/>
                  </a:lnTo>
                  <a:lnTo>
                    <a:pt x="20729" y="55277"/>
                  </a:lnTo>
                  <a:lnTo>
                    <a:pt x="44820" y="58732"/>
                  </a:lnTo>
                  <a:lnTo>
                    <a:pt x="65548" y="58732"/>
                  </a:lnTo>
                  <a:lnTo>
                    <a:pt x="79367" y="58732"/>
                  </a:lnTo>
                  <a:lnTo>
                    <a:pt x="79367" y="48367"/>
                  </a:lnTo>
                  <a:lnTo>
                    <a:pt x="89732" y="44913"/>
                  </a:lnTo>
                  <a:lnTo>
                    <a:pt x="100096" y="44913"/>
                  </a:lnTo>
                  <a:lnTo>
                    <a:pt x="89732" y="38003"/>
                  </a:lnTo>
                  <a:lnTo>
                    <a:pt x="79367" y="38003"/>
                  </a:lnTo>
                  <a:lnTo>
                    <a:pt x="79367" y="27639"/>
                  </a:lnTo>
                  <a:lnTo>
                    <a:pt x="117370" y="31093"/>
                  </a:lnTo>
                  <a:lnTo>
                    <a:pt x="141554" y="31093"/>
                  </a:lnTo>
                  <a:lnTo>
                    <a:pt x="155373" y="17274"/>
                  </a:lnTo>
                  <a:lnTo>
                    <a:pt x="189828" y="0"/>
                  </a:lnTo>
                  <a:lnTo>
                    <a:pt x="241650" y="0"/>
                  </a:lnTo>
                  <a:lnTo>
                    <a:pt x="252014" y="20729"/>
                  </a:lnTo>
                  <a:lnTo>
                    <a:pt x="265834" y="17274"/>
                  </a:lnTo>
                  <a:lnTo>
                    <a:pt x="276198" y="27639"/>
                  </a:lnTo>
                  <a:lnTo>
                    <a:pt x="290017" y="31093"/>
                  </a:lnTo>
                  <a:lnTo>
                    <a:pt x="314108" y="38003"/>
                  </a:lnTo>
                  <a:lnTo>
                    <a:pt x="345201" y="38003"/>
                  </a:lnTo>
                  <a:lnTo>
                    <a:pt x="376294" y="38003"/>
                  </a:lnTo>
                  <a:lnTo>
                    <a:pt x="403933" y="31093"/>
                  </a:lnTo>
                  <a:lnTo>
                    <a:pt x="417752" y="17274"/>
                  </a:lnTo>
                  <a:lnTo>
                    <a:pt x="428116" y="20729"/>
                  </a:lnTo>
                  <a:lnTo>
                    <a:pt x="434933" y="24184"/>
                  </a:lnTo>
                  <a:lnTo>
                    <a:pt x="438387" y="13819"/>
                  </a:lnTo>
                  <a:lnTo>
                    <a:pt x="452206" y="17274"/>
                  </a:lnTo>
                  <a:lnTo>
                    <a:pt x="462571" y="27639"/>
                  </a:lnTo>
                  <a:lnTo>
                    <a:pt x="472936" y="34548"/>
                  </a:lnTo>
                  <a:lnTo>
                    <a:pt x="472936" y="51822"/>
                  </a:lnTo>
                  <a:lnTo>
                    <a:pt x="472936" y="72551"/>
                  </a:lnTo>
                  <a:lnTo>
                    <a:pt x="493664" y="72551"/>
                  </a:lnTo>
                  <a:lnTo>
                    <a:pt x="504029" y="79461"/>
                  </a:lnTo>
                  <a:lnTo>
                    <a:pt x="490209" y="82915"/>
                  </a:lnTo>
                  <a:lnTo>
                    <a:pt x="486755" y="89825"/>
                  </a:lnTo>
                  <a:lnTo>
                    <a:pt x="490209" y="103644"/>
                  </a:lnTo>
                  <a:lnTo>
                    <a:pt x="493664" y="117464"/>
                  </a:lnTo>
                  <a:lnTo>
                    <a:pt x="497119" y="134831"/>
                  </a:lnTo>
                  <a:lnTo>
                    <a:pt x="504029" y="152105"/>
                  </a:lnTo>
                  <a:lnTo>
                    <a:pt x="500574" y="159015"/>
                  </a:lnTo>
                  <a:lnTo>
                    <a:pt x="486755" y="155560"/>
                  </a:lnTo>
                  <a:lnTo>
                    <a:pt x="452206" y="148650"/>
                  </a:lnTo>
                  <a:lnTo>
                    <a:pt x="434933" y="159015"/>
                  </a:lnTo>
                  <a:lnTo>
                    <a:pt x="390114" y="159015"/>
                  </a:lnTo>
                  <a:lnTo>
                    <a:pt x="369384" y="172834"/>
                  </a:lnTo>
                  <a:lnTo>
                    <a:pt x="338292" y="176289"/>
                  </a:lnTo>
                  <a:lnTo>
                    <a:pt x="327927" y="165924"/>
                  </a:lnTo>
                  <a:lnTo>
                    <a:pt x="317562" y="165924"/>
                  </a:lnTo>
                  <a:lnTo>
                    <a:pt x="314108" y="172834"/>
                  </a:lnTo>
                  <a:lnTo>
                    <a:pt x="293472" y="172834"/>
                  </a:lnTo>
                  <a:lnTo>
                    <a:pt x="283108" y="165924"/>
                  </a:lnTo>
                  <a:lnTo>
                    <a:pt x="279653" y="179743"/>
                  </a:lnTo>
                  <a:lnTo>
                    <a:pt x="265834" y="193563"/>
                  </a:lnTo>
                  <a:lnTo>
                    <a:pt x="262379" y="179743"/>
                  </a:lnTo>
                  <a:lnTo>
                    <a:pt x="269289" y="165924"/>
                  </a:lnTo>
                  <a:lnTo>
                    <a:pt x="258924" y="165924"/>
                  </a:lnTo>
                  <a:lnTo>
                    <a:pt x="252014" y="172834"/>
                  </a:lnTo>
                  <a:lnTo>
                    <a:pt x="227831" y="169379"/>
                  </a:lnTo>
                  <a:lnTo>
                    <a:pt x="220921" y="172834"/>
                  </a:lnTo>
                  <a:lnTo>
                    <a:pt x="207102" y="186653"/>
                  </a:lnTo>
                  <a:lnTo>
                    <a:pt x="189828" y="190108"/>
                  </a:lnTo>
                  <a:lnTo>
                    <a:pt x="172554" y="190108"/>
                  </a:lnTo>
                  <a:lnTo>
                    <a:pt x="158828" y="179743"/>
                  </a:lnTo>
                  <a:lnTo>
                    <a:pt x="138099" y="172834"/>
                  </a:lnTo>
                  <a:lnTo>
                    <a:pt x="124280" y="165924"/>
                  </a:lnTo>
                  <a:lnTo>
                    <a:pt x="113915" y="169379"/>
                  </a:lnTo>
                  <a:lnTo>
                    <a:pt x="117370" y="179743"/>
                  </a:lnTo>
                  <a:lnTo>
                    <a:pt x="113915" y="186653"/>
                  </a:lnTo>
                  <a:lnTo>
                    <a:pt x="86277" y="186653"/>
                  </a:lnTo>
                  <a:lnTo>
                    <a:pt x="69003" y="172834"/>
                  </a:lnTo>
                  <a:lnTo>
                    <a:pt x="58639" y="165924"/>
                  </a:lnTo>
                  <a:lnTo>
                    <a:pt x="34455" y="159015"/>
                  </a:lnTo>
                  <a:lnTo>
                    <a:pt x="27639" y="145195"/>
                  </a:lnTo>
                  <a:lnTo>
                    <a:pt x="27639" y="134831"/>
                  </a:lnTo>
                  <a:lnTo>
                    <a:pt x="10365" y="127921"/>
                  </a:lnTo>
                  <a:lnTo>
                    <a:pt x="17274" y="117464"/>
                  </a:lnTo>
                  <a:lnTo>
                    <a:pt x="24184" y="107099"/>
                  </a:lnTo>
                  <a:lnTo>
                    <a:pt x="20729" y="93280"/>
                  </a:lnTo>
                  <a:lnTo>
                    <a:pt x="17274" y="82915"/>
                  </a:lnTo>
                  <a:close/>
                </a:path>
              </a:pathLst>
            </a:custGeom>
            <a:solidFill>
              <a:srgbClr val="CEE3BF"/>
            </a:solidFill>
            <a:ln w="9334" cap="flat">
              <a:noFill/>
              <a:prstDash val="solid"/>
              <a:miter/>
            </a:ln>
          </p:spPr>
          <p:txBody>
            <a:bodyPr rtlCol="0" anchor="ctr"/>
            <a:lstStyle/>
            <a:p>
              <a:endParaRPr lang="en-GB" dirty="0"/>
            </a:p>
          </p:txBody>
        </p:sp>
        <p:sp>
          <p:nvSpPr>
            <p:cNvPr id="1145" name="Freeform: Shape 1144">
              <a:extLst>
                <a:ext uri="{FF2B5EF4-FFF2-40B4-BE49-F238E27FC236}">
                  <a16:creationId xmlns:a16="http://schemas.microsoft.com/office/drawing/2014/main" id="{252FDD83-E3E6-44A7-A8AA-3D62BF9952E6}"/>
                </a:ext>
              </a:extLst>
            </p:cNvPr>
            <p:cNvSpPr/>
            <p:nvPr/>
          </p:nvSpPr>
          <p:spPr>
            <a:xfrm>
              <a:off x="6414986" y="2725225"/>
              <a:ext cx="200192" cy="93373"/>
            </a:xfrm>
            <a:custGeom>
              <a:avLst/>
              <a:gdLst>
                <a:gd name="connsiteX0" fmla="*/ 44819 w 200192"/>
                <a:gd name="connsiteY0" fmla="*/ 20729 h 93373"/>
                <a:gd name="connsiteX1" fmla="*/ 62093 w 200192"/>
                <a:gd name="connsiteY1" fmla="*/ 31093 h 93373"/>
                <a:gd name="connsiteX2" fmla="*/ 79367 w 200192"/>
                <a:gd name="connsiteY2" fmla="*/ 41458 h 93373"/>
                <a:gd name="connsiteX3" fmla="*/ 93186 w 200192"/>
                <a:gd name="connsiteY3" fmla="*/ 31093 h 93373"/>
                <a:gd name="connsiteX4" fmla="*/ 96641 w 200192"/>
                <a:gd name="connsiteY4" fmla="*/ 13819 h 93373"/>
                <a:gd name="connsiteX5" fmla="*/ 96641 w 200192"/>
                <a:gd name="connsiteY5" fmla="*/ 0 h 93373"/>
                <a:gd name="connsiteX6" fmla="*/ 117370 w 200192"/>
                <a:gd name="connsiteY6" fmla="*/ 0 h 93373"/>
                <a:gd name="connsiteX7" fmla="*/ 138099 w 200192"/>
                <a:gd name="connsiteY7" fmla="*/ 6910 h 93373"/>
                <a:gd name="connsiteX8" fmla="*/ 151918 w 200192"/>
                <a:gd name="connsiteY8" fmla="*/ 10364 h 93373"/>
                <a:gd name="connsiteX9" fmla="*/ 176008 w 200192"/>
                <a:gd name="connsiteY9" fmla="*/ 13819 h 93373"/>
                <a:gd name="connsiteX10" fmla="*/ 179463 w 200192"/>
                <a:gd name="connsiteY10" fmla="*/ 20729 h 93373"/>
                <a:gd name="connsiteX11" fmla="*/ 186373 w 200192"/>
                <a:gd name="connsiteY11" fmla="*/ 34548 h 93373"/>
                <a:gd name="connsiteX12" fmla="*/ 193283 w 200192"/>
                <a:gd name="connsiteY12" fmla="*/ 62280 h 93373"/>
                <a:gd name="connsiteX13" fmla="*/ 200192 w 200192"/>
                <a:gd name="connsiteY13" fmla="*/ 72644 h 93373"/>
                <a:gd name="connsiteX14" fmla="*/ 179463 w 200192"/>
                <a:gd name="connsiteY14" fmla="*/ 86464 h 93373"/>
                <a:gd name="connsiteX15" fmla="*/ 155373 w 200192"/>
                <a:gd name="connsiteY15" fmla="*/ 93373 h 93373"/>
                <a:gd name="connsiteX16" fmla="*/ 107005 w 200192"/>
                <a:gd name="connsiteY16" fmla="*/ 62280 h 93373"/>
                <a:gd name="connsiteX17" fmla="*/ 17274 w 200192"/>
                <a:gd name="connsiteY17" fmla="*/ 65735 h 93373"/>
                <a:gd name="connsiteX18" fmla="*/ 0 w 200192"/>
                <a:gd name="connsiteY18" fmla="*/ 69190 h 93373"/>
                <a:gd name="connsiteX19" fmla="*/ 0 w 200192"/>
                <a:gd name="connsiteY19" fmla="*/ 51915 h 93373"/>
                <a:gd name="connsiteX20" fmla="*/ 13819 w 200192"/>
                <a:gd name="connsiteY20" fmla="*/ 34548 h 93373"/>
                <a:gd name="connsiteX21" fmla="*/ 24183 w 200192"/>
                <a:gd name="connsiteY21" fmla="*/ 17274 h 93373"/>
                <a:gd name="connsiteX22" fmla="*/ 44819 w 200192"/>
                <a:gd name="connsiteY22" fmla="*/ 20729 h 9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0192" h="93373">
                  <a:moveTo>
                    <a:pt x="44819" y="20729"/>
                  </a:moveTo>
                  <a:lnTo>
                    <a:pt x="62093" y="31093"/>
                  </a:lnTo>
                  <a:lnTo>
                    <a:pt x="79367" y="41458"/>
                  </a:lnTo>
                  <a:lnTo>
                    <a:pt x="93186" y="31093"/>
                  </a:lnTo>
                  <a:lnTo>
                    <a:pt x="96641" y="13819"/>
                  </a:lnTo>
                  <a:lnTo>
                    <a:pt x="96641" y="0"/>
                  </a:lnTo>
                  <a:lnTo>
                    <a:pt x="117370" y="0"/>
                  </a:lnTo>
                  <a:lnTo>
                    <a:pt x="138099" y="6910"/>
                  </a:lnTo>
                  <a:lnTo>
                    <a:pt x="151918" y="10364"/>
                  </a:lnTo>
                  <a:lnTo>
                    <a:pt x="176008" y="13819"/>
                  </a:lnTo>
                  <a:lnTo>
                    <a:pt x="179463" y="20729"/>
                  </a:lnTo>
                  <a:lnTo>
                    <a:pt x="186373" y="34548"/>
                  </a:lnTo>
                  <a:lnTo>
                    <a:pt x="193283" y="62280"/>
                  </a:lnTo>
                  <a:lnTo>
                    <a:pt x="200192" y="72644"/>
                  </a:lnTo>
                  <a:lnTo>
                    <a:pt x="179463" y="86464"/>
                  </a:lnTo>
                  <a:lnTo>
                    <a:pt x="155373" y="93373"/>
                  </a:lnTo>
                  <a:lnTo>
                    <a:pt x="107005" y="62280"/>
                  </a:lnTo>
                  <a:lnTo>
                    <a:pt x="17274" y="65735"/>
                  </a:lnTo>
                  <a:lnTo>
                    <a:pt x="0" y="69190"/>
                  </a:lnTo>
                  <a:lnTo>
                    <a:pt x="0" y="51915"/>
                  </a:lnTo>
                  <a:lnTo>
                    <a:pt x="13819" y="34548"/>
                  </a:lnTo>
                  <a:lnTo>
                    <a:pt x="24183" y="17274"/>
                  </a:lnTo>
                  <a:lnTo>
                    <a:pt x="44819" y="20729"/>
                  </a:lnTo>
                  <a:close/>
                </a:path>
              </a:pathLst>
            </a:custGeom>
            <a:solidFill>
              <a:srgbClr val="CEE3BF"/>
            </a:solidFill>
            <a:ln w="9334" cap="flat">
              <a:noFill/>
              <a:prstDash val="solid"/>
              <a:miter/>
            </a:ln>
          </p:spPr>
          <p:txBody>
            <a:bodyPr rtlCol="0" anchor="ctr"/>
            <a:lstStyle/>
            <a:p>
              <a:endParaRPr lang="en-GB" dirty="0"/>
            </a:p>
          </p:txBody>
        </p:sp>
        <p:sp>
          <p:nvSpPr>
            <p:cNvPr id="1146" name="Freeform: Shape 1145">
              <a:extLst>
                <a:ext uri="{FF2B5EF4-FFF2-40B4-BE49-F238E27FC236}">
                  <a16:creationId xmlns:a16="http://schemas.microsoft.com/office/drawing/2014/main" id="{45D6A361-7A5B-4289-B7A5-8C7AF711B216}"/>
                </a:ext>
              </a:extLst>
            </p:cNvPr>
            <p:cNvSpPr/>
            <p:nvPr/>
          </p:nvSpPr>
          <p:spPr>
            <a:xfrm>
              <a:off x="6414986" y="2787505"/>
              <a:ext cx="155373" cy="93279"/>
            </a:xfrm>
            <a:custGeom>
              <a:avLst/>
              <a:gdLst>
                <a:gd name="connsiteX0" fmla="*/ 0 w 155373"/>
                <a:gd name="connsiteY0" fmla="*/ 6910 h 93279"/>
                <a:gd name="connsiteX1" fmla="*/ 17274 w 155373"/>
                <a:gd name="connsiteY1" fmla="*/ 3455 h 93279"/>
                <a:gd name="connsiteX2" fmla="*/ 107005 w 155373"/>
                <a:gd name="connsiteY2" fmla="*/ 0 h 93279"/>
                <a:gd name="connsiteX3" fmla="*/ 155373 w 155373"/>
                <a:gd name="connsiteY3" fmla="*/ 31093 h 93279"/>
                <a:gd name="connsiteX4" fmla="*/ 155373 w 155373"/>
                <a:gd name="connsiteY4" fmla="*/ 51822 h 93279"/>
                <a:gd name="connsiteX5" fmla="*/ 131189 w 155373"/>
                <a:gd name="connsiteY5" fmla="*/ 58732 h 93279"/>
                <a:gd name="connsiteX6" fmla="*/ 127734 w 155373"/>
                <a:gd name="connsiteY6" fmla="*/ 86370 h 93279"/>
                <a:gd name="connsiteX7" fmla="*/ 100096 w 155373"/>
                <a:gd name="connsiteY7" fmla="*/ 89825 h 93279"/>
                <a:gd name="connsiteX8" fmla="*/ 65548 w 155373"/>
                <a:gd name="connsiteY8" fmla="*/ 93280 h 93279"/>
                <a:gd name="connsiteX9" fmla="*/ 48367 w 155373"/>
                <a:gd name="connsiteY9" fmla="*/ 76006 h 93279"/>
                <a:gd name="connsiteX10" fmla="*/ 51729 w 155373"/>
                <a:gd name="connsiteY10" fmla="*/ 58732 h 93279"/>
                <a:gd name="connsiteX11" fmla="*/ 34548 w 155373"/>
                <a:gd name="connsiteY11" fmla="*/ 51822 h 93279"/>
                <a:gd name="connsiteX12" fmla="*/ 6910 w 155373"/>
                <a:gd name="connsiteY12" fmla="*/ 44912 h 93279"/>
                <a:gd name="connsiteX13" fmla="*/ 0 w 155373"/>
                <a:gd name="connsiteY13" fmla="*/ 6910 h 93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373" h="93279">
                  <a:moveTo>
                    <a:pt x="0" y="6910"/>
                  </a:moveTo>
                  <a:lnTo>
                    <a:pt x="17274" y="3455"/>
                  </a:lnTo>
                  <a:lnTo>
                    <a:pt x="107005" y="0"/>
                  </a:lnTo>
                  <a:lnTo>
                    <a:pt x="155373" y="31093"/>
                  </a:lnTo>
                  <a:lnTo>
                    <a:pt x="155373" y="51822"/>
                  </a:lnTo>
                  <a:lnTo>
                    <a:pt x="131189" y="58732"/>
                  </a:lnTo>
                  <a:lnTo>
                    <a:pt x="127734" y="86370"/>
                  </a:lnTo>
                  <a:lnTo>
                    <a:pt x="100096" y="89825"/>
                  </a:lnTo>
                  <a:lnTo>
                    <a:pt x="65548" y="93280"/>
                  </a:lnTo>
                  <a:lnTo>
                    <a:pt x="48367" y="76006"/>
                  </a:lnTo>
                  <a:lnTo>
                    <a:pt x="51729" y="58732"/>
                  </a:lnTo>
                  <a:lnTo>
                    <a:pt x="34548" y="51822"/>
                  </a:lnTo>
                  <a:lnTo>
                    <a:pt x="6910" y="44912"/>
                  </a:lnTo>
                  <a:lnTo>
                    <a:pt x="0" y="6910"/>
                  </a:lnTo>
                  <a:close/>
                </a:path>
              </a:pathLst>
            </a:custGeom>
            <a:solidFill>
              <a:srgbClr val="CEE3BF"/>
            </a:solidFill>
            <a:ln w="9334" cap="flat">
              <a:noFill/>
              <a:prstDash val="solid"/>
              <a:miter/>
            </a:ln>
          </p:spPr>
          <p:txBody>
            <a:bodyPr rtlCol="0" anchor="ctr"/>
            <a:lstStyle/>
            <a:p>
              <a:endParaRPr lang="en-GB" dirty="0"/>
            </a:p>
          </p:txBody>
        </p:sp>
        <p:sp>
          <p:nvSpPr>
            <p:cNvPr id="1147" name="Freeform: Shape 1146">
              <a:extLst>
                <a:ext uri="{FF2B5EF4-FFF2-40B4-BE49-F238E27FC236}">
                  <a16:creationId xmlns:a16="http://schemas.microsoft.com/office/drawing/2014/main" id="{DF8FA55E-3B65-42F0-87C5-CF7B9FFC6967}"/>
                </a:ext>
              </a:extLst>
            </p:cNvPr>
            <p:cNvSpPr/>
            <p:nvPr/>
          </p:nvSpPr>
          <p:spPr>
            <a:xfrm>
              <a:off x="6376983" y="2832418"/>
              <a:ext cx="89731" cy="34548"/>
            </a:xfrm>
            <a:custGeom>
              <a:avLst/>
              <a:gdLst>
                <a:gd name="connsiteX0" fmla="*/ 0 w 89731"/>
                <a:gd name="connsiteY0" fmla="*/ 20729 h 34548"/>
                <a:gd name="connsiteX1" fmla="*/ 6910 w 89731"/>
                <a:gd name="connsiteY1" fmla="*/ 34548 h 34548"/>
                <a:gd name="connsiteX2" fmla="*/ 86370 w 89731"/>
                <a:gd name="connsiteY2" fmla="*/ 31093 h 34548"/>
                <a:gd name="connsiteX3" fmla="*/ 89732 w 89731"/>
                <a:gd name="connsiteY3" fmla="*/ 13819 h 34548"/>
                <a:gd name="connsiteX4" fmla="*/ 51822 w 89731"/>
                <a:gd name="connsiteY4" fmla="*/ 0 h 34548"/>
                <a:gd name="connsiteX5" fmla="*/ 41458 w 89731"/>
                <a:gd name="connsiteY5" fmla="*/ 13819 h 34548"/>
                <a:gd name="connsiteX6" fmla="*/ 13819 w 89731"/>
                <a:gd name="connsiteY6" fmla="*/ 10364 h 34548"/>
                <a:gd name="connsiteX7" fmla="*/ 10364 w 89731"/>
                <a:gd name="connsiteY7" fmla="*/ 20729 h 34548"/>
                <a:gd name="connsiteX8" fmla="*/ 0 w 89731"/>
                <a:gd name="connsiteY8" fmla="*/ 20729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731" h="34548">
                  <a:moveTo>
                    <a:pt x="0" y="20729"/>
                  </a:moveTo>
                  <a:lnTo>
                    <a:pt x="6910" y="34548"/>
                  </a:lnTo>
                  <a:lnTo>
                    <a:pt x="86370" y="31093"/>
                  </a:lnTo>
                  <a:lnTo>
                    <a:pt x="89732" y="13819"/>
                  </a:lnTo>
                  <a:lnTo>
                    <a:pt x="51822" y="0"/>
                  </a:lnTo>
                  <a:lnTo>
                    <a:pt x="41458" y="13819"/>
                  </a:lnTo>
                  <a:lnTo>
                    <a:pt x="13819" y="10364"/>
                  </a:lnTo>
                  <a:lnTo>
                    <a:pt x="10364" y="20729"/>
                  </a:lnTo>
                  <a:lnTo>
                    <a:pt x="0" y="20729"/>
                  </a:lnTo>
                  <a:close/>
                </a:path>
              </a:pathLst>
            </a:custGeom>
            <a:solidFill>
              <a:srgbClr val="CEE3BF"/>
            </a:solidFill>
            <a:ln w="9334" cap="flat">
              <a:noFill/>
              <a:prstDash val="solid"/>
              <a:miter/>
            </a:ln>
          </p:spPr>
          <p:txBody>
            <a:bodyPr rtlCol="0" anchor="ctr"/>
            <a:lstStyle/>
            <a:p>
              <a:endParaRPr lang="en-GB" dirty="0"/>
            </a:p>
          </p:txBody>
        </p:sp>
        <p:sp>
          <p:nvSpPr>
            <p:cNvPr id="1148" name="Freeform: Shape 1147">
              <a:extLst>
                <a:ext uri="{FF2B5EF4-FFF2-40B4-BE49-F238E27FC236}">
                  <a16:creationId xmlns:a16="http://schemas.microsoft.com/office/drawing/2014/main" id="{76E564DA-DC90-493C-B6A9-1EE16F7F8115}"/>
                </a:ext>
              </a:extLst>
            </p:cNvPr>
            <p:cNvSpPr/>
            <p:nvPr/>
          </p:nvSpPr>
          <p:spPr>
            <a:xfrm>
              <a:off x="6376983" y="2832418"/>
              <a:ext cx="89731" cy="34548"/>
            </a:xfrm>
            <a:custGeom>
              <a:avLst/>
              <a:gdLst>
                <a:gd name="connsiteX0" fmla="*/ 0 w 89731"/>
                <a:gd name="connsiteY0" fmla="*/ 20729 h 34548"/>
                <a:gd name="connsiteX1" fmla="*/ 6910 w 89731"/>
                <a:gd name="connsiteY1" fmla="*/ 34548 h 34548"/>
                <a:gd name="connsiteX2" fmla="*/ 86370 w 89731"/>
                <a:gd name="connsiteY2" fmla="*/ 31093 h 34548"/>
                <a:gd name="connsiteX3" fmla="*/ 89732 w 89731"/>
                <a:gd name="connsiteY3" fmla="*/ 13819 h 34548"/>
                <a:gd name="connsiteX4" fmla="*/ 51822 w 89731"/>
                <a:gd name="connsiteY4" fmla="*/ 0 h 34548"/>
                <a:gd name="connsiteX5" fmla="*/ 41458 w 89731"/>
                <a:gd name="connsiteY5" fmla="*/ 13819 h 34548"/>
                <a:gd name="connsiteX6" fmla="*/ 13819 w 89731"/>
                <a:gd name="connsiteY6" fmla="*/ 10364 h 34548"/>
                <a:gd name="connsiteX7" fmla="*/ 10364 w 89731"/>
                <a:gd name="connsiteY7" fmla="*/ 20729 h 34548"/>
                <a:gd name="connsiteX8" fmla="*/ 0 w 89731"/>
                <a:gd name="connsiteY8" fmla="*/ 20729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731" h="34548">
                  <a:moveTo>
                    <a:pt x="0" y="20729"/>
                  </a:moveTo>
                  <a:lnTo>
                    <a:pt x="6910" y="34548"/>
                  </a:lnTo>
                  <a:lnTo>
                    <a:pt x="86370" y="31093"/>
                  </a:lnTo>
                  <a:lnTo>
                    <a:pt x="89732" y="13819"/>
                  </a:lnTo>
                  <a:lnTo>
                    <a:pt x="51822" y="0"/>
                  </a:lnTo>
                  <a:lnTo>
                    <a:pt x="41458" y="13819"/>
                  </a:lnTo>
                  <a:lnTo>
                    <a:pt x="13819" y="10364"/>
                  </a:lnTo>
                  <a:lnTo>
                    <a:pt x="10364" y="20729"/>
                  </a:lnTo>
                  <a:lnTo>
                    <a:pt x="0" y="20729"/>
                  </a:lnTo>
                  <a:close/>
                </a:path>
              </a:pathLst>
            </a:custGeom>
            <a:solidFill>
              <a:srgbClr val="CEE3BF"/>
            </a:solidFill>
            <a:ln w="9334" cap="flat">
              <a:noFill/>
              <a:prstDash val="solid"/>
              <a:miter/>
            </a:ln>
          </p:spPr>
          <p:txBody>
            <a:bodyPr rtlCol="0" anchor="ctr"/>
            <a:lstStyle/>
            <a:p>
              <a:endParaRPr lang="en-GB" dirty="0"/>
            </a:p>
          </p:txBody>
        </p:sp>
        <p:sp>
          <p:nvSpPr>
            <p:cNvPr id="1149" name="Freeform: Shape 1148">
              <a:extLst>
                <a:ext uri="{FF2B5EF4-FFF2-40B4-BE49-F238E27FC236}">
                  <a16:creationId xmlns:a16="http://schemas.microsoft.com/office/drawing/2014/main" id="{C27C4329-4ACF-4729-828A-2DCBE8C3BBCE}"/>
                </a:ext>
              </a:extLst>
            </p:cNvPr>
            <p:cNvSpPr/>
            <p:nvPr/>
          </p:nvSpPr>
          <p:spPr>
            <a:xfrm>
              <a:off x="6477079" y="2797870"/>
              <a:ext cx="258924" cy="183198"/>
            </a:xfrm>
            <a:custGeom>
              <a:avLst/>
              <a:gdLst>
                <a:gd name="connsiteX0" fmla="*/ 3455 w 258924"/>
                <a:gd name="connsiteY0" fmla="*/ 82915 h 183198"/>
                <a:gd name="connsiteX1" fmla="*/ 41458 w 258924"/>
                <a:gd name="connsiteY1" fmla="*/ 76006 h 183198"/>
                <a:gd name="connsiteX2" fmla="*/ 65642 w 258924"/>
                <a:gd name="connsiteY2" fmla="*/ 76006 h 183198"/>
                <a:gd name="connsiteX3" fmla="*/ 69096 w 258924"/>
                <a:gd name="connsiteY3" fmla="*/ 48367 h 183198"/>
                <a:gd name="connsiteX4" fmla="*/ 93280 w 258924"/>
                <a:gd name="connsiteY4" fmla="*/ 41458 h 183198"/>
                <a:gd name="connsiteX5" fmla="*/ 93280 w 258924"/>
                <a:gd name="connsiteY5" fmla="*/ 20729 h 183198"/>
                <a:gd name="connsiteX6" fmla="*/ 117370 w 258924"/>
                <a:gd name="connsiteY6" fmla="*/ 13819 h 183198"/>
                <a:gd name="connsiteX7" fmla="*/ 138099 w 258924"/>
                <a:gd name="connsiteY7" fmla="*/ 0 h 183198"/>
                <a:gd name="connsiteX8" fmla="*/ 169192 w 258924"/>
                <a:gd name="connsiteY8" fmla="*/ 6910 h 183198"/>
                <a:gd name="connsiteX9" fmla="*/ 169192 w 258924"/>
                <a:gd name="connsiteY9" fmla="*/ 17274 h 183198"/>
                <a:gd name="connsiteX10" fmla="*/ 203740 w 258924"/>
                <a:gd name="connsiteY10" fmla="*/ 20729 h 183198"/>
                <a:gd name="connsiteX11" fmla="*/ 210650 w 258924"/>
                <a:gd name="connsiteY11" fmla="*/ 58732 h 183198"/>
                <a:gd name="connsiteX12" fmla="*/ 258924 w 258924"/>
                <a:gd name="connsiteY12" fmla="*/ 110554 h 183198"/>
                <a:gd name="connsiteX13" fmla="*/ 255470 w 258924"/>
                <a:gd name="connsiteY13" fmla="*/ 114009 h 183198"/>
                <a:gd name="connsiteX14" fmla="*/ 224470 w 258924"/>
                <a:gd name="connsiteY14" fmla="*/ 114009 h 183198"/>
                <a:gd name="connsiteX15" fmla="*/ 224470 w 258924"/>
                <a:gd name="connsiteY15" fmla="*/ 148650 h 183198"/>
                <a:gd name="connsiteX16" fmla="*/ 203740 w 258924"/>
                <a:gd name="connsiteY16" fmla="*/ 152105 h 183198"/>
                <a:gd name="connsiteX17" fmla="*/ 196831 w 258924"/>
                <a:gd name="connsiteY17" fmla="*/ 183198 h 183198"/>
                <a:gd name="connsiteX18" fmla="*/ 162283 w 258924"/>
                <a:gd name="connsiteY18" fmla="*/ 179743 h 183198"/>
                <a:gd name="connsiteX19" fmla="*/ 158828 w 258924"/>
                <a:gd name="connsiteY19" fmla="*/ 169379 h 183198"/>
                <a:gd name="connsiteX20" fmla="*/ 110554 w 258924"/>
                <a:gd name="connsiteY20" fmla="*/ 169379 h 183198"/>
                <a:gd name="connsiteX21" fmla="*/ 79461 w 258924"/>
                <a:gd name="connsiteY21" fmla="*/ 162469 h 183198"/>
                <a:gd name="connsiteX22" fmla="*/ 27639 w 258924"/>
                <a:gd name="connsiteY22" fmla="*/ 152105 h 183198"/>
                <a:gd name="connsiteX23" fmla="*/ 10365 w 258924"/>
                <a:gd name="connsiteY23" fmla="*/ 176289 h 183198"/>
                <a:gd name="connsiteX24" fmla="*/ 10365 w 258924"/>
                <a:gd name="connsiteY24" fmla="*/ 152105 h 183198"/>
                <a:gd name="connsiteX25" fmla="*/ 0 w 258924"/>
                <a:gd name="connsiteY25" fmla="*/ 145195 h 183198"/>
                <a:gd name="connsiteX26" fmla="*/ 3455 w 258924"/>
                <a:gd name="connsiteY26" fmla="*/ 134737 h 183198"/>
                <a:gd name="connsiteX27" fmla="*/ 17274 w 258924"/>
                <a:gd name="connsiteY27" fmla="*/ 134737 h 183198"/>
                <a:gd name="connsiteX28" fmla="*/ 17274 w 258924"/>
                <a:gd name="connsiteY28" fmla="*/ 110554 h 183198"/>
                <a:gd name="connsiteX29" fmla="*/ 10365 w 258924"/>
                <a:gd name="connsiteY29" fmla="*/ 103644 h 183198"/>
                <a:gd name="connsiteX30" fmla="*/ 3455 w 258924"/>
                <a:gd name="connsiteY30" fmla="*/ 82915 h 18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8924" h="183198">
                  <a:moveTo>
                    <a:pt x="3455" y="82915"/>
                  </a:moveTo>
                  <a:lnTo>
                    <a:pt x="41458" y="76006"/>
                  </a:lnTo>
                  <a:lnTo>
                    <a:pt x="65642" y="76006"/>
                  </a:lnTo>
                  <a:lnTo>
                    <a:pt x="69096" y="48367"/>
                  </a:lnTo>
                  <a:lnTo>
                    <a:pt x="93280" y="41458"/>
                  </a:lnTo>
                  <a:lnTo>
                    <a:pt x="93280" y="20729"/>
                  </a:lnTo>
                  <a:lnTo>
                    <a:pt x="117370" y="13819"/>
                  </a:lnTo>
                  <a:lnTo>
                    <a:pt x="138099" y="0"/>
                  </a:lnTo>
                  <a:lnTo>
                    <a:pt x="169192" y="6910"/>
                  </a:lnTo>
                  <a:lnTo>
                    <a:pt x="169192" y="17274"/>
                  </a:lnTo>
                  <a:lnTo>
                    <a:pt x="203740" y="20729"/>
                  </a:lnTo>
                  <a:lnTo>
                    <a:pt x="210650" y="58732"/>
                  </a:lnTo>
                  <a:lnTo>
                    <a:pt x="258924" y="110554"/>
                  </a:lnTo>
                  <a:lnTo>
                    <a:pt x="255470" y="114009"/>
                  </a:lnTo>
                  <a:lnTo>
                    <a:pt x="224470" y="114009"/>
                  </a:lnTo>
                  <a:lnTo>
                    <a:pt x="224470" y="148650"/>
                  </a:lnTo>
                  <a:lnTo>
                    <a:pt x="203740" y="152105"/>
                  </a:lnTo>
                  <a:lnTo>
                    <a:pt x="196831" y="183198"/>
                  </a:lnTo>
                  <a:lnTo>
                    <a:pt x="162283" y="179743"/>
                  </a:lnTo>
                  <a:lnTo>
                    <a:pt x="158828" y="169379"/>
                  </a:lnTo>
                  <a:lnTo>
                    <a:pt x="110554" y="169379"/>
                  </a:lnTo>
                  <a:lnTo>
                    <a:pt x="79461" y="162469"/>
                  </a:lnTo>
                  <a:lnTo>
                    <a:pt x="27639" y="152105"/>
                  </a:lnTo>
                  <a:lnTo>
                    <a:pt x="10365" y="176289"/>
                  </a:lnTo>
                  <a:lnTo>
                    <a:pt x="10365" y="152105"/>
                  </a:lnTo>
                  <a:lnTo>
                    <a:pt x="0" y="145195"/>
                  </a:lnTo>
                  <a:lnTo>
                    <a:pt x="3455" y="134737"/>
                  </a:lnTo>
                  <a:lnTo>
                    <a:pt x="17274" y="134737"/>
                  </a:lnTo>
                  <a:lnTo>
                    <a:pt x="17274" y="110554"/>
                  </a:lnTo>
                  <a:lnTo>
                    <a:pt x="10365" y="103644"/>
                  </a:lnTo>
                  <a:lnTo>
                    <a:pt x="3455" y="82915"/>
                  </a:lnTo>
                  <a:close/>
                </a:path>
              </a:pathLst>
            </a:custGeom>
            <a:solidFill>
              <a:srgbClr val="CEE3BF"/>
            </a:solidFill>
            <a:ln w="9334" cap="flat">
              <a:noFill/>
              <a:prstDash val="solid"/>
              <a:miter/>
            </a:ln>
          </p:spPr>
          <p:txBody>
            <a:bodyPr rtlCol="0" anchor="ctr"/>
            <a:lstStyle/>
            <a:p>
              <a:endParaRPr lang="en-GB" dirty="0"/>
            </a:p>
          </p:txBody>
        </p:sp>
        <p:sp>
          <p:nvSpPr>
            <p:cNvPr id="1150" name="Freeform: Shape 1149">
              <a:extLst>
                <a:ext uri="{FF2B5EF4-FFF2-40B4-BE49-F238E27FC236}">
                  <a16:creationId xmlns:a16="http://schemas.microsoft.com/office/drawing/2014/main" id="{DC317105-180D-415D-AB7E-55C7EE0C763C}"/>
                </a:ext>
              </a:extLst>
            </p:cNvPr>
            <p:cNvSpPr/>
            <p:nvPr/>
          </p:nvSpPr>
          <p:spPr>
            <a:xfrm>
              <a:off x="5557073" y="2866966"/>
              <a:ext cx="113915" cy="107192"/>
            </a:xfrm>
            <a:custGeom>
              <a:avLst/>
              <a:gdLst>
                <a:gd name="connsiteX0" fmla="*/ 113915 w 113915"/>
                <a:gd name="connsiteY0" fmla="*/ 44912 h 107192"/>
                <a:gd name="connsiteX1" fmla="*/ 110460 w 113915"/>
                <a:gd name="connsiteY1" fmla="*/ 76099 h 107192"/>
                <a:gd name="connsiteX2" fmla="*/ 82822 w 113915"/>
                <a:gd name="connsiteY2" fmla="*/ 83009 h 107192"/>
                <a:gd name="connsiteX3" fmla="*/ 62093 w 113915"/>
                <a:gd name="connsiteY3" fmla="*/ 89918 h 107192"/>
                <a:gd name="connsiteX4" fmla="*/ 44819 w 113915"/>
                <a:gd name="connsiteY4" fmla="*/ 100283 h 107192"/>
                <a:gd name="connsiteX5" fmla="*/ 31093 w 113915"/>
                <a:gd name="connsiteY5" fmla="*/ 107193 h 107192"/>
                <a:gd name="connsiteX6" fmla="*/ 13819 w 113915"/>
                <a:gd name="connsiteY6" fmla="*/ 100283 h 107192"/>
                <a:gd name="connsiteX7" fmla="*/ 0 w 113915"/>
                <a:gd name="connsiteY7" fmla="*/ 83009 h 107192"/>
                <a:gd name="connsiteX8" fmla="*/ 17274 w 113915"/>
                <a:gd name="connsiteY8" fmla="*/ 69096 h 107192"/>
                <a:gd name="connsiteX9" fmla="*/ 20729 w 113915"/>
                <a:gd name="connsiteY9" fmla="*/ 51822 h 107192"/>
                <a:gd name="connsiteX10" fmla="*/ 34455 w 113915"/>
                <a:gd name="connsiteY10" fmla="*/ 44912 h 107192"/>
                <a:gd name="connsiteX11" fmla="*/ 24184 w 113915"/>
                <a:gd name="connsiteY11" fmla="*/ 38003 h 107192"/>
                <a:gd name="connsiteX12" fmla="*/ 6910 w 113915"/>
                <a:gd name="connsiteY12" fmla="*/ 41458 h 107192"/>
                <a:gd name="connsiteX13" fmla="*/ 3455 w 113915"/>
                <a:gd name="connsiteY13" fmla="*/ 27639 h 107192"/>
                <a:gd name="connsiteX14" fmla="*/ 10364 w 113915"/>
                <a:gd name="connsiteY14" fmla="*/ 20729 h 107192"/>
                <a:gd name="connsiteX15" fmla="*/ 6910 w 113915"/>
                <a:gd name="connsiteY15" fmla="*/ 10364 h 107192"/>
                <a:gd name="connsiteX16" fmla="*/ 17274 w 113915"/>
                <a:gd name="connsiteY16" fmla="*/ 0 h 107192"/>
                <a:gd name="connsiteX17" fmla="*/ 34455 w 113915"/>
                <a:gd name="connsiteY17" fmla="*/ 6910 h 107192"/>
                <a:gd name="connsiteX18" fmla="*/ 48274 w 113915"/>
                <a:gd name="connsiteY18" fmla="*/ 3455 h 107192"/>
                <a:gd name="connsiteX19" fmla="*/ 62093 w 113915"/>
                <a:gd name="connsiteY19" fmla="*/ 0 h 107192"/>
                <a:gd name="connsiteX20" fmla="*/ 75912 w 113915"/>
                <a:gd name="connsiteY20" fmla="*/ 6910 h 107192"/>
                <a:gd name="connsiteX21" fmla="*/ 89732 w 113915"/>
                <a:gd name="connsiteY21" fmla="*/ 0 h 107192"/>
                <a:gd name="connsiteX22" fmla="*/ 100096 w 113915"/>
                <a:gd name="connsiteY22" fmla="*/ 10364 h 107192"/>
                <a:gd name="connsiteX23" fmla="*/ 110460 w 113915"/>
                <a:gd name="connsiteY23" fmla="*/ 20729 h 107192"/>
                <a:gd name="connsiteX24" fmla="*/ 113915 w 113915"/>
                <a:gd name="connsiteY24" fmla="*/ 44912 h 10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3915" h="107192">
                  <a:moveTo>
                    <a:pt x="113915" y="44912"/>
                  </a:moveTo>
                  <a:lnTo>
                    <a:pt x="110460" y="76099"/>
                  </a:lnTo>
                  <a:lnTo>
                    <a:pt x="82822" y="83009"/>
                  </a:lnTo>
                  <a:lnTo>
                    <a:pt x="62093" y="89918"/>
                  </a:lnTo>
                  <a:lnTo>
                    <a:pt x="44819" y="100283"/>
                  </a:lnTo>
                  <a:lnTo>
                    <a:pt x="31093" y="107193"/>
                  </a:lnTo>
                  <a:lnTo>
                    <a:pt x="13819" y="100283"/>
                  </a:lnTo>
                  <a:lnTo>
                    <a:pt x="0" y="83009"/>
                  </a:lnTo>
                  <a:lnTo>
                    <a:pt x="17274" y="69096"/>
                  </a:lnTo>
                  <a:lnTo>
                    <a:pt x="20729" y="51822"/>
                  </a:lnTo>
                  <a:lnTo>
                    <a:pt x="34455" y="44912"/>
                  </a:lnTo>
                  <a:lnTo>
                    <a:pt x="24184" y="38003"/>
                  </a:lnTo>
                  <a:lnTo>
                    <a:pt x="6910" y="41458"/>
                  </a:lnTo>
                  <a:lnTo>
                    <a:pt x="3455" y="27639"/>
                  </a:lnTo>
                  <a:lnTo>
                    <a:pt x="10364" y="20729"/>
                  </a:lnTo>
                  <a:lnTo>
                    <a:pt x="6910" y="10364"/>
                  </a:lnTo>
                  <a:lnTo>
                    <a:pt x="17274" y="0"/>
                  </a:lnTo>
                  <a:lnTo>
                    <a:pt x="34455" y="6910"/>
                  </a:lnTo>
                  <a:lnTo>
                    <a:pt x="48274" y="3455"/>
                  </a:lnTo>
                  <a:lnTo>
                    <a:pt x="62093" y="0"/>
                  </a:lnTo>
                  <a:lnTo>
                    <a:pt x="75912" y="6910"/>
                  </a:lnTo>
                  <a:lnTo>
                    <a:pt x="89732" y="0"/>
                  </a:lnTo>
                  <a:lnTo>
                    <a:pt x="100096" y="10364"/>
                  </a:lnTo>
                  <a:lnTo>
                    <a:pt x="110460" y="20729"/>
                  </a:lnTo>
                  <a:lnTo>
                    <a:pt x="113915" y="44912"/>
                  </a:lnTo>
                  <a:close/>
                </a:path>
              </a:pathLst>
            </a:custGeom>
            <a:solidFill>
              <a:srgbClr val="CEE3BF"/>
            </a:solidFill>
            <a:ln w="9334" cap="flat">
              <a:noFill/>
              <a:prstDash val="solid"/>
              <a:miter/>
            </a:ln>
          </p:spPr>
          <p:txBody>
            <a:bodyPr rtlCol="0" anchor="ctr"/>
            <a:lstStyle/>
            <a:p>
              <a:endParaRPr lang="en-GB" dirty="0"/>
            </a:p>
          </p:txBody>
        </p:sp>
        <p:sp>
          <p:nvSpPr>
            <p:cNvPr id="1151" name="Freeform: Shape 1150">
              <a:extLst>
                <a:ext uri="{FF2B5EF4-FFF2-40B4-BE49-F238E27FC236}">
                  <a16:creationId xmlns:a16="http://schemas.microsoft.com/office/drawing/2014/main" id="{FB43BD8F-9ACC-43A2-AB22-0F9B93A1E9D1}"/>
                </a:ext>
              </a:extLst>
            </p:cNvPr>
            <p:cNvSpPr/>
            <p:nvPr/>
          </p:nvSpPr>
          <p:spPr>
            <a:xfrm>
              <a:off x="5577802" y="3292188"/>
              <a:ext cx="93186" cy="165924"/>
            </a:xfrm>
            <a:custGeom>
              <a:avLst/>
              <a:gdLst>
                <a:gd name="connsiteX0" fmla="*/ 62093 w 93186"/>
                <a:gd name="connsiteY0" fmla="*/ 165924 h 165924"/>
                <a:gd name="connsiteX1" fmla="*/ 41364 w 93186"/>
                <a:gd name="connsiteY1" fmla="*/ 165924 h 165924"/>
                <a:gd name="connsiteX2" fmla="*/ 20635 w 93186"/>
                <a:gd name="connsiteY2" fmla="*/ 165924 h 165924"/>
                <a:gd name="connsiteX3" fmla="*/ 20635 w 93186"/>
                <a:gd name="connsiteY3" fmla="*/ 152105 h 165924"/>
                <a:gd name="connsiteX4" fmla="*/ 20635 w 93186"/>
                <a:gd name="connsiteY4" fmla="*/ 124373 h 165924"/>
                <a:gd name="connsiteX5" fmla="*/ 13819 w 93186"/>
                <a:gd name="connsiteY5" fmla="*/ 120918 h 165924"/>
                <a:gd name="connsiteX6" fmla="*/ 0 w 93186"/>
                <a:gd name="connsiteY6" fmla="*/ 103644 h 165924"/>
                <a:gd name="connsiteX7" fmla="*/ 13819 w 93186"/>
                <a:gd name="connsiteY7" fmla="*/ 86370 h 165924"/>
                <a:gd name="connsiteX8" fmla="*/ 17181 w 93186"/>
                <a:gd name="connsiteY8" fmla="*/ 69096 h 165924"/>
                <a:gd name="connsiteX9" fmla="*/ 24090 w 93186"/>
                <a:gd name="connsiteY9" fmla="*/ 44912 h 165924"/>
                <a:gd name="connsiteX10" fmla="*/ 20635 w 93186"/>
                <a:gd name="connsiteY10" fmla="*/ 24184 h 165924"/>
                <a:gd name="connsiteX11" fmla="*/ 24090 w 93186"/>
                <a:gd name="connsiteY11" fmla="*/ 0 h 165924"/>
                <a:gd name="connsiteX12" fmla="*/ 34455 w 93186"/>
                <a:gd name="connsiteY12" fmla="*/ 3455 h 165924"/>
                <a:gd name="connsiteX13" fmla="*/ 44819 w 93186"/>
                <a:gd name="connsiteY13" fmla="*/ 13819 h 165924"/>
                <a:gd name="connsiteX14" fmla="*/ 65548 w 93186"/>
                <a:gd name="connsiteY14" fmla="*/ 10364 h 165924"/>
                <a:gd name="connsiteX15" fmla="*/ 82822 w 93186"/>
                <a:gd name="connsiteY15" fmla="*/ 10364 h 165924"/>
                <a:gd name="connsiteX16" fmla="*/ 93186 w 93186"/>
                <a:gd name="connsiteY16" fmla="*/ 24184 h 165924"/>
                <a:gd name="connsiteX17" fmla="*/ 89732 w 93186"/>
                <a:gd name="connsiteY17" fmla="*/ 34548 h 165924"/>
                <a:gd name="connsiteX18" fmla="*/ 72457 w 93186"/>
                <a:gd name="connsiteY18" fmla="*/ 38003 h 165924"/>
                <a:gd name="connsiteX19" fmla="*/ 72457 w 93186"/>
                <a:gd name="connsiteY19" fmla="*/ 62186 h 165924"/>
                <a:gd name="connsiteX20" fmla="*/ 72457 w 93186"/>
                <a:gd name="connsiteY20" fmla="*/ 79461 h 165924"/>
                <a:gd name="connsiteX21" fmla="*/ 69003 w 93186"/>
                <a:gd name="connsiteY21" fmla="*/ 86370 h 165924"/>
                <a:gd name="connsiteX22" fmla="*/ 58638 w 93186"/>
                <a:gd name="connsiteY22" fmla="*/ 93280 h 165924"/>
                <a:gd name="connsiteX23" fmla="*/ 58638 w 93186"/>
                <a:gd name="connsiteY23" fmla="*/ 100189 h 165924"/>
                <a:gd name="connsiteX24" fmla="*/ 69003 w 93186"/>
                <a:gd name="connsiteY24" fmla="*/ 114009 h 165924"/>
                <a:gd name="connsiteX25" fmla="*/ 58638 w 93186"/>
                <a:gd name="connsiteY25" fmla="*/ 120918 h 165924"/>
                <a:gd name="connsiteX26" fmla="*/ 62093 w 93186"/>
                <a:gd name="connsiteY26" fmla="*/ 131283 h 165924"/>
                <a:gd name="connsiteX27" fmla="*/ 65548 w 93186"/>
                <a:gd name="connsiteY27" fmla="*/ 141740 h 165924"/>
                <a:gd name="connsiteX28" fmla="*/ 55184 w 93186"/>
                <a:gd name="connsiteY28" fmla="*/ 148650 h 165924"/>
                <a:gd name="connsiteX29" fmla="*/ 62093 w 93186"/>
                <a:gd name="connsiteY29" fmla="*/ 165924 h 16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3186" h="165924">
                  <a:moveTo>
                    <a:pt x="62093" y="165924"/>
                  </a:moveTo>
                  <a:lnTo>
                    <a:pt x="41364" y="165924"/>
                  </a:lnTo>
                  <a:lnTo>
                    <a:pt x="20635" y="165924"/>
                  </a:lnTo>
                  <a:lnTo>
                    <a:pt x="20635" y="152105"/>
                  </a:lnTo>
                  <a:lnTo>
                    <a:pt x="20635" y="124373"/>
                  </a:lnTo>
                  <a:lnTo>
                    <a:pt x="13819" y="120918"/>
                  </a:lnTo>
                  <a:lnTo>
                    <a:pt x="0" y="103644"/>
                  </a:lnTo>
                  <a:lnTo>
                    <a:pt x="13819" y="86370"/>
                  </a:lnTo>
                  <a:lnTo>
                    <a:pt x="17181" y="69096"/>
                  </a:lnTo>
                  <a:lnTo>
                    <a:pt x="24090" y="44912"/>
                  </a:lnTo>
                  <a:lnTo>
                    <a:pt x="20635" y="24184"/>
                  </a:lnTo>
                  <a:lnTo>
                    <a:pt x="24090" y="0"/>
                  </a:lnTo>
                  <a:lnTo>
                    <a:pt x="34455" y="3455"/>
                  </a:lnTo>
                  <a:lnTo>
                    <a:pt x="44819" y="13819"/>
                  </a:lnTo>
                  <a:lnTo>
                    <a:pt x="65548" y="10364"/>
                  </a:lnTo>
                  <a:lnTo>
                    <a:pt x="82822" y="10364"/>
                  </a:lnTo>
                  <a:lnTo>
                    <a:pt x="93186" y="24184"/>
                  </a:lnTo>
                  <a:lnTo>
                    <a:pt x="89732" y="34548"/>
                  </a:lnTo>
                  <a:lnTo>
                    <a:pt x="72457" y="38003"/>
                  </a:lnTo>
                  <a:lnTo>
                    <a:pt x="72457" y="62186"/>
                  </a:lnTo>
                  <a:lnTo>
                    <a:pt x="72457" y="79461"/>
                  </a:lnTo>
                  <a:lnTo>
                    <a:pt x="69003" y="86370"/>
                  </a:lnTo>
                  <a:lnTo>
                    <a:pt x="58638" y="93280"/>
                  </a:lnTo>
                  <a:lnTo>
                    <a:pt x="58638" y="100189"/>
                  </a:lnTo>
                  <a:lnTo>
                    <a:pt x="69003" y="114009"/>
                  </a:lnTo>
                  <a:lnTo>
                    <a:pt x="58638" y="120918"/>
                  </a:lnTo>
                  <a:lnTo>
                    <a:pt x="62093" y="131283"/>
                  </a:lnTo>
                  <a:lnTo>
                    <a:pt x="65548" y="141740"/>
                  </a:lnTo>
                  <a:lnTo>
                    <a:pt x="55184" y="148650"/>
                  </a:lnTo>
                  <a:lnTo>
                    <a:pt x="62093" y="165924"/>
                  </a:lnTo>
                  <a:close/>
                </a:path>
              </a:pathLst>
            </a:custGeom>
            <a:solidFill>
              <a:srgbClr val="CEE3BF"/>
            </a:solidFill>
            <a:ln w="9334" cap="flat">
              <a:noFill/>
              <a:prstDash val="solid"/>
              <a:miter/>
            </a:ln>
          </p:spPr>
          <p:txBody>
            <a:bodyPr rtlCol="0" anchor="ctr"/>
            <a:lstStyle/>
            <a:p>
              <a:endParaRPr lang="en-GB" dirty="0"/>
            </a:p>
          </p:txBody>
        </p:sp>
        <p:sp>
          <p:nvSpPr>
            <p:cNvPr id="1152" name="Freeform: Shape 1151">
              <a:extLst>
                <a:ext uri="{FF2B5EF4-FFF2-40B4-BE49-F238E27FC236}">
                  <a16:creationId xmlns:a16="http://schemas.microsoft.com/office/drawing/2014/main" id="{55BBFF55-8C56-4F1B-B0E7-6E6B05BAE6E3}"/>
                </a:ext>
              </a:extLst>
            </p:cNvPr>
            <p:cNvSpPr/>
            <p:nvPr/>
          </p:nvSpPr>
          <p:spPr>
            <a:xfrm>
              <a:off x="6078376" y="3274913"/>
              <a:ext cx="24183" cy="44912"/>
            </a:xfrm>
            <a:custGeom>
              <a:avLst/>
              <a:gdLst>
                <a:gd name="connsiteX0" fmla="*/ 17274 w 24183"/>
                <a:gd name="connsiteY0" fmla="*/ 0 h 44912"/>
                <a:gd name="connsiteX1" fmla="*/ 6910 w 24183"/>
                <a:gd name="connsiteY1" fmla="*/ 3455 h 44912"/>
                <a:gd name="connsiteX2" fmla="*/ 0 w 24183"/>
                <a:gd name="connsiteY2" fmla="*/ 10364 h 44912"/>
                <a:gd name="connsiteX3" fmla="*/ 0 w 24183"/>
                <a:gd name="connsiteY3" fmla="*/ 24184 h 44912"/>
                <a:gd name="connsiteX4" fmla="*/ 0 w 24183"/>
                <a:gd name="connsiteY4" fmla="*/ 38003 h 44912"/>
                <a:gd name="connsiteX5" fmla="*/ 10364 w 24183"/>
                <a:gd name="connsiteY5" fmla="*/ 44912 h 44912"/>
                <a:gd name="connsiteX6" fmla="*/ 17274 w 24183"/>
                <a:gd name="connsiteY6" fmla="*/ 31093 h 44912"/>
                <a:gd name="connsiteX7" fmla="*/ 13819 w 24183"/>
                <a:gd name="connsiteY7" fmla="*/ 20729 h 44912"/>
                <a:gd name="connsiteX8" fmla="*/ 24183 w 24183"/>
                <a:gd name="connsiteY8" fmla="*/ 17274 h 44912"/>
                <a:gd name="connsiteX9" fmla="*/ 17274 w 24183"/>
                <a:gd name="connsiteY9" fmla="*/ 0 h 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83" h="44912">
                  <a:moveTo>
                    <a:pt x="17274" y="0"/>
                  </a:moveTo>
                  <a:lnTo>
                    <a:pt x="6910" y="3455"/>
                  </a:lnTo>
                  <a:lnTo>
                    <a:pt x="0" y="10364"/>
                  </a:lnTo>
                  <a:lnTo>
                    <a:pt x="0" y="24184"/>
                  </a:lnTo>
                  <a:lnTo>
                    <a:pt x="0" y="38003"/>
                  </a:lnTo>
                  <a:lnTo>
                    <a:pt x="10364" y="44912"/>
                  </a:lnTo>
                  <a:lnTo>
                    <a:pt x="17274" y="31093"/>
                  </a:lnTo>
                  <a:lnTo>
                    <a:pt x="13819" y="20729"/>
                  </a:lnTo>
                  <a:lnTo>
                    <a:pt x="24183" y="17274"/>
                  </a:lnTo>
                  <a:lnTo>
                    <a:pt x="17274" y="0"/>
                  </a:lnTo>
                  <a:close/>
                </a:path>
              </a:pathLst>
            </a:custGeom>
            <a:solidFill>
              <a:srgbClr val="CEE3BF"/>
            </a:solidFill>
            <a:ln w="9334" cap="flat">
              <a:noFill/>
              <a:prstDash val="solid"/>
              <a:miter/>
            </a:ln>
          </p:spPr>
          <p:txBody>
            <a:bodyPr rtlCol="0" anchor="ctr"/>
            <a:lstStyle/>
            <a:p>
              <a:endParaRPr lang="en-GB" dirty="0"/>
            </a:p>
          </p:txBody>
        </p:sp>
        <p:sp>
          <p:nvSpPr>
            <p:cNvPr id="1153" name="Freeform: Shape 1152">
              <a:extLst>
                <a:ext uri="{FF2B5EF4-FFF2-40B4-BE49-F238E27FC236}">
                  <a16:creationId xmlns:a16="http://schemas.microsoft.com/office/drawing/2014/main" id="{63FB2660-7067-4D83-866D-23ADE5765FFF}"/>
                </a:ext>
              </a:extLst>
            </p:cNvPr>
            <p:cNvSpPr/>
            <p:nvPr/>
          </p:nvSpPr>
          <p:spPr>
            <a:xfrm>
              <a:off x="6068011" y="3333645"/>
              <a:ext cx="34548" cy="65641"/>
            </a:xfrm>
            <a:custGeom>
              <a:avLst/>
              <a:gdLst>
                <a:gd name="connsiteX0" fmla="*/ 17274 w 34548"/>
                <a:gd name="connsiteY0" fmla="*/ 0 h 65641"/>
                <a:gd name="connsiteX1" fmla="*/ 13820 w 34548"/>
                <a:gd name="connsiteY1" fmla="*/ 6910 h 65641"/>
                <a:gd name="connsiteX2" fmla="*/ 3455 w 34548"/>
                <a:gd name="connsiteY2" fmla="*/ 6910 h 65641"/>
                <a:gd name="connsiteX3" fmla="*/ 0 w 34548"/>
                <a:gd name="connsiteY3" fmla="*/ 20729 h 65641"/>
                <a:gd name="connsiteX4" fmla="*/ 6910 w 34548"/>
                <a:gd name="connsiteY4" fmla="*/ 27638 h 65641"/>
                <a:gd name="connsiteX5" fmla="*/ 6910 w 34548"/>
                <a:gd name="connsiteY5" fmla="*/ 44912 h 65641"/>
                <a:gd name="connsiteX6" fmla="*/ 6910 w 34548"/>
                <a:gd name="connsiteY6" fmla="*/ 62186 h 65641"/>
                <a:gd name="connsiteX7" fmla="*/ 17274 w 34548"/>
                <a:gd name="connsiteY7" fmla="*/ 65641 h 65641"/>
                <a:gd name="connsiteX8" fmla="*/ 24184 w 34548"/>
                <a:gd name="connsiteY8" fmla="*/ 58732 h 65641"/>
                <a:gd name="connsiteX9" fmla="*/ 34548 w 34548"/>
                <a:gd name="connsiteY9" fmla="*/ 48367 h 65641"/>
                <a:gd name="connsiteX10" fmla="*/ 31093 w 34548"/>
                <a:gd name="connsiteY10" fmla="*/ 24184 h 65641"/>
                <a:gd name="connsiteX11" fmla="*/ 34548 w 34548"/>
                <a:gd name="connsiteY11" fmla="*/ 10364 h 65641"/>
                <a:gd name="connsiteX12" fmla="*/ 31093 w 34548"/>
                <a:gd name="connsiteY12" fmla="*/ 3455 h 65641"/>
                <a:gd name="connsiteX13" fmla="*/ 17274 w 34548"/>
                <a:gd name="connsiteY13" fmla="*/ 0 h 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548" h="65641">
                  <a:moveTo>
                    <a:pt x="17274" y="0"/>
                  </a:moveTo>
                  <a:lnTo>
                    <a:pt x="13820" y="6910"/>
                  </a:lnTo>
                  <a:lnTo>
                    <a:pt x="3455" y="6910"/>
                  </a:lnTo>
                  <a:lnTo>
                    <a:pt x="0" y="20729"/>
                  </a:lnTo>
                  <a:lnTo>
                    <a:pt x="6910" y="27638"/>
                  </a:lnTo>
                  <a:lnTo>
                    <a:pt x="6910" y="44912"/>
                  </a:lnTo>
                  <a:lnTo>
                    <a:pt x="6910" y="62186"/>
                  </a:lnTo>
                  <a:lnTo>
                    <a:pt x="17274" y="65641"/>
                  </a:lnTo>
                  <a:lnTo>
                    <a:pt x="24184" y="58732"/>
                  </a:lnTo>
                  <a:lnTo>
                    <a:pt x="34548" y="48367"/>
                  </a:lnTo>
                  <a:lnTo>
                    <a:pt x="31093" y="24184"/>
                  </a:lnTo>
                  <a:lnTo>
                    <a:pt x="34548" y="10364"/>
                  </a:lnTo>
                  <a:lnTo>
                    <a:pt x="31093" y="3455"/>
                  </a:lnTo>
                  <a:lnTo>
                    <a:pt x="17274" y="0"/>
                  </a:lnTo>
                  <a:close/>
                </a:path>
              </a:pathLst>
            </a:custGeom>
            <a:solidFill>
              <a:srgbClr val="CEE3BF"/>
            </a:solidFill>
            <a:ln w="9334" cap="flat">
              <a:noFill/>
              <a:prstDash val="solid"/>
              <a:miter/>
            </a:ln>
          </p:spPr>
          <p:txBody>
            <a:bodyPr rtlCol="0" anchor="ctr"/>
            <a:lstStyle/>
            <a:p>
              <a:endParaRPr lang="en-GB" dirty="0"/>
            </a:p>
          </p:txBody>
        </p:sp>
        <p:sp>
          <p:nvSpPr>
            <p:cNvPr id="1154" name="Freeform: Shape 1153">
              <a:extLst>
                <a:ext uri="{FF2B5EF4-FFF2-40B4-BE49-F238E27FC236}">
                  <a16:creationId xmlns:a16="http://schemas.microsoft.com/office/drawing/2014/main" id="{DA305F40-0EE8-476C-9DBF-626DF2AC0B90}"/>
                </a:ext>
              </a:extLst>
            </p:cNvPr>
            <p:cNvSpPr/>
            <p:nvPr/>
          </p:nvSpPr>
          <p:spPr>
            <a:xfrm>
              <a:off x="6169881" y="2987978"/>
              <a:ext cx="189827" cy="86370"/>
            </a:xfrm>
            <a:custGeom>
              <a:avLst/>
              <a:gdLst>
                <a:gd name="connsiteX0" fmla="*/ 82822 w 189827"/>
                <a:gd name="connsiteY0" fmla="*/ 0 h 86370"/>
                <a:gd name="connsiteX1" fmla="*/ 96641 w 189827"/>
                <a:gd name="connsiteY1" fmla="*/ 6910 h 86370"/>
                <a:gd name="connsiteX2" fmla="*/ 117370 w 189827"/>
                <a:gd name="connsiteY2" fmla="*/ 13819 h 86370"/>
                <a:gd name="connsiteX3" fmla="*/ 120825 w 189827"/>
                <a:gd name="connsiteY3" fmla="*/ 27638 h 86370"/>
                <a:gd name="connsiteX4" fmla="*/ 134644 w 189827"/>
                <a:gd name="connsiteY4" fmla="*/ 31093 h 86370"/>
                <a:gd name="connsiteX5" fmla="*/ 138099 w 189827"/>
                <a:gd name="connsiteY5" fmla="*/ 24184 h 86370"/>
                <a:gd name="connsiteX6" fmla="*/ 151825 w 189827"/>
                <a:gd name="connsiteY6" fmla="*/ 27638 h 86370"/>
                <a:gd name="connsiteX7" fmla="*/ 162189 w 189827"/>
                <a:gd name="connsiteY7" fmla="*/ 34548 h 86370"/>
                <a:gd name="connsiteX8" fmla="*/ 176008 w 189827"/>
                <a:gd name="connsiteY8" fmla="*/ 41458 h 86370"/>
                <a:gd name="connsiteX9" fmla="*/ 189828 w 189827"/>
                <a:gd name="connsiteY9" fmla="*/ 51822 h 86370"/>
                <a:gd name="connsiteX10" fmla="*/ 172554 w 189827"/>
                <a:gd name="connsiteY10" fmla="*/ 62187 h 86370"/>
                <a:gd name="connsiteX11" fmla="*/ 158828 w 189827"/>
                <a:gd name="connsiteY11" fmla="*/ 76006 h 86370"/>
                <a:gd name="connsiteX12" fmla="*/ 141554 w 189827"/>
                <a:gd name="connsiteY12" fmla="*/ 79461 h 86370"/>
                <a:gd name="connsiteX13" fmla="*/ 131189 w 189827"/>
                <a:gd name="connsiteY13" fmla="*/ 86370 h 86370"/>
                <a:gd name="connsiteX14" fmla="*/ 113915 w 189827"/>
                <a:gd name="connsiteY14" fmla="*/ 86370 h 86370"/>
                <a:gd name="connsiteX15" fmla="*/ 79367 w 189827"/>
                <a:gd name="connsiteY15" fmla="*/ 72551 h 86370"/>
                <a:gd name="connsiteX16" fmla="*/ 75912 w 189827"/>
                <a:gd name="connsiteY16" fmla="*/ 82915 h 86370"/>
                <a:gd name="connsiteX17" fmla="*/ 48274 w 189827"/>
                <a:gd name="connsiteY17" fmla="*/ 79461 h 86370"/>
                <a:gd name="connsiteX18" fmla="*/ 34455 w 189827"/>
                <a:gd name="connsiteY18" fmla="*/ 69096 h 86370"/>
                <a:gd name="connsiteX19" fmla="*/ 24183 w 189827"/>
                <a:gd name="connsiteY19" fmla="*/ 58732 h 86370"/>
                <a:gd name="connsiteX20" fmla="*/ 0 w 189827"/>
                <a:gd name="connsiteY20" fmla="*/ 31093 h 86370"/>
                <a:gd name="connsiteX21" fmla="*/ 20635 w 189827"/>
                <a:gd name="connsiteY21" fmla="*/ 20729 h 86370"/>
                <a:gd name="connsiteX22" fmla="*/ 41364 w 189827"/>
                <a:gd name="connsiteY22" fmla="*/ 13819 h 86370"/>
                <a:gd name="connsiteX23" fmla="*/ 58638 w 189827"/>
                <a:gd name="connsiteY23" fmla="*/ 6910 h 86370"/>
                <a:gd name="connsiteX24" fmla="*/ 72458 w 189827"/>
                <a:gd name="connsiteY24" fmla="*/ 3455 h 86370"/>
                <a:gd name="connsiteX25" fmla="*/ 82822 w 189827"/>
                <a:gd name="connsiteY25" fmla="*/ 0 h 8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827" h="86370">
                  <a:moveTo>
                    <a:pt x="82822" y="0"/>
                  </a:moveTo>
                  <a:lnTo>
                    <a:pt x="96641" y="6910"/>
                  </a:lnTo>
                  <a:lnTo>
                    <a:pt x="117370" y="13819"/>
                  </a:lnTo>
                  <a:lnTo>
                    <a:pt x="120825" y="27638"/>
                  </a:lnTo>
                  <a:lnTo>
                    <a:pt x="134644" y="31093"/>
                  </a:lnTo>
                  <a:lnTo>
                    <a:pt x="138099" y="24184"/>
                  </a:lnTo>
                  <a:lnTo>
                    <a:pt x="151825" y="27638"/>
                  </a:lnTo>
                  <a:lnTo>
                    <a:pt x="162189" y="34548"/>
                  </a:lnTo>
                  <a:lnTo>
                    <a:pt x="176008" y="41458"/>
                  </a:lnTo>
                  <a:lnTo>
                    <a:pt x="189828" y="51822"/>
                  </a:lnTo>
                  <a:lnTo>
                    <a:pt x="172554" y="62187"/>
                  </a:lnTo>
                  <a:lnTo>
                    <a:pt x="158828" y="76006"/>
                  </a:lnTo>
                  <a:lnTo>
                    <a:pt x="141554" y="79461"/>
                  </a:lnTo>
                  <a:lnTo>
                    <a:pt x="131189" y="86370"/>
                  </a:lnTo>
                  <a:lnTo>
                    <a:pt x="113915" y="86370"/>
                  </a:lnTo>
                  <a:lnTo>
                    <a:pt x="79367" y="72551"/>
                  </a:lnTo>
                  <a:lnTo>
                    <a:pt x="75912" y="82915"/>
                  </a:lnTo>
                  <a:lnTo>
                    <a:pt x="48274" y="79461"/>
                  </a:lnTo>
                  <a:lnTo>
                    <a:pt x="34455" y="69096"/>
                  </a:lnTo>
                  <a:lnTo>
                    <a:pt x="24183" y="58732"/>
                  </a:lnTo>
                  <a:lnTo>
                    <a:pt x="0" y="31093"/>
                  </a:lnTo>
                  <a:lnTo>
                    <a:pt x="20635" y="20729"/>
                  </a:lnTo>
                  <a:lnTo>
                    <a:pt x="41364" y="13819"/>
                  </a:lnTo>
                  <a:lnTo>
                    <a:pt x="58638" y="6910"/>
                  </a:lnTo>
                  <a:lnTo>
                    <a:pt x="72458" y="3455"/>
                  </a:lnTo>
                  <a:lnTo>
                    <a:pt x="82822" y="0"/>
                  </a:lnTo>
                  <a:close/>
                </a:path>
              </a:pathLst>
            </a:custGeom>
            <a:solidFill>
              <a:srgbClr val="CEE3BF"/>
            </a:solidFill>
            <a:ln w="9334" cap="flat">
              <a:noFill/>
              <a:prstDash val="solid"/>
              <a:miter/>
            </a:ln>
          </p:spPr>
          <p:txBody>
            <a:bodyPr rtlCol="0" anchor="ctr"/>
            <a:lstStyle/>
            <a:p>
              <a:endParaRPr lang="en-GB" dirty="0"/>
            </a:p>
          </p:txBody>
        </p:sp>
        <p:sp>
          <p:nvSpPr>
            <p:cNvPr id="1155" name="Freeform: Shape 1154">
              <a:extLst>
                <a:ext uri="{FF2B5EF4-FFF2-40B4-BE49-F238E27FC236}">
                  <a16:creationId xmlns:a16="http://schemas.microsoft.com/office/drawing/2014/main" id="{D144D049-B5EE-4A2F-9BE8-075BDAB180E0}"/>
                </a:ext>
              </a:extLst>
            </p:cNvPr>
            <p:cNvSpPr/>
            <p:nvPr/>
          </p:nvSpPr>
          <p:spPr>
            <a:xfrm>
              <a:off x="6301070" y="3039800"/>
              <a:ext cx="155279" cy="65734"/>
            </a:xfrm>
            <a:custGeom>
              <a:avLst/>
              <a:gdLst>
                <a:gd name="connsiteX0" fmla="*/ 75912 w 155279"/>
                <a:gd name="connsiteY0" fmla="*/ 3455 h 65734"/>
                <a:gd name="connsiteX1" fmla="*/ 82822 w 155279"/>
                <a:gd name="connsiteY1" fmla="*/ 17274 h 65734"/>
                <a:gd name="connsiteX2" fmla="*/ 100096 w 155279"/>
                <a:gd name="connsiteY2" fmla="*/ 13819 h 65734"/>
                <a:gd name="connsiteX3" fmla="*/ 117370 w 155279"/>
                <a:gd name="connsiteY3" fmla="*/ 6910 h 65734"/>
                <a:gd name="connsiteX4" fmla="*/ 131189 w 155279"/>
                <a:gd name="connsiteY4" fmla="*/ 6910 h 65734"/>
                <a:gd name="connsiteX5" fmla="*/ 148464 w 155279"/>
                <a:gd name="connsiteY5" fmla="*/ 13819 h 65734"/>
                <a:gd name="connsiteX6" fmla="*/ 155280 w 155279"/>
                <a:gd name="connsiteY6" fmla="*/ 20729 h 65734"/>
                <a:gd name="connsiteX7" fmla="*/ 148464 w 155279"/>
                <a:gd name="connsiteY7" fmla="*/ 34548 h 65734"/>
                <a:gd name="connsiteX8" fmla="*/ 141554 w 155279"/>
                <a:gd name="connsiteY8" fmla="*/ 44912 h 65734"/>
                <a:gd name="connsiteX9" fmla="*/ 124280 w 155279"/>
                <a:gd name="connsiteY9" fmla="*/ 41458 h 65734"/>
                <a:gd name="connsiteX10" fmla="*/ 107006 w 155279"/>
                <a:gd name="connsiteY10" fmla="*/ 38003 h 65734"/>
                <a:gd name="connsiteX11" fmla="*/ 96641 w 155279"/>
                <a:gd name="connsiteY11" fmla="*/ 44912 h 65734"/>
                <a:gd name="connsiteX12" fmla="*/ 93186 w 155279"/>
                <a:gd name="connsiteY12" fmla="*/ 48367 h 65734"/>
                <a:gd name="connsiteX13" fmla="*/ 75912 w 155279"/>
                <a:gd name="connsiteY13" fmla="*/ 48367 h 65734"/>
                <a:gd name="connsiteX14" fmla="*/ 65548 w 155279"/>
                <a:gd name="connsiteY14" fmla="*/ 55370 h 65734"/>
                <a:gd name="connsiteX15" fmla="*/ 51729 w 155279"/>
                <a:gd name="connsiteY15" fmla="*/ 55370 h 65734"/>
                <a:gd name="connsiteX16" fmla="*/ 44819 w 155279"/>
                <a:gd name="connsiteY16" fmla="*/ 65735 h 65734"/>
                <a:gd name="connsiteX17" fmla="*/ 31000 w 155279"/>
                <a:gd name="connsiteY17" fmla="*/ 65735 h 65734"/>
                <a:gd name="connsiteX18" fmla="*/ 17274 w 155279"/>
                <a:gd name="connsiteY18" fmla="*/ 62280 h 65734"/>
                <a:gd name="connsiteX19" fmla="*/ 6910 w 155279"/>
                <a:gd name="connsiteY19" fmla="*/ 55370 h 65734"/>
                <a:gd name="connsiteX20" fmla="*/ 3455 w 155279"/>
                <a:gd name="connsiteY20" fmla="*/ 41458 h 65734"/>
                <a:gd name="connsiteX21" fmla="*/ 0 w 155279"/>
                <a:gd name="connsiteY21" fmla="*/ 34548 h 65734"/>
                <a:gd name="connsiteX22" fmla="*/ 10364 w 155279"/>
                <a:gd name="connsiteY22" fmla="*/ 27638 h 65734"/>
                <a:gd name="connsiteX23" fmla="*/ 27639 w 155279"/>
                <a:gd name="connsiteY23" fmla="*/ 24184 h 65734"/>
                <a:gd name="connsiteX24" fmla="*/ 41364 w 155279"/>
                <a:gd name="connsiteY24" fmla="*/ 10364 h 65734"/>
                <a:gd name="connsiteX25" fmla="*/ 58639 w 155279"/>
                <a:gd name="connsiteY25" fmla="*/ 0 h 65734"/>
                <a:gd name="connsiteX26" fmla="*/ 75912 w 155279"/>
                <a:gd name="connsiteY26" fmla="*/ 3455 h 6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5279" h="65734">
                  <a:moveTo>
                    <a:pt x="75912" y="3455"/>
                  </a:moveTo>
                  <a:lnTo>
                    <a:pt x="82822" y="17274"/>
                  </a:lnTo>
                  <a:lnTo>
                    <a:pt x="100096" y="13819"/>
                  </a:lnTo>
                  <a:lnTo>
                    <a:pt x="117370" y="6910"/>
                  </a:lnTo>
                  <a:lnTo>
                    <a:pt x="131189" y="6910"/>
                  </a:lnTo>
                  <a:lnTo>
                    <a:pt x="148464" y="13819"/>
                  </a:lnTo>
                  <a:lnTo>
                    <a:pt x="155280" y="20729"/>
                  </a:lnTo>
                  <a:lnTo>
                    <a:pt x="148464" y="34548"/>
                  </a:lnTo>
                  <a:lnTo>
                    <a:pt x="141554" y="44912"/>
                  </a:lnTo>
                  <a:lnTo>
                    <a:pt x="124280" y="41458"/>
                  </a:lnTo>
                  <a:lnTo>
                    <a:pt x="107006" y="38003"/>
                  </a:lnTo>
                  <a:lnTo>
                    <a:pt x="96641" y="44912"/>
                  </a:lnTo>
                  <a:lnTo>
                    <a:pt x="93186" y="48367"/>
                  </a:lnTo>
                  <a:lnTo>
                    <a:pt x="75912" y="48367"/>
                  </a:lnTo>
                  <a:lnTo>
                    <a:pt x="65548" y="55370"/>
                  </a:lnTo>
                  <a:lnTo>
                    <a:pt x="51729" y="55370"/>
                  </a:lnTo>
                  <a:lnTo>
                    <a:pt x="44819" y="65735"/>
                  </a:lnTo>
                  <a:lnTo>
                    <a:pt x="31000" y="65735"/>
                  </a:lnTo>
                  <a:lnTo>
                    <a:pt x="17274" y="62280"/>
                  </a:lnTo>
                  <a:lnTo>
                    <a:pt x="6910" y="55370"/>
                  </a:lnTo>
                  <a:lnTo>
                    <a:pt x="3455" y="41458"/>
                  </a:lnTo>
                  <a:lnTo>
                    <a:pt x="0" y="34548"/>
                  </a:lnTo>
                  <a:lnTo>
                    <a:pt x="10364" y="27638"/>
                  </a:lnTo>
                  <a:lnTo>
                    <a:pt x="27639" y="24184"/>
                  </a:lnTo>
                  <a:lnTo>
                    <a:pt x="41364" y="10364"/>
                  </a:lnTo>
                  <a:lnTo>
                    <a:pt x="58639" y="0"/>
                  </a:lnTo>
                  <a:lnTo>
                    <a:pt x="75912" y="3455"/>
                  </a:lnTo>
                  <a:close/>
                </a:path>
              </a:pathLst>
            </a:custGeom>
            <a:solidFill>
              <a:srgbClr val="CEE3BF"/>
            </a:solidFill>
            <a:ln w="9334" cap="flat">
              <a:noFill/>
              <a:prstDash val="solid"/>
              <a:miter/>
            </a:ln>
          </p:spPr>
          <p:txBody>
            <a:bodyPr rtlCol="0" anchor="ctr"/>
            <a:lstStyle/>
            <a:p>
              <a:endParaRPr lang="en-GB" dirty="0"/>
            </a:p>
          </p:txBody>
        </p:sp>
        <p:sp>
          <p:nvSpPr>
            <p:cNvPr id="1156" name="Freeform: Shape 1155">
              <a:extLst>
                <a:ext uri="{FF2B5EF4-FFF2-40B4-BE49-F238E27FC236}">
                  <a16:creationId xmlns:a16="http://schemas.microsoft.com/office/drawing/2014/main" id="{267F8BC2-0F72-42BA-859E-FA77AAC4C23C}"/>
                </a:ext>
              </a:extLst>
            </p:cNvPr>
            <p:cNvSpPr/>
            <p:nvPr/>
          </p:nvSpPr>
          <p:spPr>
            <a:xfrm>
              <a:off x="6099104" y="3060529"/>
              <a:ext cx="219240" cy="89918"/>
            </a:xfrm>
            <a:custGeom>
              <a:avLst/>
              <a:gdLst>
                <a:gd name="connsiteX0" fmla="*/ 24184 w 219240"/>
                <a:gd name="connsiteY0" fmla="*/ 79554 h 89918"/>
                <a:gd name="connsiteX1" fmla="*/ 20729 w 219240"/>
                <a:gd name="connsiteY1" fmla="*/ 72644 h 89918"/>
                <a:gd name="connsiteX2" fmla="*/ 13819 w 219240"/>
                <a:gd name="connsiteY2" fmla="*/ 72644 h 89918"/>
                <a:gd name="connsiteX3" fmla="*/ 0 w 219240"/>
                <a:gd name="connsiteY3" fmla="*/ 69189 h 89918"/>
                <a:gd name="connsiteX4" fmla="*/ 3455 w 219240"/>
                <a:gd name="connsiteY4" fmla="*/ 58825 h 89918"/>
                <a:gd name="connsiteX5" fmla="*/ 31093 w 219240"/>
                <a:gd name="connsiteY5" fmla="*/ 58825 h 89918"/>
                <a:gd name="connsiteX6" fmla="*/ 53503 w 219240"/>
                <a:gd name="connsiteY6" fmla="*/ 55370 h 89918"/>
                <a:gd name="connsiteX7" fmla="*/ 70777 w 219240"/>
                <a:gd name="connsiteY7" fmla="*/ 45006 h 89918"/>
                <a:gd name="connsiteX8" fmla="*/ 91412 w 219240"/>
                <a:gd name="connsiteY8" fmla="*/ 45006 h 89918"/>
                <a:gd name="connsiteX9" fmla="*/ 91412 w 219240"/>
                <a:gd name="connsiteY9" fmla="*/ 31187 h 89918"/>
                <a:gd name="connsiteX10" fmla="*/ 119051 w 219240"/>
                <a:gd name="connsiteY10" fmla="*/ 17274 h 89918"/>
                <a:gd name="connsiteX11" fmla="*/ 119051 w 219240"/>
                <a:gd name="connsiteY11" fmla="*/ 6910 h 89918"/>
                <a:gd name="connsiteX12" fmla="*/ 146690 w 219240"/>
                <a:gd name="connsiteY12" fmla="*/ 10364 h 89918"/>
                <a:gd name="connsiteX13" fmla="*/ 150144 w 219240"/>
                <a:gd name="connsiteY13" fmla="*/ 0 h 89918"/>
                <a:gd name="connsiteX14" fmla="*/ 184692 w 219240"/>
                <a:gd name="connsiteY14" fmla="*/ 13819 h 89918"/>
                <a:gd name="connsiteX15" fmla="*/ 201966 w 219240"/>
                <a:gd name="connsiteY15" fmla="*/ 13819 h 89918"/>
                <a:gd name="connsiteX16" fmla="*/ 205421 w 219240"/>
                <a:gd name="connsiteY16" fmla="*/ 20729 h 89918"/>
                <a:gd name="connsiteX17" fmla="*/ 208876 w 219240"/>
                <a:gd name="connsiteY17" fmla="*/ 34641 h 89918"/>
                <a:gd name="connsiteX18" fmla="*/ 219240 w 219240"/>
                <a:gd name="connsiteY18" fmla="*/ 41551 h 89918"/>
                <a:gd name="connsiteX19" fmla="*/ 201966 w 219240"/>
                <a:gd name="connsiteY19" fmla="*/ 48461 h 89918"/>
                <a:gd name="connsiteX20" fmla="*/ 191602 w 219240"/>
                <a:gd name="connsiteY20" fmla="*/ 58825 h 89918"/>
                <a:gd name="connsiteX21" fmla="*/ 188147 w 219240"/>
                <a:gd name="connsiteY21" fmla="*/ 69189 h 89918"/>
                <a:gd name="connsiteX22" fmla="*/ 177782 w 219240"/>
                <a:gd name="connsiteY22" fmla="*/ 76099 h 89918"/>
                <a:gd name="connsiteX23" fmla="*/ 153599 w 219240"/>
                <a:gd name="connsiteY23" fmla="*/ 86464 h 89918"/>
                <a:gd name="connsiteX24" fmla="*/ 132870 w 219240"/>
                <a:gd name="connsiteY24" fmla="*/ 89918 h 89918"/>
                <a:gd name="connsiteX25" fmla="*/ 115596 w 219240"/>
                <a:gd name="connsiteY25" fmla="*/ 83009 h 89918"/>
                <a:gd name="connsiteX26" fmla="*/ 87957 w 219240"/>
                <a:gd name="connsiteY26" fmla="*/ 86464 h 89918"/>
                <a:gd name="connsiteX27" fmla="*/ 70777 w 219240"/>
                <a:gd name="connsiteY27" fmla="*/ 79554 h 89918"/>
                <a:gd name="connsiteX28" fmla="*/ 70777 w 219240"/>
                <a:gd name="connsiteY28" fmla="*/ 69189 h 89918"/>
                <a:gd name="connsiteX29" fmla="*/ 44819 w 219240"/>
                <a:gd name="connsiteY29" fmla="*/ 69189 h 89918"/>
                <a:gd name="connsiteX30" fmla="*/ 41364 w 219240"/>
                <a:gd name="connsiteY30" fmla="*/ 79554 h 89918"/>
                <a:gd name="connsiteX31" fmla="*/ 24184 w 219240"/>
                <a:gd name="connsiteY31" fmla="*/ 79554 h 8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9240" h="89918">
                  <a:moveTo>
                    <a:pt x="24184" y="79554"/>
                  </a:moveTo>
                  <a:lnTo>
                    <a:pt x="20729" y="72644"/>
                  </a:lnTo>
                  <a:lnTo>
                    <a:pt x="13819" y="72644"/>
                  </a:lnTo>
                  <a:lnTo>
                    <a:pt x="0" y="69189"/>
                  </a:lnTo>
                  <a:lnTo>
                    <a:pt x="3455" y="58825"/>
                  </a:lnTo>
                  <a:lnTo>
                    <a:pt x="31093" y="58825"/>
                  </a:lnTo>
                  <a:lnTo>
                    <a:pt x="53503" y="55370"/>
                  </a:lnTo>
                  <a:lnTo>
                    <a:pt x="70777" y="45006"/>
                  </a:lnTo>
                  <a:lnTo>
                    <a:pt x="91412" y="45006"/>
                  </a:lnTo>
                  <a:lnTo>
                    <a:pt x="91412" y="31187"/>
                  </a:lnTo>
                  <a:lnTo>
                    <a:pt x="119051" y="17274"/>
                  </a:lnTo>
                  <a:lnTo>
                    <a:pt x="119051" y="6910"/>
                  </a:lnTo>
                  <a:lnTo>
                    <a:pt x="146690" y="10364"/>
                  </a:lnTo>
                  <a:lnTo>
                    <a:pt x="150144" y="0"/>
                  </a:lnTo>
                  <a:lnTo>
                    <a:pt x="184692" y="13819"/>
                  </a:lnTo>
                  <a:lnTo>
                    <a:pt x="201966" y="13819"/>
                  </a:lnTo>
                  <a:lnTo>
                    <a:pt x="205421" y="20729"/>
                  </a:lnTo>
                  <a:lnTo>
                    <a:pt x="208876" y="34641"/>
                  </a:lnTo>
                  <a:lnTo>
                    <a:pt x="219240" y="41551"/>
                  </a:lnTo>
                  <a:lnTo>
                    <a:pt x="201966" y="48461"/>
                  </a:lnTo>
                  <a:lnTo>
                    <a:pt x="191602" y="58825"/>
                  </a:lnTo>
                  <a:lnTo>
                    <a:pt x="188147" y="69189"/>
                  </a:lnTo>
                  <a:lnTo>
                    <a:pt x="177782" y="76099"/>
                  </a:lnTo>
                  <a:lnTo>
                    <a:pt x="153599" y="86464"/>
                  </a:lnTo>
                  <a:lnTo>
                    <a:pt x="132870" y="89918"/>
                  </a:lnTo>
                  <a:lnTo>
                    <a:pt x="115596" y="83009"/>
                  </a:lnTo>
                  <a:lnTo>
                    <a:pt x="87957" y="86464"/>
                  </a:lnTo>
                  <a:lnTo>
                    <a:pt x="70777" y="79554"/>
                  </a:lnTo>
                  <a:lnTo>
                    <a:pt x="70777" y="69189"/>
                  </a:lnTo>
                  <a:lnTo>
                    <a:pt x="44819" y="69189"/>
                  </a:lnTo>
                  <a:lnTo>
                    <a:pt x="41364" y="79554"/>
                  </a:lnTo>
                  <a:lnTo>
                    <a:pt x="24184" y="79554"/>
                  </a:lnTo>
                  <a:close/>
                </a:path>
              </a:pathLst>
            </a:custGeom>
            <a:solidFill>
              <a:srgbClr val="CEE3BF"/>
            </a:solidFill>
            <a:ln w="9334" cap="flat">
              <a:noFill/>
              <a:prstDash val="solid"/>
              <a:miter/>
            </a:ln>
          </p:spPr>
          <p:txBody>
            <a:bodyPr rtlCol="0" anchor="ctr"/>
            <a:lstStyle/>
            <a:p>
              <a:endParaRPr lang="en-GB" dirty="0"/>
            </a:p>
          </p:txBody>
        </p:sp>
        <p:sp>
          <p:nvSpPr>
            <p:cNvPr id="1157" name="Freeform: Shape 1156">
              <a:extLst>
                <a:ext uri="{FF2B5EF4-FFF2-40B4-BE49-F238E27FC236}">
                  <a16:creationId xmlns:a16="http://schemas.microsoft.com/office/drawing/2014/main" id="{60EDAEBE-1940-45FF-8F95-0D31BB382877}"/>
                </a:ext>
              </a:extLst>
            </p:cNvPr>
            <p:cNvSpPr/>
            <p:nvPr/>
          </p:nvSpPr>
          <p:spPr>
            <a:xfrm>
              <a:off x="6287251" y="3077803"/>
              <a:ext cx="172553" cy="96827"/>
            </a:xfrm>
            <a:custGeom>
              <a:avLst/>
              <a:gdLst>
                <a:gd name="connsiteX0" fmla="*/ 0 w 172553"/>
                <a:gd name="connsiteY0" fmla="*/ 51915 h 96827"/>
                <a:gd name="connsiteX1" fmla="*/ 3455 w 172553"/>
                <a:gd name="connsiteY1" fmla="*/ 41551 h 96827"/>
                <a:gd name="connsiteX2" fmla="*/ 13819 w 172553"/>
                <a:gd name="connsiteY2" fmla="*/ 31187 h 96827"/>
                <a:gd name="connsiteX3" fmla="*/ 31093 w 172553"/>
                <a:gd name="connsiteY3" fmla="*/ 24277 h 96827"/>
                <a:gd name="connsiteX4" fmla="*/ 58638 w 172553"/>
                <a:gd name="connsiteY4" fmla="*/ 27732 h 96827"/>
                <a:gd name="connsiteX5" fmla="*/ 65548 w 172553"/>
                <a:gd name="connsiteY5" fmla="*/ 17367 h 96827"/>
                <a:gd name="connsiteX6" fmla="*/ 79367 w 172553"/>
                <a:gd name="connsiteY6" fmla="*/ 17367 h 96827"/>
                <a:gd name="connsiteX7" fmla="*/ 89732 w 172553"/>
                <a:gd name="connsiteY7" fmla="*/ 10364 h 96827"/>
                <a:gd name="connsiteX8" fmla="*/ 107005 w 172553"/>
                <a:gd name="connsiteY8" fmla="*/ 10364 h 96827"/>
                <a:gd name="connsiteX9" fmla="*/ 110460 w 172553"/>
                <a:gd name="connsiteY9" fmla="*/ 6910 h 96827"/>
                <a:gd name="connsiteX10" fmla="*/ 120825 w 172553"/>
                <a:gd name="connsiteY10" fmla="*/ 0 h 96827"/>
                <a:gd name="connsiteX11" fmla="*/ 155373 w 172553"/>
                <a:gd name="connsiteY11" fmla="*/ 6910 h 96827"/>
                <a:gd name="connsiteX12" fmla="*/ 165737 w 172553"/>
                <a:gd name="connsiteY12" fmla="*/ 13913 h 96827"/>
                <a:gd name="connsiteX13" fmla="*/ 172554 w 172553"/>
                <a:gd name="connsiteY13" fmla="*/ 24277 h 96827"/>
                <a:gd name="connsiteX14" fmla="*/ 158828 w 172553"/>
                <a:gd name="connsiteY14" fmla="*/ 38096 h 96827"/>
                <a:gd name="connsiteX15" fmla="*/ 141554 w 172553"/>
                <a:gd name="connsiteY15" fmla="*/ 62280 h 96827"/>
                <a:gd name="connsiteX16" fmla="*/ 117370 w 172553"/>
                <a:gd name="connsiteY16" fmla="*/ 86464 h 96827"/>
                <a:gd name="connsiteX17" fmla="*/ 82822 w 172553"/>
                <a:gd name="connsiteY17" fmla="*/ 86464 h 96827"/>
                <a:gd name="connsiteX18" fmla="*/ 69002 w 172553"/>
                <a:gd name="connsiteY18" fmla="*/ 93373 h 96827"/>
                <a:gd name="connsiteX19" fmla="*/ 37909 w 172553"/>
                <a:gd name="connsiteY19" fmla="*/ 96828 h 96827"/>
                <a:gd name="connsiteX20" fmla="*/ 17274 w 172553"/>
                <a:gd name="connsiteY20" fmla="*/ 79554 h 96827"/>
                <a:gd name="connsiteX21" fmla="*/ 3455 w 172553"/>
                <a:gd name="connsiteY21" fmla="*/ 65735 h 96827"/>
                <a:gd name="connsiteX22" fmla="*/ 0 w 172553"/>
                <a:gd name="connsiteY22" fmla="*/ 51915 h 9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553" h="96827">
                  <a:moveTo>
                    <a:pt x="0" y="51915"/>
                  </a:moveTo>
                  <a:lnTo>
                    <a:pt x="3455" y="41551"/>
                  </a:lnTo>
                  <a:lnTo>
                    <a:pt x="13819" y="31187"/>
                  </a:lnTo>
                  <a:lnTo>
                    <a:pt x="31093" y="24277"/>
                  </a:lnTo>
                  <a:lnTo>
                    <a:pt x="58638" y="27732"/>
                  </a:lnTo>
                  <a:lnTo>
                    <a:pt x="65548" y="17367"/>
                  </a:lnTo>
                  <a:lnTo>
                    <a:pt x="79367" y="17367"/>
                  </a:lnTo>
                  <a:lnTo>
                    <a:pt x="89732" y="10364"/>
                  </a:lnTo>
                  <a:lnTo>
                    <a:pt x="107005" y="10364"/>
                  </a:lnTo>
                  <a:lnTo>
                    <a:pt x="110460" y="6910"/>
                  </a:lnTo>
                  <a:lnTo>
                    <a:pt x="120825" y="0"/>
                  </a:lnTo>
                  <a:lnTo>
                    <a:pt x="155373" y="6910"/>
                  </a:lnTo>
                  <a:lnTo>
                    <a:pt x="165737" y="13913"/>
                  </a:lnTo>
                  <a:lnTo>
                    <a:pt x="172554" y="24277"/>
                  </a:lnTo>
                  <a:lnTo>
                    <a:pt x="158828" y="38096"/>
                  </a:lnTo>
                  <a:lnTo>
                    <a:pt x="141554" y="62280"/>
                  </a:lnTo>
                  <a:lnTo>
                    <a:pt x="117370" y="86464"/>
                  </a:lnTo>
                  <a:lnTo>
                    <a:pt x="82822" y="86464"/>
                  </a:lnTo>
                  <a:lnTo>
                    <a:pt x="69002" y="93373"/>
                  </a:lnTo>
                  <a:lnTo>
                    <a:pt x="37909" y="96828"/>
                  </a:lnTo>
                  <a:lnTo>
                    <a:pt x="17274" y="79554"/>
                  </a:lnTo>
                  <a:lnTo>
                    <a:pt x="3455" y="65735"/>
                  </a:lnTo>
                  <a:lnTo>
                    <a:pt x="0" y="51915"/>
                  </a:lnTo>
                  <a:close/>
                </a:path>
              </a:pathLst>
            </a:custGeom>
            <a:solidFill>
              <a:srgbClr val="CEE3BF"/>
            </a:solidFill>
            <a:ln w="9334" cap="flat">
              <a:noFill/>
              <a:prstDash val="solid"/>
              <a:miter/>
            </a:ln>
          </p:spPr>
          <p:txBody>
            <a:bodyPr rtlCol="0" anchor="ctr"/>
            <a:lstStyle/>
            <a:p>
              <a:endParaRPr lang="en-GB" dirty="0"/>
            </a:p>
          </p:txBody>
        </p:sp>
        <p:sp>
          <p:nvSpPr>
            <p:cNvPr id="1158" name="Freeform: Shape 1157">
              <a:extLst>
                <a:ext uri="{FF2B5EF4-FFF2-40B4-BE49-F238E27FC236}">
                  <a16:creationId xmlns:a16="http://schemas.microsoft.com/office/drawing/2014/main" id="{CECD93CD-4E73-49F2-A3DB-1E5FF8657D7B}"/>
                </a:ext>
              </a:extLst>
            </p:cNvPr>
            <p:cNvSpPr/>
            <p:nvPr/>
          </p:nvSpPr>
          <p:spPr>
            <a:xfrm>
              <a:off x="6200881" y="3129718"/>
              <a:ext cx="89824" cy="51822"/>
            </a:xfrm>
            <a:custGeom>
              <a:avLst/>
              <a:gdLst>
                <a:gd name="connsiteX0" fmla="*/ 17274 w 89824"/>
                <a:gd name="connsiteY0" fmla="*/ 48367 h 51822"/>
                <a:gd name="connsiteX1" fmla="*/ 34548 w 89824"/>
                <a:gd name="connsiteY1" fmla="*/ 51822 h 51822"/>
                <a:gd name="connsiteX2" fmla="*/ 55277 w 89824"/>
                <a:gd name="connsiteY2" fmla="*/ 48367 h 51822"/>
                <a:gd name="connsiteX3" fmla="*/ 65641 w 89824"/>
                <a:gd name="connsiteY3" fmla="*/ 38003 h 51822"/>
                <a:gd name="connsiteX4" fmla="*/ 76005 w 89824"/>
                <a:gd name="connsiteY4" fmla="*/ 27639 h 51822"/>
                <a:gd name="connsiteX5" fmla="*/ 89825 w 89824"/>
                <a:gd name="connsiteY5" fmla="*/ 13819 h 51822"/>
                <a:gd name="connsiteX6" fmla="*/ 86370 w 89824"/>
                <a:gd name="connsiteY6" fmla="*/ 0 h 51822"/>
                <a:gd name="connsiteX7" fmla="*/ 76005 w 89824"/>
                <a:gd name="connsiteY7" fmla="*/ 6910 h 51822"/>
                <a:gd name="connsiteX8" fmla="*/ 51822 w 89824"/>
                <a:gd name="connsiteY8" fmla="*/ 17274 h 51822"/>
                <a:gd name="connsiteX9" fmla="*/ 31093 w 89824"/>
                <a:gd name="connsiteY9" fmla="*/ 20729 h 51822"/>
                <a:gd name="connsiteX10" fmla="*/ 13819 w 89824"/>
                <a:gd name="connsiteY10" fmla="*/ 13819 h 51822"/>
                <a:gd name="connsiteX11" fmla="*/ 3455 w 89824"/>
                <a:gd name="connsiteY11" fmla="*/ 27639 h 51822"/>
                <a:gd name="connsiteX12" fmla="*/ 0 w 89824"/>
                <a:gd name="connsiteY12" fmla="*/ 41458 h 51822"/>
                <a:gd name="connsiteX13" fmla="*/ 17274 w 89824"/>
                <a:gd name="connsiteY13" fmla="*/ 48367 h 5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24" h="51822">
                  <a:moveTo>
                    <a:pt x="17274" y="48367"/>
                  </a:moveTo>
                  <a:lnTo>
                    <a:pt x="34548" y="51822"/>
                  </a:lnTo>
                  <a:lnTo>
                    <a:pt x="55277" y="48367"/>
                  </a:lnTo>
                  <a:lnTo>
                    <a:pt x="65641" y="38003"/>
                  </a:lnTo>
                  <a:lnTo>
                    <a:pt x="76005" y="27639"/>
                  </a:lnTo>
                  <a:lnTo>
                    <a:pt x="89825" y="13819"/>
                  </a:lnTo>
                  <a:lnTo>
                    <a:pt x="86370" y="0"/>
                  </a:lnTo>
                  <a:lnTo>
                    <a:pt x="76005" y="6910"/>
                  </a:lnTo>
                  <a:lnTo>
                    <a:pt x="51822" y="17274"/>
                  </a:lnTo>
                  <a:lnTo>
                    <a:pt x="31093" y="20729"/>
                  </a:lnTo>
                  <a:lnTo>
                    <a:pt x="13819" y="13819"/>
                  </a:lnTo>
                  <a:lnTo>
                    <a:pt x="3455" y="27639"/>
                  </a:lnTo>
                  <a:lnTo>
                    <a:pt x="0" y="41458"/>
                  </a:lnTo>
                  <a:lnTo>
                    <a:pt x="17274" y="48367"/>
                  </a:lnTo>
                  <a:close/>
                </a:path>
              </a:pathLst>
            </a:custGeom>
            <a:solidFill>
              <a:srgbClr val="CEE3BF"/>
            </a:solidFill>
            <a:ln w="9334" cap="flat">
              <a:noFill/>
              <a:prstDash val="solid"/>
              <a:miter/>
            </a:ln>
          </p:spPr>
          <p:txBody>
            <a:bodyPr rtlCol="0" anchor="ctr"/>
            <a:lstStyle/>
            <a:p>
              <a:endParaRPr lang="en-GB" dirty="0"/>
            </a:p>
          </p:txBody>
        </p:sp>
        <p:sp>
          <p:nvSpPr>
            <p:cNvPr id="1159" name="Freeform: Shape 1158">
              <a:extLst>
                <a:ext uri="{FF2B5EF4-FFF2-40B4-BE49-F238E27FC236}">
                  <a16:creationId xmlns:a16="http://schemas.microsoft.com/office/drawing/2014/main" id="{0F86B3AF-7849-4882-A112-057B343BBB82}"/>
                </a:ext>
              </a:extLst>
            </p:cNvPr>
            <p:cNvSpPr/>
            <p:nvPr/>
          </p:nvSpPr>
          <p:spPr>
            <a:xfrm>
              <a:off x="6211245" y="3143537"/>
              <a:ext cx="155373" cy="127921"/>
            </a:xfrm>
            <a:custGeom>
              <a:avLst/>
              <a:gdLst>
                <a:gd name="connsiteX0" fmla="*/ 145008 w 155373"/>
                <a:gd name="connsiteY0" fmla="*/ 27638 h 127921"/>
                <a:gd name="connsiteX1" fmla="*/ 148464 w 155373"/>
                <a:gd name="connsiteY1" fmla="*/ 41458 h 127921"/>
                <a:gd name="connsiteX2" fmla="*/ 155373 w 155373"/>
                <a:gd name="connsiteY2" fmla="*/ 51822 h 127921"/>
                <a:gd name="connsiteX3" fmla="*/ 148464 w 155373"/>
                <a:gd name="connsiteY3" fmla="*/ 58732 h 127921"/>
                <a:gd name="connsiteX4" fmla="*/ 120825 w 155373"/>
                <a:gd name="connsiteY4" fmla="*/ 55277 h 127921"/>
                <a:gd name="connsiteX5" fmla="*/ 93280 w 155373"/>
                <a:gd name="connsiteY5" fmla="*/ 51822 h 127921"/>
                <a:gd name="connsiteX6" fmla="*/ 82915 w 155373"/>
                <a:gd name="connsiteY6" fmla="*/ 48367 h 127921"/>
                <a:gd name="connsiteX7" fmla="*/ 62186 w 155373"/>
                <a:gd name="connsiteY7" fmla="*/ 51822 h 127921"/>
                <a:gd name="connsiteX8" fmla="*/ 65641 w 155373"/>
                <a:gd name="connsiteY8" fmla="*/ 65641 h 127921"/>
                <a:gd name="connsiteX9" fmla="*/ 72551 w 155373"/>
                <a:gd name="connsiteY9" fmla="*/ 86370 h 127921"/>
                <a:gd name="connsiteX10" fmla="*/ 79461 w 155373"/>
                <a:gd name="connsiteY10" fmla="*/ 96735 h 127921"/>
                <a:gd name="connsiteX11" fmla="*/ 96735 w 155373"/>
                <a:gd name="connsiteY11" fmla="*/ 110647 h 127921"/>
                <a:gd name="connsiteX12" fmla="*/ 107099 w 155373"/>
                <a:gd name="connsiteY12" fmla="*/ 117557 h 127921"/>
                <a:gd name="connsiteX13" fmla="*/ 103644 w 155373"/>
                <a:gd name="connsiteY13" fmla="*/ 127921 h 127921"/>
                <a:gd name="connsiteX14" fmla="*/ 82915 w 155373"/>
                <a:gd name="connsiteY14" fmla="*/ 110647 h 127921"/>
                <a:gd name="connsiteX15" fmla="*/ 62186 w 155373"/>
                <a:gd name="connsiteY15" fmla="*/ 96735 h 127921"/>
                <a:gd name="connsiteX16" fmla="*/ 48367 w 155373"/>
                <a:gd name="connsiteY16" fmla="*/ 82915 h 127921"/>
                <a:gd name="connsiteX17" fmla="*/ 41458 w 155373"/>
                <a:gd name="connsiteY17" fmla="*/ 69096 h 127921"/>
                <a:gd name="connsiteX18" fmla="*/ 38003 w 155373"/>
                <a:gd name="connsiteY18" fmla="*/ 55277 h 127921"/>
                <a:gd name="connsiteX19" fmla="*/ 27639 w 155373"/>
                <a:gd name="connsiteY19" fmla="*/ 55277 h 127921"/>
                <a:gd name="connsiteX20" fmla="*/ 13819 w 155373"/>
                <a:gd name="connsiteY20" fmla="*/ 62186 h 127921"/>
                <a:gd name="connsiteX21" fmla="*/ 0 w 155373"/>
                <a:gd name="connsiteY21" fmla="*/ 55277 h 127921"/>
                <a:gd name="connsiteX22" fmla="*/ 0 w 155373"/>
                <a:gd name="connsiteY22" fmla="*/ 41458 h 127921"/>
                <a:gd name="connsiteX23" fmla="*/ 6910 w 155373"/>
                <a:gd name="connsiteY23" fmla="*/ 34548 h 127921"/>
                <a:gd name="connsiteX24" fmla="*/ 13819 w 155373"/>
                <a:gd name="connsiteY24" fmla="*/ 38003 h 127921"/>
                <a:gd name="connsiteX25" fmla="*/ 24183 w 155373"/>
                <a:gd name="connsiteY25" fmla="*/ 38003 h 127921"/>
                <a:gd name="connsiteX26" fmla="*/ 44912 w 155373"/>
                <a:gd name="connsiteY26" fmla="*/ 34548 h 127921"/>
                <a:gd name="connsiteX27" fmla="*/ 55277 w 155373"/>
                <a:gd name="connsiteY27" fmla="*/ 24184 h 127921"/>
                <a:gd name="connsiteX28" fmla="*/ 65641 w 155373"/>
                <a:gd name="connsiteY28" fmla="*/ 13819 h 127921"/>
                <a:gd name="connsiteX29" fmla="*/ 79461 w 155373"/>
                <a:gd name="connsiteY29" fmla="*/ 0 h 127921"/>
                <a:gd name="connsiteX30" fmla="*/ 93280 w 155373"/>
                <a:gd name="connsiteY30" fmla="*/ 13819 h 127921"/>
                <a:gd name="connsiteX31" fmla="*/ 113915 w 155373"/>
                <a:gd name="connsiteY31" fmla="*/ 31093 h 127921"/>
                <a:gd name="connsiteX32" fmla="*/ 127734 w 155373"/>
                <a:gd name="connsiteY32" fmla="*/ 31093 h 127921"/>
                <a:gd name="connsiteX33" fmla="*/ 145008 w 155373"/>
                <a:gd name="connsiteY33" fmla="*/ 27638 h 12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5373" h="127921">
                  <a:moveTo>
                    <a:pt x="145008" y="27638"/>
                  </a:moveTo>
                  <a:lnTo>
                    <a:pt x="148464" y="41458"/>
                  </a:lnTo>
                  <a:lnTo>
                    <a:pt x="155373" y="51822"/>
                  </a:lnTo>
                  <a:lnTo>
                    <a:pt x="148464" y="58732"/>
                  </a:lnTo>
                  <a:lnTo>
                    <a:pt x="120825" y="55277"/>
                  </a:lnTo>
                  <a:lnTo>
                    <a:pt x="93280" y="51822"/>
                  </a:lnTo>
                  <a:lnTo>
                    <a:pt x="82915" y="48367"/>
                  </a:lnTo>
                  <a:lnTo>
                    <a:pt x="62186" y="51822"/>
                  </a:lnTo>
                  <a:lnTo>
                    <a:pt x="65641" y="65641"/>
                  </a:lnTo>
                  <a:lnTo>
                    <a:pt x="72551" y="86370"/>
                  </a:lnTo>
                  <a:lnTo>
                    <a:pt x="79461" y="96735"/>
                  </a:lnTo>
                  <a:lnTo>
                    <a:pt x="96735" y="110647"/>
                  </a:lnTo>
                  <a:lnTo>
                    <a:pt x="107099" y="117557"/>
                  </a:lnTo>
                  <a:lnTo>
                    <a:pt x="103644" y="127921"/>
                  </a:lnTo>
                  <a:lnTo>
                    <a:pt x="82915" y="110647"/>
                  </a:lnTo>
                  <a:lnTo>
                    <a:pt x="62186" y="96735"/>
                  </a:lnTo>
                  <a:lnTo>
                    <a:pt x="48367" y="82915"/>
                  </a:lnTo>
                  <a:lnTo>
                    <a:pt x="41458" y="69096"/>
                  </a:lnTo>
                  <a:lnTo>
                    <a:pt x="38003" y="55277"/>
                  </a:lnTo>
                  <a:lnTo>
                    <a:pt x="27639" y="55277"/>
                  </a:lnTo>
                  <a:lnTo>
                    <a:pt x="13819" y="62186"/>
                  </a:lnTo>
                  <a:lnTo>
                    <a:pt x="0" y="55277"/>
                  </a:lnTo>
                  <a:lnTo>
                    <a:pt x="0" y="41458"/>
                  </a:lnTo>
                  <a:lnTo>
                    <a:pt x="6910" y="34548"/>
                  </a:lnTo>
                  <a:lnTo>
                    <a:pt x="13819" y="38003"/>
                  </a:lnTo>
                  <a:lnTo>
                    <a:pt x="24183" y="38003"/>
                  </a:lnTo>
                  <a:lnTo>
                    <a:pt x="44912" y="34548"/>
                  </a:lnTo>
                  <a:lnTo>
                    <a:pt x="55277" y="24184"/>
                  </a:lnTo>
                  <a:lnTo>
                    <a:pt x="65641" y="13819"/>
                  </a:lnTo>
                  <a:lnTo>
                    <a:pt x="79461" y="0"/>
                  </a:lnTo>
                  <a:lnTo>
                    <a:pt x="93280" y="13819"/>
                  </a:lnTo>
                  <a:lnTo>
                    <a:pt x="113915" y="31093"/>
                  </a:lnTo>
                  <a:lnTo>
                    <a:pt x="127734" y="31093"/>
                  </a:lnTo>
                  <a:lnTo>
                    <a:pt x="145008" y="27638"/>
                  </a:lnTo>
                  <a:close/>
                </a:path>
              </a:pathLst>
            </a:custGeom>
            <a:solidFill>
              <a:srgbClr val="CEE3BF"/>
            </a:solidFill>
            <a:ln w="9334" cap="flat">
              <a:noFill/>
              <a:prstDash val="solid"/>
              <a:miter/>
            </a:ln>
          </p:spPr>
          <p:txBody>
            <a:bodyPr rtlCol="0" anchor="ctr"/>
            <a:lstStyle/>
            <a:p>
              <a:endParaRPr lang="en-GB" dirty="0"/>
            </a:p>
          </p:txBody>
        </p:sp>
        <p:sp>
          <p:nvSpPr>
            <p:cNvPr id="1160" name="Freeform: Shape 1159">
              <a:extLst>
                <a:ext uri="{FF2B5EF4-FFF2-40B4-BE49-F238E27FC236}">
                  <a16:creationId xmlns:a16="http://schemas.microsoft.com/office/drawing/2014/main" id="{2DDA3293-43ED-4D7B-8135-A08C229B4585}"/>
                </a:ext>
              </a:extLst>
            </p:cNvPr>
            <p:cNvSpPr/>
            <p:nvPr/>
          </p:nvSpPr>
          <p:spPr>
            <a:xfrm>
              <a:off x="6211245" y="3143537"/>
              <a:ext cx="155373" cy="127921"/>
            </a:xfrm>
            <a:custGeom>
              <a:avLst/>
              <a:gdLst>
                <a:gd name="connsiteX0" fmla="*/ 145008 w 155373"/>
                <a:gd name="connsiteY0" fmla="*/ 27638 h 127921"/>
                <a:gd name="connsiteX1" fmla="*/ 148464 w 155373"/>
                <a:gd name="connsiteY1" fmla="*/ 41458 h 127921"/>
                <a:gd name="connsiteX2" fmla="*/ 155373 w 155373"/>
                <a:gd name="connsiteY2" fmla="*/ 51822 h 127921"/>
                <a:gd name="connsiteX3" fmla="*/ 148464 w 155373"/>
                <a:gd name="connsiteY3" fmla="*/ 58732 h 127921"/>
                <a:gd name="connsiteX4" fmla="*/ 120825 w 155373"/>
                <a:gd name="connsiteY4" fmla="*/ 55277 h 127921"/>
                <a:gd name="connsiteX5" fmla="*/ 93280 w 155373"/>
                <a:gd name="connsiteY5" fmla="*/ 51822 h 127921"/>
                <a:gd name="connsiteX6" fmla="*/ 82915 w 155373"/>
                <a:gd name="connsiteY6" fmla="*/ 48367 h 127921"/>
                <a:gd name="connsiteX7" fmla="*/ 62186 w 155373"/>
                <a:gd name="connsiteY7" fmla="*/ 51822 h 127921"/>
                <a:gd name="connsiteX8" fmla="*/ 65641 w 155373"/>
                <a:gd name="connsiteY8" fmla="*/ 65641 h 127921"/>
                <a:gd name="connsiteX9" fmla="*/ 72551 w 155373"/>
                <a:gd name="connsiteY9" fmla="*/ 86370 h 127921"/>
                <a:gd name="connsiteX10" fmla="*/ 79461 w 155373"/>
                <a:gd name="connsiteY10" fmla="*/ 96735 h 127921"/>
                <a:gd name="connsiteX11" fmla="*/ 96735 w 155373"/>
                <a:gd name="connsiteY11" fmla="*/ 110647 h 127921"/>
                <a:gd name="connsiteX12" fmla="*/ 107099 w 155373"/>
                <a:gd name="connsiteY12" fmla="*/ 117557 h 127921"/>
                <a:gd name="connsiteX13" fmla="*/ 103644 w 155373"/>
                <a:gd name="connsiteY13" fmla="*/ 127921 h 127921"/>
                <a:gd name="connsiteX14" fmla="*/ 82915 w 155373"/>
                <a:gd name="connsiteY14" fmla="*/ 110647 h 127921"/>
                <a:gd name="connsiteX15" fmla="*/ 62186 w 155373"/>
                <a:gd name="connsiteY15" fmla="*/ 96735 h 127921"/>
                <a:gd name="connsiteX16" fmla="*/ 48367 w 155373"/>
                <a:gd name="connsiteY16" fmla="*/ 82915 h 127921"/>
                <a:gd name="connsiteX17" fmla="*/ 41458 w 155373"/>
                <a:gd name="connsiteY17" fmla="*/ 69096 h 127921"/>
                <a:gd name="connsiteX18" fmla="*/ 38003 w 155373"/>
                <a:gd name="connsiteY18" fmla="*/ 55277 h 127921"/>
                <a:gd name="connsiteX19" fmla="*/ 27639 w 155373"/>
                <a:gd name="connsiteY19" fmla="*/ 55277 h 127921"/>
                <a:gd name="connsiteX20" fmla="*/ 13819 w 155373"/>
                <a:gd name="connsiteY20" fmla="*/ 62186 h 127921"/>
                <a:gd name="connsiteX21" fmla="*/ 0 w 155373"/>
                <a:gd name="connsiteY21" fmla="*/ 55277 h 127921"/>
                <a:gd name="connsiteX22" fmla="*/ 0 w 155373"/>
                <a:gd name="connsiteY22" fmla="*/ 41458 h 127921"/>
                <a:gd name="connsiteX23" fmla="*/ 6910 w 155373"/>
                <a:gd name="connsiteY23" fmla="*/ 34548 h 127921"/>
                <a:gd name="connsiteX24" fmla="*/ 13819 w 155373"/>
                <a:gd name="connsiteY24" fmla="*/ 38003 h 127921"/>
                <a:gd name="connsiteX25" fmla="*/ 24183 w 155373"/>
                <a:gd name="connsiteY25" fmla="*/ 38003 h 127921"/>
                <a:gd name="connsiteX26" fmla="*/ 44912 w 155373"/>
                <a:gd name="connsiteY26" fmla="*/ 34548 h 127921"/>
                <a:gd name="connsiteX27" fmla="*/ 55277 w 155373"/>
                <a:gd name="connsiteY27" fmla="*/ 24184 h 127921"/>
                <a:gd name="connsiteX28" fmla="*/ 65641 w 155373"/>
                <a:gd name="connsiteY28" fmla="*/ 13819 h 127921"/>
                <a:gd name="connsiteX29" fmla="*/ 79461 w 155373"/>
                <a:gd name="connsiteY29" fmla="*/ 0 h 127921"/>
                <a:gd name="connsiteX30" fmla="*/ 93280 w 155373"/>
                <a:gd name="connsiteY30" fmla="*/ 13819 h 127921"/>
                <a:gd name="connsiteX31" fmla="*/ 113915 w 155373"/>
                <a:gd name="connsiteY31" fmla="*/ 31093 h 127921"/>
                <a:gd name="connsiteX32" fmla="*/ 127734 w 155373"/>
                <a:gd name="connsiteY32" fmla="*/ 31093 h 127921"/>
                <a:gd name="connsiteX33" fmla="*/ 145008 w 155373"/>
                <a:gd name="connsiteY33" fmla="*/ 27638 h 12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5373" h="127921">
                  <a:moveTo>
                    <a:pt x="145008" y="27638"/>
                  </a:moveTo>
                  <a:lnTo>
                    <a:pt x="148464" y="41458"/>
                  </a:lnTo>
                  <a:lnTo>
                    <a:pt x="155373" y="51822"/>
                  </a:lnTo>
                  <a:lnTo>
                    <a:pt x="148464" y="58732"/>
                  </a:lnTo>
                  <a:lnTo>
                    <a:pt x="120825" y="55277"/>
                  </a:lnTo>
                  <a:lnTo>
                    <a:pt x="93280" y="51822"/>
                  </a:lnTo>
                  <a:lnTo>
                    <a:pt x="82915" y="48367"/>
                  </a:lnTo>
                  <a:lnTo>
                    <a:pt x="62186" y="51822"/>
                  </a:lnTo>
                  <a:lnTo>
                    <a:pt x="65641" y="65641"/>
                  </a:lnTo>
                  <a:lnTo>
                    <a:pt x="72551" y="86370"/>
                  </a:lnTo>
                  <a:lnTo>
                    <a:pt x="79461" y="96735"/>
                  </a:lnTo>
                  <a:lnTo>
                    <a:pt x="96735" y="110647"/>
                  </a:lnTo>
                  <a:lnTo>
                    <a:pt x="107099" y="117557"/>
                  </a:lnTo>
                  <a:lnTo>
                    <a:pt x="103644" y="127921"/>
                  </a:lnTo>
                  <a:lnTo>
                    <a:pt x="82915" y="110647"/>
                  </a:lnTo>
                  <a:lnTo>
                    <a:pt x="62186" y="96735"/>
                  </a:lnTo>
                  <a:lnTo>
                    <a:pt x="48367" y="82915"/>
                  </a:lnTo>
                  <a:lnTo>
                    <a:pt x="41458" y="69096"/>
                  </a:lnTo>
                  <a:lnTo>
                    <a:pt x="38003" y="55277"/>
                  </a:lnTo>
                  <a:lnTo>
                    <a:pt x="27639" y="55277"/>
                  </a:lnTo>
                  <a:lnTo>
                    <a:pt x="13819" y="62186"/>
                  </a:lnTo>
                  <a:lnTo>
                    <a:pt x="0" y="55277"/>
                  </a:lnTo>
                  <a:lnTo>
                    <a:pt x="0" y="41458"/>
                  </a:lnTo>
                  <a:lnTo>
                    <a:pt x="6910" y="34548"/>
                  </a:lnTo>
                  <a:lnTo>
                    <a:pt x="13819" y="38003"/>
                  </a:lnTo>
                  <a:lnTo>
                    <a:pt x="24183" y="38003"/>
                  </a:lnTo>
                  <a:lnTo>
                    <a:pt x="44912" y="34548"/>
                  </a:lnTo>
                  <a:lnTo>
                    <a:pt x="55277" y="24184"/>
                  </a:lnTo>
                  <a:lnTo>
                    <a:pt x="65641" y="13819"/>
                  </a:lnTo>
                  <a:lnTo>
                    <a:pt x="79461" y="0"/>
                  </a:lnTo>
                  <a:lnTo>
                    <a:pt x="93280" y="13819"/>
                  </a:lnTo>
                  <a:lnTo>
                    <a:pt x="113915" y="31093"/>
                  </a:lnTo>
                  <a:lnTo>
                    <a:pt x="127734" y="31093"/>
                  </a:lnTo>
                  <a:lnTo>
                    <a:pt x="145008" y="27638"/>
                  </a:lnTo>
                  <a:close/>
                </a:path>
              </a:pathLst>
            </a:custGeom>
            <a:solidFill>
              <a:srgbClr val="CEE3BF"/>
            </a:solidFill>
            <a:ln w="9334" cap="flat">
              <a:noFill/>
              <a:prstDash val="solid"/>
              <a:miter/>
            </a:ln>
          </p:spPr>
          <p:txBody>
            <a:bodyPr rtlCol="0" anchor="ctr"/>
            <a:lstStyle/>
            <a:p>
              <a:endParaRPr lang="en-GB" dirty="0"/>
            </a:p>
          </p:txBody>
        </p:sp>
        <p:sp>
          <p:nvSpPr>
            <p:cNvPr id="1161" name="Freeform: Shape 1160">
              <a:extLst>
                <a:ext uri="{FF2B5EF4-FFF2-40B4-BE49-F238E27FC236}">
                  <a16:creationId xmlns:a16="http://schemas.microsoft.com/office/drawing/2014/main" id="{FBDAC761-888C-415D-AC2D-3A180C4ACCF1}"/>
                </a:ext>
              </a:extLst>
            </p:cNvPr>
            <p:cNvSpPr/>
            <p:nvPr/>
          </p:nvSpPr>
          <p:spPr>
            <a:xfrm>
              <a:off x="6273432" y="3191905"/>
              <a:ext cx="103551" cy="89918"/>
            </a:xfrm>
            <a:custGeom>
              <a:avLst/>
              <a:gdLst>
                <a:gd name="connsiteX0" fmla="*/ 0 w 103551"/>
                <a:gd name="connsiteY0" fmla="*/ 3455 h 89918"/>
                <a:gd name="connsiteX1" fmla="*/ 20729 w 103551"/>
                <a:gd name="connsiteY1" fmla="*/ 0 h 89918"/>
                <a:gd name="connsiteX2" fmla="*/ 44912 w 103551"/>
                <a:gd name="connsiteY2" fmla="*/ 3455 h 89918"/>
                <a:gd name="connsiteX3" fmla="*/ 86277 w 103551"/>
                <a:gd name="connsiteY3" fmla="*/ 10364 h 89918"/>
                <a:gd name="connsiteX4" fmla="*/ 96642 w 103551"/>
                <a:gd name="connsiteY4" fmla="*/ 10364 h 89918"/>
                <a:gd name="connsiteX5" fmla="*/ 100096 w 103551"/>
                <a:gd name="connsiteY5" fmla="*/ 24184 h 89918"/>
                <a:gd name="connsiteX6" fmla="*/ 93187 w 103551"/>
                <a:gd name="connsiteY6" fmla="*/ 31093 h 89918"/>
                <a:gd name="connsiteX7" fmla="*/ 103551 w 103551"/>
                <a:gd name="connsiteY7" fmla="*/ 44912 h 89918"/>
                <a:gd name="connsiteX8" fmla="*/ 89732 w 103551"/>
                <a:gd name="connsiteY8" fmla="*/ 55277 h 89918"/>
                <a:gd name="connsiteX9" fmla="*/ 86277 w 103551"/>
                <a:gd name="connsiteY9" fmla="*/ 69190 h 89918"/>
                <a:gd name="connsiteX10" fmla="*/ 75912 w 103551"/>
                <a:gd name="connsiteY10" fmla="*/ 69190 h 89918"/>
                <a:gd name="connsiteX11" fmla="*/ 72458 w 103551"/>
                <a:gd name="connsiteY11" fmla="*/ 89918 h 89918"/>
                <a:gd name="connsiteX12" fmla="*/ 58639 w 103551"/>
                <a:gd name="connsiteY12" fmla="*/ 79554 h 89918"/>
                <a:gd name="connsiteX13" fmla="*/ 44912 w 103551"/>
                <a:gd name="connsiteY13" fmla="*/ 69190 h 89918"/>
                <a:gd name="connsiteX14" fmla="*/ 27639 w 103551"/>
                <a:gd name="connsiteY14" fmla="*/ 55277 h 89918"/>
                <a:gd name="connsiteX15" fmla="*/ 17274 w 103551"/>
                <a:gd name="connsiteY15" fmla="*/ 48367 h 89918"/>
                <a:gd name="connsiteX16" fmla="*/ 10365 w 103551"/>
                <a:gd name="connsiteY16" fmla="*/ 38003 h 89918"/>
                <a:gd name="connsiteX17" fmla="*/ 3455 w 103551"/>
                <a:gd name="connsiteY17" fmla="*/ 17274 h 89918"/>
                <a:gd name="connsiteX18" fmla="*/ 0 w 103551"/>
                <a:gd name="connsiteY18" fmla="*/ 3455 h 8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551" h="89918">
                  <a:moveTo>
                    <a:pt x="0" y="3455"/>
                  </a:moveTo>
                  <a:lnTo>
                    <a:pt x="20729" y="0"/>
                  </a:lnTo>
                  <a:lnTo>
                    <a:pt x="44912" y="3455"/>
                  </a:lnTo>
                  <a:lnTo>
                    <a:pt x="86277" y="10364"/>
                  </a:lnTo>
                  <a:lnTo>
                    <a:pt x="96642" y="10364"/>
                  </a:lnTo>
                  <a:lnTo>
                    <a:pt x="100096" y="24184"/>
                  </a:lnTo>
                  <a:lnTo>
                    <a:pt x="93187" y="31093"/>
                  </a:lnTo>
                  <a:lnTo>
                    <a:pt x="103551" y="44912"/>
                  </a:lnTo>
                  <a:lnTo>
                    <a:pt x="89732" y="55277"/>
                  </a:lnTo>
                  <a:lnTo>
                    <a:pt x="86277" y="69190"/>
                  </a:lnTo>
                  <a:lnTo>
                    <a:pt x="75912" y="69190"/>
                  </a:lnTo>
                  <a:lnTo>
                    <a:pt x="72458" y="89918"/>
                  </a:lnTo>
                  <a:lnTo>
                    <a:pt x="58639" y="79554"/>
                  </a:lnTo>
                  <a:lnTo>
                    <a:pt x="44912" y="69190"/>
                  </a:lnTo>
                  <a:lnTo>
                    <a:pt x="27639" y="55277"/>
                  </a:lnTo>
                  <a:lnTo>
                    <a:pt x="17274" y="48367"/>
                  </a:lnTo>
                  <a:lnTo>
                    <a:pt x="10365" y="38003"/>
                  </a:lnTo>
                  <a:lnTo>
                    <a:pt x="3455" y="17274"/>
                  </a:lnTo>
                  <a:lnTo>
                    <a:pt x="0" y="3455"/>
                  </a:lnTo>
                  <a:close/>
                </a:path>
              </a:pathLst>
            </a:custGeom>
            <a:solidFill>
              <a:srgbClr val="CEE3BF"/>
            </a:solidFill>
            <a:ln w="9334" cap="flat">
              <a:noFill/>
              <a:prstDash val="solid"/>
              <a:miter/>
            </a:ln>
          </p:spPr>
          <p:txBody>
            <a:bodyPr rtlCol="0" anchor="ctr"/>
            <a:lstStyle/>
            <a:p>
              <a:endParaRPr lang="en-GB" dirty="0"/>
            </a:p>
          </p:txBody>
        </p:sp>
        <p:sp>
          <p:nvSpPr>
            <p:cNvPr id="1162" name="Freeform: Shape 1161">
              <a:extLst>
                <a:ext uri="{FF2B5EF4-FFF2-40B4-BE49-F238E27FC236}">
                  <a16:creationId xmlns:a16="http://schemas.microsoft.com/office/drawing/2014/main" id="{426EF6CE-0883-4900-83E4-365AAC7D77F7}"/>
                </a:ext>
              </a:extLst>
            </p:cNvPr>
            <p:cNvSpPr/>
            <p:nvPr/>
          </p:nvSpPr>
          <p:spPr>
            <a:xfrm>
              <a:off x="6345889" y="3164266"/>
              <a:ext cx="120824" cy="134830"/>
            </a:xfrm>
            <a:custGeom>
              <a:avLst/>
              <a:gdLst>
                <a:gd name="connsiteX0" fmla="*/ 24184 w 120824"/>
                <a:gd name="connsiteY0" fmla="*/ 134831 h 134830"/>
                <a:gd name="connsiteX1" fmla="*/ 10364 w 120824"/>
                <a:gd name="connsiteY1" fmla="*/ 124466 h 134830"/>
                <a:gd name="connsiteX2" fmla="*/ 0 w 120824"/>
                <a:gd name="connsiteY2" fmla="*/ 117557 h 134830"/>
                <a:gd name="connsiteX3" fmla="*/ 3455 w 120824"/>
                <a:gd name="connsiteY3" fmla="*/ 96828 h 134830"/>
                <a:gd name="connsiteX4" fmla="*/ 13820 w 120824"/>
                <a:gd name="connsiteY4" fmla="*/ 96828 h 134830"/>
                <a:gd name="connsiteX5" fmla="*/ 17274 w 120824"/>
                <a:gd name="connsiteY5" fmla="*/ 82915 h 134830"/>
                <a:gd name="connsiteX6" fmla="*/ 31093 w 120824"/>
                <a:gd name="connsiteY6" fmla="*/ 72551 h 134830"/>
                <a:gd name="connsiteX7" fmla="*/ 20729 w 120824"/>
                <a:gd name="connsiteY7" fmla="*/ 58732 h 134830"/>
                <a:gd name="connsiteX8" fmla="*/ 27639 w 120824"/>
                <a:gd name="connsiteY8" fmla="*/ 51822 h 134830"/>
                <a:gd name="connsiteX9" fmla="*/ 24184 w 120824"/>
                <a:gd name="connsiteY9" fmla="*/ 38003 h 134830"/>
                <a:gd name="connsiteX10" fmla="*/ 13820 w 120824"/>
                <a:gd name="connsiteY10" fmla="*/ 38003 h 134830"/>
                <a:gd name="connsiteX11" fmla="*/ 20729 w 120824"/>
                <a:gd name="connsiteY11" fmla="*/ 31093 h 134830"/>
                <a:gd name="connsiteX12" fmla="*/ 10364 w 120824"/>
                <a:gd name="connsiteY12" fmla="*/ 6910 h 134830"/>
                <a:gd name="connsiteX13" fmla="*/ 24184 w 120824"/>
                <a:gd name="connsiteY13" fmla="*/ 0 h 134830"/>
                <a:gd name="connsiteX14" fmla="*/ 58732 w 120824"/>
                <a:gd name="connsiteY14" fmla="*/ 0 h 134830"/>
                <a:gd name="connsiteX15" fmla="*/ 62187 w 120824"/>
                <a:gd name="connsiteY15" fmla="*/ 13819 h 134830"/>
                <a:gd name="connsiteX16" fmla="*/ 72551 w 120824"/>
                <a:gd name="connsiteY16" fmla="*/ 27638 h 134830"/>
                <a:gd name="connsiteX17" fmla="*/ 86370 w 120824"/>
                <a:gd name="connsiteY17" fmla="*/ 48367 h 134830"/>
                <a:gd name="connsiteX18" fmla="*/ 113915 w 120824"/>
                <a:gd name="connsiteY18" fmla="*/ 51822 h 134830"/>
                <a:gd name="connsiteX19" fmla="*/ 113915 w 120824"/>
                <a:gd name="connsiteY19" fmla="*/ 69096 h 134830"/>
                <a:gd name="connsiteX20" fmla="*/ 103645 w 120824"/>
                <a:gd name="connsiteY20" fmla="*/ 76006 h 134830"/>
                <a:gd name="connsiteX21" fmla="*/ 113915 w 120824"/>
                <a:gd name="connsiteY21" fmla="*/ 89918 h 134830"/>
                <a:gd name="connsiteX22" fmla="*/ 120825 w 120824"/>
                <a:gd name="connsiteY22" fmla="*/ 100283 h 134830"/>
                <a:gd name="connsiteX23" fmla="*/ 110461 w 120824"/>
                <a:gd name="connsiteY23" fmla="*/ 121012 h 134830"/>
                <a:gd name="connsiteX24" fmla="*/ 93280 w 120824"/>
                <a:gd name="connsiteY24" fmla="*/ 124466 h 134830"/>
                <a:gd name="connsiteX25" fmla="*/ 76006 w 120824"/>
                <a:gd name="connsiteY25" fmla="*/ 131376 h 134830"/>
                <a:gd name="connsiteX26" fmla="*/ 62187 w 120824"/>
                <a:gd name="connsiteY26" fmla="*/ 131376 h 134830"/>
                <a:gd name="connsiteX27" fmla="*/ 48367 w 120824"/>
                <a:gd name="connsiteY27" fmla="*/ 121012 h 134830"/>
                <a:gd name="connsiteX28" fmla="*/ 34548 w 120824"/>
                <a:gd name="connsiteY28" fmla="*/ 117557 h 134830"/>
                <a:gd name="connsiteX29" fmla="*/ 27639 w 120824"/>
                <a:gd name="connsiteY29" fmla="*/ 124466 h 134830"/>
                <a:gd name="connsiteX30" fmla="*/ 24184 w 120824"/>
                <a:gd name="connsiteY30" fmla="*/ 134831 h 13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0824" h="134830">
                  <a:moveTo>
                    <a:pt x="24184" y="134831"/>
                  </a:moveTo>
                  <a:lnTo>
                    <a:pt x="10364" y="124466"/>
                  </a:lnTo>
                  <a:lnTo>
                    <a:pt x="0" y="117557"/>
                  </a:lnTo>
                  <a:lnTo>
                    <a:pt x="3455" y="96828"/>
                  </a:lnTo>
                  <a:lnTo>
                    <a:pt x="13820" y="96828"/>
                  </a:lnTo>
                  <a:lnTo>
                    <a:pt x="17274" y="82915"/>
                  </a:lnTo>
                  <a:lnTo>
                    <a:pt x="31093" y="72551"/>
                  </a:lnTo>
                  <a:lnTo>
                    <a:pt x="20729" y="58732"/>
                  </a:lnTo>
                  <a:lnTo>
                    <a:pt x="27639" y="51822"/>
                  </a:lnTo>
                  <a:lnTo>
                    <a:pt x="24184" y="38003"/>
                  </a:lnTo>
                  <a:lnTo>
                    <a:pt x="13820" y="38003"/>
                  </a:lnTo>
                  <a:lnTo>
                    <a:pt x="20729" y="31093"/>
                  </a:lnTo>
                  <a:lnTo>
                    <a:pt x="10364" y="6910"/>
                  </a:lnTo>
                  <a:lnTo>
                    <a:pt x="24184" y="0"/>
                  </a:lnTo>
                  <a:lnTo>
                    <a:pt x="58732" y="0"/>
                  </a:lnTo>
                  <a:lnTo>
                    <a:pt x="62187" y="13819"/>
                  </a:lnTo>
                  <a:lnTo>
                    <a:pt x="72551" y="27638"/>
                  </a:lnTo>
                  <a:lnTo>
                    <a:pt x="86370" y="48367"/>
                  </a:lnTo>
                  <a:lnTo>
                    <a:pt x="113915" y="51822"/>
                  </a:lnTo>
                  <a:lnTo>
                    <a:pt x="113915" y="69096"/>
                  </a:lnTo>
                  <a:lnTo>
                    <a:pt x="103645" y="76006"/>
                  </a:lnTo>
                  <a:lnTo>
                    <a:pt x="113915" y="89918"/>
                  </a:lnTo>
                  <a:lnTo>
                    <a:pt x="120825" y="100283"/>
                  </a:lnTo>
                  <a:lnTo>
                    <a:pt x="110461" y="121012"/>
                  </a:lnTo>
                  <a:lnTo>
                    <a:pt x="93280" y="124466"/>
                  </a:lnTo>
                  <a:lnTo>
                    <a:pt x="76006" y="131376"/>
                  </a:lnTo>
                  <a:lnTo>
                    <a:pt x="62187" y="131376"/>
                  </a:lnTo>
                  <a:lnTo>
                    <a:pt x="48367" y="121012"/>
                  </a:lnTo>
                  <a:lnTo>
                    <a:pt x="34548" y="117557"/>
                  </a:lnTo>
                  <a:lnTo>
                    <a:pt x="27639" y="124466"/>
                  </a:lnTo>
                  <a:lnTo>
                    <a:pt x="24184" y="134831"/>
                  </a:lnTo>
                  <a:close/>
                </a:path>
              </a:pathLst>
            </a:custGeom>
            <a:solidFill>
              <a:srgbClr val="CEE3BF"/>
            </a:solidFill>
            <a:ln w="9334" cap="flat">
              <a:noFill/>
              <a:prstDash val="solid"/>
              <a:miter/>
            </a:ln>
          </p:spPr>
          <p:txBody>
            <a:bodyPr rtlCol="0" anchor="ctr"/>
            <a:lstStyle/>
            <a:p>
              <a:endParaRPr lang="en-GB" dirty="0"/>
            </a:p>
          </p:txBody>
        </p:sp>
        <p:sp>
          <p:nvSpPr>
            <p:cNvPr id="1163" name="Freeform: Shape 1162">
              <a:extLst>
                <a:ext uri="{FF2B5EF4-FFF2-40B4-BE49-F238E27FC236}">
                  <a16:creationId xmlns:a16="http://schemas.microsoft.com/office/drawing/2014/main" id="{C0DEAB56-A9C2-4822-8F68-C90B20E42926}"/>
                </a:ext>
              </a:extLst>
            </p:cNvPr>
            <p:cNvSpPr/>
            <p:nvPr/>
          </p:nvSpPr>
          <p:spPr>
            <a:xfrm>
              <a:off x="6404622" y="3285278"/>
              <a:ext cx="69002" cy="55276"/>
            </a:xfrm>
            <a:custGeom>
              <a:avLst/>
              <a:gdLst>
                <a:gd name="connsiteX0" fmla="*/ 51729 w 69002"/>
                <a:gd name="connsiteY0" fmla="*/ 0 h 55276"/>
                <a:gd name="connsiteX1" fmla="*/ 55183 w 69002"/>
                <a:gd name="connsiteY1" fmla="*/ 13819 h 55276"/>
                <a:gd name="connsiteX2" fmla="*/ 65548 w 69002"/>
                <a:gd name="connsiteY2" fmla="*/ 24184 h 55276"/>
                <a:gd name="connsiteX3" fmla="*/ 69002 w 69002"/>
                <a:gd name="connsiteY3" fmla="*/ 34548 h 55276"/>
                <a:gd name="connsiteX4" fmla="*/ 55183 w 69002"/>
                <a:gd name="connsiteY4" fmla="*/ 44912 h 55276"/>
                <a:gd name="connsiteX5" fmla="*/ 34548 w 69002"/>
                <a:gd name="connsiteY5" fmla="*/ 48367 h 55276"/>
                <a:gd name="connsiteX6" fmla="*/ 10364 w 69002"/>
                <a:gd name="connsiteY6" fmla="*/ 55277 h 55276"/>
                <a:gd name="connsiteX7" fmla="*/ 0 w 69002"/>
                <a:gd name="connsiteY7" fmla="*/ 34548 h 55276"/>
                <a:gd name="connsiteX8" fmla="*/ 3455 w 69002"/>
                <a:gd name="connsiteY8" fmla="*/ 10364 h 55276"/>
                <a:gd name="connsiteX9" fmla="*/ 17274 w 69002"/>
                <a:gd name="connsiteY9" fmla="*/ 10364 h 55276"/>
                <a:gd name="connsiteX10" fmla="*/ 34548 w 69002"/>
                <a:gd name="connsiteY10" fmla="*/ 3455 h 55276"/>
                <a:gd name="connsiteX11" fmla="*/ 51729 w 69002"/>
                <a:gd name="connsiteY11" fmla="*/ 0 h 5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002" h="55276">
                  <a:moveTo>
                    <a:pt x="51729" y="0"/>
                  </a:moveTo>
                  <a:lnTo>
                    <a:pt x="55183" y="13819"/>
                  </a:lnTo>
                  <a:lnTo>
                    <a:pt x="65548" y="24184"/>
                  </a:lnTo>
                  <a:lnTo>
                    <a:pt x="69002" y="34548"/>
                  </a:lnTo>
                  <a:lnTo>
                    <a:pt x="55183" y="44912"/>
                  </a:lnTo>
                  <a:lnTo>
                    <a:pt x="34548" y="48367"/>
                  </a:lnTo>
                  <a:lnTo>
                    <a:pt x="10364" y="55277"/>
                  </a:lnTo>
                  <a:lnTo>
                    <a:pt x="0" y="34548"/>
                  </a:lnTo>
                  <a:lnTo>
                    <a:pt x="3455" y="10364"/>
                  </a:lnTo>
                  <a:lnTo>
                    <a:pt x="17274" y="10364"/>
                  </a:lnTo>
                  <a:lnTo>
                    <a:pt x="34548" y="3455"/>
                  </a:lnTo>
                  <a:lnTo>
                    <a:pt x="51729" y="0"/>
                  </a:lnTo>
                  <a:close/>
                </a:path>
              </a:pathLst>
            </a:custGeom>
            <a:solidFill>
              <a:srgbClr val="CEE3BF"/>
            </a:solidFill>
            <a:ln w="9334" cap="flat">
              <a:noFill/>
              <a:prstDash val="solid"/>
              <a:miter/>
            </a:ln>
          </p:spPr>
          <p:txBody>
            <a:bodyPr rtlCol="0" anchor="ctr"/>
            <a:lstStyle/>
            <a:p>
              <a:endParaRPr lang="en-GB" dirty="0"/>
            </a:p>
          </p:txBody>
        </p:sp>
        <p:sp>
          <p:nvSpPr>
            <p:cNvPr id="1164" name="Freeform: Shape 1163">
              <a:extLst>
                <a:ext uri="{FF2B5EF4-FFF2-40B4-BE49-F238E27FC236}">
                  <a16:creationId xmlns:a16="http://schemas.microsoft.com/office/drawing/2014/main" id="{6BE67C37-00E5-408D-86B8-3B4C65AD0F6A}"/>
                </a:ext>
              </a:extLst>
            </p:cNvPr>
            <p:cNvSpPr/>
            <p:nvPr/>
          </p:nvSpPr>
          <p:spPr>
            <a:xfrm>
              <a:off x="6580723" y="3081257"/>
              <a:ext cx="89731" cy="103737"/>
            </a:xfrm>
            <a:custGeom>
              <a:avLst/>
              <a:gdLst>
                <a:gd name="connsiteX0" fmla="*/ 34455 w 89731"/>
                <a:gd name="connsiteY0" fmla="*/ 103738 h 103737"/>
                <a:gd name="connsiteX1" fmla="*/ 27545 w 89731"/>
                <a:gd name="connsiteY1" fmla="*/ 83009 h 103737"/>
                <a:gd name="connsiteX2" fmla="*/ 34455 w 89731"/>
                <a:gd name="connsiteY2" fmla="*/ 62280 h 103737"/>
                <a:gd name="connsiteX3" fmla="*/ 31000 w 89731"/>
                <a:gd name="connsiteY3" fmla="*/ 55370 h 103737"/>
                <a:gd name="connsiteX4" fmla="*/ 24090 w 89731"/>
                <a:gd name="connsiteY4" fmla="*/ 45006 h 103737"/>
                <a:gd name="connsiteX5" fmla="*/ 6910 w 89731"/>
                <a:gd name="connsiteY5" fmla="*/ 31187 h 103737"/>
                <a:gd name="connsiteX6" fmla="*/ 3455 w 89731"/>
                <a:gd name="connsiteY6" fmla="*/ 17367 h 103737"/>
                <a:gd name="connsiteX7" fmla="*/ 0 w 89731"/>
                <a:gd name="connsiteY7" fmla="*/ 6910 h 103737"/>
                <a:gd name="connsiteX8" fmla="*/ 6910 w 89731"/>
                <a:gd name="connsiteY8" fmla="*/ 0 h 103737"/>
                <a:gd name="connsiteX9" fmla="*/ 31000 w 89731"/>
                <a:gd name="connsiteY9" fmla="*/ 3455 h 103737"/>
                <a:gd name="connsiteX10" fmla="*/ 51729 w 89731"/>
                <a:gd name="connsiteY10" fmla="*/ 10458 h 103737"/>
                <a:gd name="connsiteX11" fmla="*/ 58638 w 89731"/>
                <a:gd name="connsiteY11" fmla="*/ 24277 h 103737"/>
                <a:gd name="connsiteX12" fmla="*/ 65548 w 89731"/>
                <a:gd name="connsiteY12" fmla="*/ 38096 h 103737"/>
                <a:gd name="connsiteX13" fmla="*/ 82822 w 89731"/>
                <a:gd name="connsiteY13" fmla="*/ 48461 h 103737"/>
                <a:gd name="connsiteX14" fmla="*/ 89732 w 89731"/>
                <a:gd name="connsiteY14" fmla="*/ 62280 h 103737"/>
                <a:gd name="connsiteX15" fmla="*/ 82822 w 89731"/>
                <a:gd name="connsiteY15" fmla="*/ 72644 h 103737"/>
                <a:gd name="connsiteX16" fmla="*/ 69003 w 89731"/>
                <a:gd name="connsiteY16" fmla="*/ 72644 h 103737"/>
                <a:gd name="connsiteX17" fmla="*/ 51729 w 89731"/>
                <a:gd name="connsiteY17" fmla="*/ 69190 h 103737"/>
                <a:gd name="connsiteX18" fmla="*/ 51729 w 89731"/>
                <a:gd name="connsiteY18" fmla="*/ 83009 h 103737"/>
                <a:gd name="connsiteX19" fmla="*/ 41364 w 89731"/>
                <a:gd name="connsiteY19" fmla="*/ 96828 h 103737"/>
                <a:gd name="connsiteX20" fmla="*/ 34455 w 89731"/>
                <a:gd name="connsiteY20" fmla="*/ 103738 h 10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731" h="103737">
                  <a:moveTo>
                    <a:pt x="34455" y="103738"/>
                  </a:moveTo>
                  <a:lnTo>
                    <a:pt x="27545" y="83009"/>
                  </a:lnTo>
                  <a:lnTo>
                    <a:pt x="34455" y="62280"/>
                  </a:lnTo>
                  <a:lnTo>
                    <a:pt x="31000" y="55370"/>
                  </a:lnTo>
                  <a:lnTo>
                    <a:pt x="24090" y="45006"/>
                  </a:lnTo>
                  <a:lnTo>
                    <a:pt x="6910" y="31187"/>
                  </a:lnTo>
                  <a:lnTo>
                    <a:pt x="3455" y="17367"/>
                  </a:lnTo>
                  <a:lnTo>
                    <a:pt x="0" y="6910"/>
                  </a:lnTo>
                  <a:lnTo>
                    <a:pt x="6910" y="0"/>
                  </a:lnTo>
                  <a:lnTo>
                    <a:pt x="31000" y="3455"/>
                  </a:lnTo>
                  <a:lnTo>
                    <a:pt x="51729" y="10458"/>
                  </a:lnTo>
                  <a:lnTo>
                    <a:pt x="58638" y="24277"/>
                  </a:lnTo>
                  <a:lnTo>
                    <a:pt x="65548" y="38096"/>
                  </a:lnTo>
                  <a:lnTo>
                    <a:pt x="82822" y="48461"/>
                  </a:lnTo>
                  <a:lnTo>
                    <a:pt x="89732" y="62280"/>
                  </a:lnTo>
                  <a:lnTo>
                    <a:pt x="82822" y="72644"/>
                  </a:lnTo>
                  <a:lnTo>
                    <a:pt x="69003" y="72644"/>
                  </a:lnTo>
                  <a:lnTo>
                    <a:pt x="51729" y="69190"/>
                  </a:lnTo>
                  <a:lnTo>
                    <a:pt x="51729" y="83009"/>
                  </a:lnTo>
                  <a:lnTo>
                    <a:pt x="41364" y="96828"/>
                  </a:lnTo>
                  <a:lnTo>
                    <a:pt x="34455" y="103738"/>
                  </a:lnTo>
                  <a:close/>
                </a:path>
              </a:pathLst>
            </a:custGeom>
            <a:solidFill>
              <a:srgbClr val="CEE3BF"/>
            </a:solidFill>
            <a:ln w="9334" cap="flat">
              <a:noFill/>
              <a:prstDash val="solid"/>
              <a:miter/>
            </a:ln>
          </p:spPr>
          <p:txBody>
            <a:bodyPr rtlCol="0" anchor="ctr"/>
            <a:lstStyle/>
            <a:p>
              <a:endParaRPr lang="en-GB" dirty="0"/>
            </a:p>
          </p:txBody>
        </p:sp>
        <p:sp>
          <p:nvSpPr>
            <p:cNvPr id="1165" name="Freeform: Shape 1164">
              <a:extLst>
                <a:ext uri="{FF2B5EF4-FFF2-40B4-BE49-F238E27FC236}">
                  <a16:creationId xmlns:a16="http://schemas.microsoft.com/office/drawing/2014/main" id="{254BC08E-6E24-4325-BC04-91CD5B8DB869}"/>
                </a:ext>
              </a:extLst>
            </p:cNvPr>
            <p:cNvSpPr/>
            <p:nvPr/>
          </p:nvSpPr>
          <p:spPr>
            <a:xfrm>
              <a:off x="6580723" y="3081257"/>
              <a:ext cx="89731" cy="103737"/>
            </a:xfrm>
            <a:custGeom>
              <a:avLst/>
              <a:gdLst>
                <a:gd name="connsiteX0" fmla="*/ 34455 w 89731"/>
                <a:gd name="connsiteY0" fmla="*/ 103738 h 103737"/>
                <a:gd name="connsiteX1" fmla="*/ 27545 w 89731"/>
                <a:gd name="connsiteY1" fmla="*/ 83009 h 103737"/>
                <a:gd name="connsiteX2" fmla="*/ 34455 w 89731"/>
                <a:gd name="connsiteY2" fmla="*/ 62280 h 103737"/>
                <a:gd name="connsiteX3" fmla="*/ 31000 w 89731"/>
                <a:gd name="connsiteY3" fmla="*/ 55370 h 103737"/>
                <a:gd name="connsiteX4" fmla="*/ 24090 w 89731"/>
                <a:gd name="connsiteY4" fmla="*/ 45006 h 103737"/>
                <a:gd name="connsiteX5" fmla="*/ 6910 w 89731"/>
                <a:gd name="connsiteY5" fmla="*/ 31187 h 103737"/>
                <a:gd name="connsiteX6" fmla="*/ 3455 w 89731"/>
                <a:gd name="connsiteY6" fmla="*/ 17367 h 103737"/>
                <a:gd name="connsiteX7" fmla="*/ 0 w 89731"/>
                <a:gd name="connsiteY7" fmla="*/ 6910 h 103737"/>
                <a:gd name="connsiteX8" fmla="*/ 6910 w 89731"/>
                <a:gd name="connsiteY8" fmla="*/ 0 h 103737"/>
                <a:gd name="connsiteX9" fmla="*/ 31000 w 89731"/>
                <a:gd name="connsiteY9" fmla="*/ 3455 h 103737"/>
                <a:gd name="connsiteX10" fmla="*/ 51729 w 89731"/>
                <a:gd name="connsiteY10" fmla="*/ 10458 h 103737"/>
                <a:gd name="connsiteX11" fmla="*/ 58638 w 89731"/>
                <a:gd name="connsiteY11" fmla="*/ 24277 h 103737"/>
                <a:gd name="connsiteX12" fmla="*/ 65548 w 89731"/>
                <a:gd name="connsiteY12" fmla="*/ 38096 h 103737"/>
                <a:gd name="connsiteX13" fmla="*/ 82822 w 89731"/>
                <a:gd name="connsiteY13" fmla="*/ 48461 h 103737"/>
                <a:gd name="connsiteX14" fmla="*/ 89732 w 89731"/>
                <a:gd name="connsiteY14" fmla="*/ 62280 h 103737"/>
                <a:gd name="connsiteX15" fmla="*/ 82822 w 89731"/>
                <a:gd name="connsiteY15" fmla="*/ 72644 h 103737"/>
                <a:gd name="connsiteX16" fmla="*/ 69003 w 89731"/>
                <a:gd name="connsiteY16" fmla="*/ 72644 h 103737"/>
                <a:gd name="connsiteX17" fmla="*/ 51729 w 89731"/>
                <a:gd name="connsiteY17" fmla="*/ 69190 h 103737"/>
                <a:gd name="connsiteX18" fmla="*/ 51729 w 89731"/>
                <a:gd name="connsiteY18" fmla="*/ 83009 h 103737"/>
                <a:gd name="connsiteX19" fmla="*/ 41364 w 89731"/>
                <a:gd name="connsiteY19" fmla="*/ 96828 h 103737"/>
                <a:gd name="connsiteX20" fmla="*/ 34455 w 89731"/>
                <a:gd name="connsiteY20" fmla="*/ 103738 h 10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731" h="103737">
                  <a:moveTo>
                    <a:pt x="34455" y="103738"/>
                  </a:moveTo>
                  <a:lnTo>
                    <a:pt x="27545" y="83009"/>
                  </a:lnTo>
                  <a:lnTo>
                    <a:pt x="34455" y="62280"/>
                  </a:lnTo>
                  <a:lnTo>
                    <a:pt x="31000" y="55370"/>
                  </a:lnTo>
                  <a:lnTo>
                    <a:pt x="24090" y="45006"/>
                  </a:lnTo>
                  <a:lnTo>
                    <a:pt x="6910" y="31187"/>
                  </a:lnTo>
                  <a:lnTo>
                    <a:pt x="3455" y="17367"/>
                  </a:lnTo>
                  <a:lnTo>
                    <a:pt x="0" y="6910"/>
                  </a:lnTo>
                  <a:lnTo>
                    <a:pt x="6910" y="0"/>
                  </a:lnTo>
                  <a:lnTo>
                    <a:pt x="31000" y="3455"/>
                  </a:lnTo>
                  <a:lnTo>
                    <a:pt x="51729" y="10458"/>
                  </a:lnTo>
                  <a:lnTo>
                    <a:pt x="58638" y="24277"/>
                  </a:lnTo>
                  <a:lnTo>
                    <a:pt x="65548" y="38096"/>
                  </a:lnTo>
                  <a:lnTo>
                    <a:pt x="82822" y="48461"/>
                  </a:lnTo>
                  <a:lnTo>
                    <a:pt x="89732" y="62280"/>
                  </a:lnTo>
                  <a:lnTo>
                    <a:pt x="82822" y="72644"/>
                  </a:lnTo>
                  <a:lnTo>
                    <a:pt x="69003" y="72644"/>
                  </a:lnTo>
                  <a:lnTo>
                    <a:pt x="51729" y="69190"/>
                  </a:lnTo>
                  <a:lnTo>
                    <a:pt x="51729" y="83009"/>
                  </a:lnTo>
                  <a:lnTo>
                    <a:pt x="41364" y="96828"/>
                  </a:lnTo>
                  <a:lnTo>
                    <a:pt x="34455" y="103738"/>
                  </a:lnTo>
                  <a:close/>
                </a:path>
              </a:pathLst>
            </a:custGeom>
            <a:solidFill>
              <a:srgbClr val="CEE3BF"/>
            </a:solidFill>
            <a:ln w="9334" cap="flat">
              <a:noFill/>
              <a:prstDash val="solid"/>
              <a:miter/>
            </a:ln>
          </p:spPr>
          <p:txBody>
            <a:bodyPr rtlCol="0" anchor="ctr"/>
            <a:lstStyle/>
            <a:p>
              <a:endParaRPr lang="en-GB" dirty="0"/>
            </a:p>
          </p:txBody>
        </p:sp>
        <p:sp>
          <p:nvSpPr>
            <p:cNvPr id="1166" name="Freeform: Shape 1165">
              <a:extLst>
                <a:ext uri="{FF2B5EF4-FFF2-40B4-BE49-F238E27FC236}">
                  <a16:creationId xmlns:a16="http://schemas.microsoft.com/office/drawing/2014/main" id="{3F9C2B4F-C2CA-42FF-B879-B42E8D067FF8}"/>
                </a:ext>
              </a:extLst>
            </p:cNvPr>
            <p:cNvSpPr/>
            <p:nvPr/>
          </p:nvSpPr>
          <p:spPr>
            <a:xfrm>
              <a:off x="6442624" y="2943065"/>
              <a:ext cx="493664" cy="276478"/>
            </a:xfrm>
            <a:custGeom>
              <a:avLst/>
              <a:gdLst>
                <a:gd name="connsiteX0" fmla="*/ 258924 w 493664"/>
                <a:gd name="connsiteY0" fmla="*/ 3455 h 276478"/>
                <a:gd name="connsiteX1" fmla="*/ 272743 w 493664"/>
                <a:gd name="connsiteY1" fmla="*/ 10364 h 276478"/>
                <a:gd name="connsiteX2" fmla="*/ 283014 w 493664"/>
                <a:gd name="connsiteY2" fmla="*/ 6910 h 276478"/>
                <a:gd name="connsiteX3" fmla="*/ 289924 w 493664"/>
                <a:gd name="connsiteY3" fmla="*/ 0 h 276478"/>
                <a:gd name="connsiteX4" fmla="*/ 303743 w 493664"/>
                <a:gd name="connsiteY4" fmla="*/ 0 h 276478"/>
                <a:gd name="connsiteX5" fmla="*/ 331382 w 493664"/>
                <a:gd name="connsiteY5" fmla="*/ 0 h 276478"/>
                <a:gd name="connsiteX6" fmla="*/ 338292 w 493664"/>
                <a:gd name="connsiteY6" fmla="*/ 17274 h 276478"/>
                <a:gd name="connsiteX7" fmla="*/ 334837 w 493664"/>
                <a:gd name="connsiteY7" fmla="*/ 38003 h 276478"/>
                <a:gd name="connsiteX8" fmla="*/ 365930 w 493664"/>
                <a:gd name="connsiteY8" fmla="*/ 44912 h 276478"/>
                <a:gd name="connsiteX9" fmla="*/ 372840 w 493664"/>
                <a:gd name="connsiteY9" fmla="*/ 69096 h 276478"/>
                <a:gd name="connsiteX10" fmla="*/ 428023 w 493664"/>
                <a:gd name="connsiteY10" fmla="*/ 72551 h 276478"/>
                <a:gd name="connsiteX11" fmla="*/ 431478 w 493664"/>
                <a:gd name="connsiteY11" fmla="*/ 82915 h 276478"/>
                <a:gd name="connsiteX12" fmla="*/ 466026 w 493664"/>
                <a:gd name="connsiteY12" fmla="*/ 82915 h 276478"/>
                <a:gd name="connsiteX13" fmla="*/ 493665 w 493664"/>
                <a:gd name="connsiteY13" fmla="*/ 100189 h 276478"/>
                <a:gd name="connsiteX14" fmla="*/ 493665 w 493664"/>
                <a:gd name="connsiteY14" fmla="*/ 134737 h 276478"/>
                <a:gd name="connsiteX15" fmla="*/ 490209 w 493664"/>
                <a:gd name="connsiteY15" fmla="*/ 155560 h 276478"/>
                <a:gd name="connsiteX16" fmla="*/ 462571 w 493664"/>
                <a:gd name="connsiteY16" fmla="*/ 162469 h 276478"/>
                <a:gd name="connsiteX17" fmla="*/ 445297 w 493664"/>
                <a:gd name="connsiteY17" fmla="*/ 169379 h 276478"/>
                <a:gd name="connsiteX18" fmla="*/ 441842 w 493664"/>
                <a:gd name="connsiteY18" fmla="*/ 183198 h 276478"/>
                <a:gd name="connsiteX19" fmla="*/ 417659 w 493664"/>
                <a:gd name="connsiteY19" fmla="*/ 193563 h 276478"/>
                <a:gd name="connsiteX20" fmla="*/ 386659 w 493664"/>
                <a:gd name="connsiteY20" fmla="*/ 200472 h 276478"/>
                <a:gd name="connsiteX21" fmla="*/ 359020 w 493664"/>
                <a:gd name="connsiteY21" fmla="*/ 214291 h 276478"/>
                <a:gd name="connsiteX22" fmla="*/ 331382 w 493664"/>
                <a:gd name="connsiteY22" fmla="*/ 221201 h 276478"/>
                <a:gd name="connsiteX23" fmla="*/ 327927 w 493664"/>
                <a:gd name="connsiteY23" fmla="*/ 228111 h 276478"/>
                <a:gd name="connsiteX24" fmla="*/ 345201 w 493664"/>
                <a:gd name="connsiteY24" fmla="*/ 231565 h 276478"/>
                <a:gd name="connsiteX25" fmla="*/ 355565 w 493664"/>
                <a:gd name="connsiteY25" fmla="*/ 241930 h 276478"/>
                <a:gd name="connsiteX26" fmla="*/ 362475 w 493664"/>
                <a:gd name="connsiteY26" fmla="*/ 245385 h 276478"/>
                <a:gd name="connsiteX27" fmla="*/ 372840 w 493664"/>
                <a:gd name="connsiteY27" fmla="*/ 248840 h 276478"/>
                <a:gd name="connsiteX28" fmla="*/ 400478 w 493664"/>
                <a:gd name="connsiteY28" fmla="*/ 245385 h 276478"/>
                <a:gd name="connsiteX29" fmla="*/ 410842 w 493664"/>
                <a:gd name="connsiteY29" fmla="*/ 248840 h 276478"/>
                <a:gd name="connsiteX30" fmla="*/ 414297 w 493664"/>
                <a:gd name="connsiteY30" fmla="*/ 259204 h 276478"/>
                <a:gd name="connsiteX31" fmla="*/ 403933 w 493664"/>
                <a:gd name="connsiteY31" fmla="*/ 259204 h 276478"/>
                <a:gd name="connsiteX32" fmla="*/ 379749 w 493664"/>
                <a:gd name="connsiteY32" fmla="*/ 259204 h 276478"/>
                <a:gd name="connsiteX33" fmla="*/ 362475 w 493664"/>
                <a:gd name="connsiteY33" fmla="*/ 259204 h 276478"/>
                <a:gd name="connsiteX34" fmla="*/ 348656 w 493664"/>
                <a:gd name="connsiteY34" fmla="*/ 266114 h 276478"/>
                <a:gd name="connsiteX35" fmla="*/ 334837 w 493664"/>
                <a:gd name="connsiteY35" fmla="*/ 276478 h 276478"/>
                <a:gd name="connsiteX36" fmla="*/ 317562 w 493664"/>
                <a:gd name="connsiteY36" fmla="*/ 276478 h 276478"/>
                <a:gd name="connsiteX37" fmla="*/ 317562 w 493664"/>
                <a:gd name="connsiteY37" fmla="*/ 262659 h 276478"/>
                <a:gd name="connsiteX38" fmla="*/ 310653 w 493664"/>
                <a:gd name="connsiteY38" fmla="*/ 252294 h 276478"/>
                <a:gd name="connsiteX39" fmla="*/ 293379 w 493664"/>
                <a:gd name="connsiteY39" fmla="*/ 241930 h 276478"/>
                <a:gd name="connsiteX40" fmla="*/ 303743 w 493664"/>
                <a:gd name="connsiteY40" fmla="*/ 235020 h 276478"/>
                <a:gd name="connsiteX41" fmla="*/ 317562 w 493664"/>
                <a:gd name="connsiteY41" fmla="*/ 228111 h 276478"/>
                <a:gd name="connsiteX42" fmla="*/ 317562 w 493664"/>
                <a:gd name="connsiteY42" fmla="*/ 221201 h 276478"/>
                <a:gd name="connsiteX43" fmla="*/ 279653 w 493664"/>
                <a:gd name="connsiteY43" fmla="*/ 221201 h 276478"/>
                <a:gd name="connsiteX44" fmla="*/ 272743 w 493664"/>
                <a:gd name="connsiteY44" fmla="*/ 200472 h 276478"/>
                <a:gd name="connsiteX45" fmla="*/ 252015 w 493664"/>
                <a:gd name="connsiteY45" fmla="*/ 200472 h 276478"/>
                <a:gd name="connsiteX46" fmla="*/ 238195 w 493664"/>
                <a:gd name="connsiteY46" fmla="*/ 203927 h 276478"/>
                <a:gd name="connsiteX47" fmla="*/ 238195 w 493664"/>
                <a:gd name="connsiteY47" fmla="*/ 217746 h 276478"/>
                <a:gd name="connsiteX48" fmla="*/ 217467 w 493664"/>
                <a:gd name="connsiteY48" fmla="*/ 231565 h 276478"/>
                <a:gd name="connsiteX49" fmla="*/ 207102 w 493664"/>
                <a:gd name="connsiteY49" fmla="*/ 252294 h 276478"/>
                <a:gd name="connsiteX50" fmla="*/ 196737 w 493664"/>
                <a:gd name="connsiteY50" fmla="*/ 241930 h 276478"/>
                <a:gd name="connsiteX51" fmla="*/ 189828 w 493664"/>
                <a:gd name="connsiteY51" fmla="*/ 248840 h 276478"/>
                <a:gd name="connsiteX52" fmla="*/ 172554 w 493664"/>
                <a:gd name="connsiteY52" fmla="*/ 245385 h 276478"/>
                <a:gd name="connsiteX53" fmla="*/ 172554 w 493664"/>
                <a:gd name="connsiteY53" fmla="*/ 241930 h 276478"/>
                <a:gd name="connsiteX54" fmla="*/ 189828 w 493664"/>
                <a:gd name="connsiteY54" fmla="*/ 221201 h 276478"/>
                <a:gd name="connsiteX55" fmla="*/ 189828 w 493664"/>
                <a:gd name="connsiteY55" fmla="*/ 207382 h 276478"/>
                <a:gd name="connsiteX56" fmla="*/ 220921 w 493664"/>
                <a:gd name="connsiteY56" fmla="*/ 210837 h 276478"/>
                <a:gd name="connsiteX57" fmla="*/ 227831 w 493664"/>
                <a:gd name="connsiteY57" fmla="*/ 200472 h 276478"/>
                <a:gd name="connsiteX58" fmla="*/ 220921 w 493664"/>
                <a:gd name="connsiteY58" fmla="*/ 186653 h 276478"/>
                <a:gd name="connsiteX59" fmla="*/ 203647 w 493664"/>
                <a:gd name="connsiteY59" fmla="*/ 176289 h 276478"/>
                <a:gd name="connsiteX60" fmla="*/ 189828 w 493664"/>
                <a:gd name="connsiteY60" fmla="*/ 148650 h 276478"/>
                <a:gd name="connsiteX61" fmla="*/ 169099 w 493664"/>
                <a:gd name="connsiteY61" fmla="*/ 141647 h 276478"/>
                <a:gd name="connsiteX62" fmla="*/ 151825 w 493664"/>
                <a:gd name="connsiteY62" fmla="*/ 138192 h 276478"/>
                <a:gd name="connsiteX63" fmla="*/ 145009 w 493664"/>
                <a:gd name="connsiteY63" fmla="*/ 138192 h 276478"/>
                <a:gd name="connsiteX64" fmla="*/ 138099 w 493664"/>
                <a:gd name="connsiteY64" fmla="*/ 145102 h 276478"/>
                <a:gd name="connsiteX65" fmla="*/ 117370 w 493664"/>
                <a:gd name="connsiteY65" fmla="*/ 145102 h 276478"/>
                <a:gd name="connsiteX66" fmla="*/ 110461 w 493664"/>
                <a:gd name="connsiteY66" fmla="*/ 159015 h 276478"/>
                <a:gd name="connsiteX67" fmla="*/ 75912 w 493664"/>
                <a:gd name="connsiteY67" fmla="*/ 159015 h 276478"/>
                <a:gd name="connsiteX68" fmla="*/ 55184 w 493664"/>
                <a:gd name="connsiteY68" fmla="*/ 148650 h 276478"/>
                <a:gd name="connsiteX69" fmla="*/ 17181 w 493664"/>
                <a:gd name="connsiteY69" fmla="*/ 162469 h 276478"/>
                <a:gd name="connsiteX70" fmla="*/ 10365 w 493664"/>
                <a:gd name="connsiteY70" fmla="*/ 148650 h 276478"/>
                <a:gd name="connsiteX71" fmla="*/ 0 w 493664"/>
                <a:gd name="connsiteY71" fmla="*/ 141647 h 276478"/>
                <a:gd name="connsiteX72" fmla="*/ 6910 w 493664"/>
                <a:gd name="connsiteY72" fmla="*/ 131283 h 276478"/>
                <a:gd name="connsiteX73" fmla="*/ 13726 w 493664"/>
                <a:gd name="connsiteY73" fmla="*/ 114009 h 276478"/>
                <a:gd name="connsiteX74" fmla="*/ 17181 w 493664"/>
                <a:gd name="connsiteY74" fmla="*/ 100189 h 276478"/>
                <a:gd name="connsiteX75" fmla="*/ 31000 w 493664"/>
                <a:gd name="connsiteY75" fmla="*/ 79461 h 276478"/>
                <a:gd name="connsiteX76" fmla="*/ 37909 w 493664"/>
                <a:gd name="connsiteY76" fmla="*/ 72551 h 276478"/>
                <a:gd name="connsiteX77" fmla="*/ 55184 w 493664"/>
                <a:gd name="connsiteY77" fmla="*/ 62186 h 276478"/>
                <a:gd name="connsiteX78" fmla="*/ 48274 w 493664"/>
                <a:gd name="connsiteY78" fmla="*/ 41458 h 276478"/>
                <a:gd name="connsiteX79" fmla="*/ 48274 w 493664"/>
                <a:gd name="connsiteY79" fmla="*/ 27638 h 276478"/>
                <a:gd name="connsiteX80" fmla="*/ 62093 w 493664"/>
                <a:gd name="connsiteY80" fmla="*/ 6910 h 276478"/>
                <a:gd name="connsiteX81" fmla="*/ 145009 w 493664"/>
                <a:gd name="connsiteY81" fmla="*/ 24184 h 276478"/>
                <a:gd name="connsiteX82" fmla="*/ 193283 w 493664"/>
                <a:gd name="connsiteY82" fmla="*/ 24184 h 276478"/>
                <a:gd name="connsiteX83" fmla="*/ 196737 w 493664"/>
                <a:gd name="connsiteY83" fmla="*/ 34548 h 276478"/>
                <a:gd name="connsiteX84" fmla="*/ 231286 w 493664"/>
                <a:gd name="connsiteY84" fmla="*/ 38003 h 276478"/>
                <a:gd name="connsiteX85" fmla="*/ 238195 w 493664"/>
                <a:gd name="connsiteY85" fmla="*/ 6910 h 276478"/>
                <a:gd name="connsiteX86" fmla="*/ 258924 w 493664"/>
                <a:gd name="connsiteY86" fmla="*/ 3455 h 27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664" h="276478">
                  <a:moveTo>
                    <a:pt x="258924" y="3455"/>
                  </a:moveTo>
                  <a:lnTo>
                    <a:pt x="272743" y="10364"/>
                  </a:lnTo>
                  <a:lnTo>
                    <a:pt x="283014" y="6910"/>
                  </a:lnTo>
                  <a:lnTo>
                    <a:pt x="289924" y="0"/>
                  </a:lnTo>
                  <a:lnTo>
                    <a:pt x="303743" y="0"/>
                  </a:lnTo>
                  <a:lnTo>
                    <a:pt x="331382" y="0"/>
                  </a:lnTo>
                  <a:lnTo>
                    <a:pt x="338292" y="17274"/>
                  </a:lnTo>
                  <a:lnTo>
                    <a:pt x="334837" y="38003"/>
                  </a:lnTo>
                  <a:lnTo>
                    <a:pt x="365930" y="44912"/>
                  </a:lnTo>
                  <a:lnTo>
                    <a:pt x="372840" y="69096"/>
                  </a:lnTo>
                  <a:lnTo>
                    <a:pt x="428023" y="72551"/>
                  </a:lnTo>
                  <a:lnTo>
                    <a:pt x="431478" y="82915"/>
                  </a:lnTo>
                  <a:lnTo>
                    <a:pt x="466026" y="82915"/>
                  </a:lnTo>
                  <a:lnTo>
                    <a:pt x="493665" y="100189"/>
                  </a:lnTo>
                  <a:lnTo>
                    <a:pt x="493665" y="134737"/>
                  </a:lnTo>
                  <a:lnTo>
                    <a:pt x="490209" y="155560"/>
                  </a:lnTo>
                  <a:lnTo>
                    <a:pt x="462571" y="162469"/>
                  </a:lnTo>
                  <a:lnTo>
                    <a:pt x="445297" y="169379"/>
                  </a:lnTo>
                  <a:lnTo>
                    <a:pt x="441842" y="183198"/>
                  </a:lnTo>
                  <a:lnTo>
                    <a:pt x="417659" y="193563"/>
                  </a:lnTo>
                  <a:lnTo>
                    <a:pt x="386659" y="200472"/>
                  </a:lnTo>
                  <a:lnTo>
                    <a:pt x="359020" y="214291"/>
                  </a:lnTo>
                  <a:lnTo>
                    <a:pt x="331382" y="221201"/>
                  </a:lnTo>
                  <a:lnTo>
                    <a:pt x="327927" y="228111"/>
                  </a:lnTo>
                  <a:lnTo>
                    <a:pt x="345201" y="231565"/>
                  </a:lnTo>
                  <a:lnTo>
                    <a:pt x="355565" y="241930"/>
                  </a:lnTo>
                  <a:lnTo>
                    <a:pt x="362475" y="245385"/>
                  </a:lnTo>
                  <a:lnTo>
                    <a:pt x="372840" y="248840"/>
                  </a:lnTo>
                  <a:lnTo>
                    <a:pt x="400478" y="245385"/>
                  </a:lnTo>
                  <a:lnTo>
                    <a:pt x="410842" y="248840"/>
                  </a:lnTo>
                  <a:lnTo>
                    <a:pt x="414297" y="259204"/>
                  </a:lnTo>
                  <a:lnTo>
                    <a:pt x="403933" y="259204"/>
                  </a:lnTo>
                  <a:lnTo>
                    <a:pt x="379749" y="259204"/>
                  </a:lnTo>
                  <a:lnTo>
                    <a:pt x="362475" y="259204"/>
                  </a:lnTo>
                  <a:lnTo>
                    <a:pt x="348656" y="266114"/>
                  </a:lnTo>
                  <a:lnTo>
                    <a:pt x="334837" y="276478"/>
                  </a:lnTo>
                  <a:lnTo>
                    <a:pt x="317562" y="276478"/>
                  </a:lnTo>
                  <a:lnTo>
                    <a:pt x="317562" y="262659"/>
                  </a:lnTo>
                  <a:lnTo>
                    <a:pt x="310653" y="252294"/>
                  </a:lnTo>
                  <a:lnTo>
                    <a:pt x="293379" y="241930"/>
                  </a:lnTo>
                  <a:lnTo>
                    <a:pt x="303743" y="235020"/>
                  </a:lnTo>
                  <a:lnTo>
                    <a:pt x="317562" y="228111"/>
                  </a:lnTo>
                  <a:lnTo>
                    <a:pt x="317562" y="221201"/>
                  </a:lnTo>
                  <a:lnTo>
                    <a:pt x="279653" y="221201"/>
                  </a:lnTo>
                  <a:lnTo>
                    <a:pt x="272743" y="200472"/>
                  </a:lnTo>
                  <a:lnTo>
                    <a:pt x="252015" y="200472"/>
                  </a:lnTo>
                  <a:lnTo>
                    <a:pt x="238195" y="203927"/>
                  </a:lnTo>
                  <a:lnTo>
                    <a:pt x="238195" y="217746"/>
                  </a:lnTo>
                  <a:lnTo>
                    <a:pt x="217467" y="231565"/>
                  </a:lnTo>
                  <a:lnTo>
                    <a:pt x="207102" y="252294"/>
                  </a:lnTo>
                  <a:lnTo>
                    <a:pt x="196737" y="241930"/>
                  </a:lnTo>
                  <a:lnTo>
                    <a:pt x="189828" y="248840"/>
                  </a:lnTo>
                  <a:lnTo>
                    <a:pt x="172554" y="245385"/>
                  </a:lnTo>
                  <a:lnTo>
                    <a:pt x="172554" y="241930"/>
                  </a:lnTo>
                  <a:lnTo>
                    <a:pt x="189828" y="221201"/>
                  </a:lnTo>
                  <a:lnTo>
                    <a:pt x="189828" y="207382"/>
                  </a:lnTo>
                  <a:lnTo>
                    <a:pt x="220921" y="210837"/>
                  </a:lnTo>
                  <a:lnTo>
                    <a:pt x="227831" y="200472"/>
                  </a:lnTo>
                  <a:lnTo>
                    <a:pt x="220921" y="186653"/>
                  </a:lnTo>
                  <a:lnTo>
                    <a:pt x="203647" y="176289"/>
                  </a:lnTo>
                  <a:lnTo>
                    <a:pt x="189828" y="148650"/>
                  </a:lnTo>
                  <a:lnTo>
                    <a:pt x="169099" y="141647"/>
                  </a:lnTo>
                  <a:lnTo>
                    <a:pt x="151825" y="138192"/>
                  </a:lnTo>
                  <a:lnTo>
                    <a:pt x="145009" y="138192"/>
                  </a:lnTo>
                  <a:lnTo>
                    <a:pt x="138099" y="145102"/>
                  </a:lnTo>
                  <a:lnTo>
                    <a:pt x="117370" y="145102"/>
                  </a:lnTo>
                  <a:lnTo>
                    <a:pt x="110461" y="159015"/>
                  </a:lnTo>
                  <a:lnTo>
                    <a:pt x="75912" y="159015"/>
                  </a:lnTo>
                  <a:lnTo>
                    <a:pt x="55184" y="148650"/>
                  </a:lnTo>
                  <a:lnTo>
                    <a:pt x="17181" y="162469"/>
                  </a:lnTo>
                  <a:lnTo>
                    <a:pt x="10365" y="148650"/>
                  </a:lnTo>
                  <a:lnTo>
                    <a:pt x="0" y="141647"/>
                  </a:lnTo>
                  <a:lnTo>
                    <a:pt x="6910" y="131283"/>
                  </a:lnTo>
                  <a:lnTo>
                    <a:pt x="13726" y="114009"/>
                  </a:lnTo>
                  <a:lnTo>
                    <a:pt x="17181" y="100189"/>
                  </a:lnTo>
                  <a:lnTo>
                    <a:pt x="31000" y="79461"/>
                  </a:lnTo>
                  <a:lnTo>
                    <a:pt x="37909" y="72551"/>
                  </a:lnTo>
                  <a:lnTo>
                    <a:pt x="55184" y="62186"/>
                  </a:lnTo>
                  <a:lnTo>
                    <a:pt x="48274" y="41458"/>
                  </a:lnTo>
                  <a:lnTo>
                    <a:pt x="48274" y="27638"/>
                  </a:lnTo>
                  <a:lnTo>
                    <a:pt x="62093" y="6910"/>
                  </a:lnTo>
                  <a:lnTo>
                    <a:pt x="145009" y="24184"/>
                  </a:lnTo>
                  <a:lnTo>
                    <a:pt x="193283" y="24184"/>
                  </a:lnTo>
                  <a:lnTo>
                    <a:pt x="196737" y="34548"/>
                  </a:lnTo>
                  <a:lnTo>
                    <a:pt x="231286" y="38003"/>
                  </a:lnTo>
                  <a:lnTo>
                    <a:pt x="238195" y="6910"/>
                  </a:lnTo>
                  <a:lnTo>
                    <a:pt x="258924" y="3455"/>
                  </a:lnTo>
                  <a:close/>
                </a:path>
              </a:pathLst>
            </a:custGeom>
            <a:solidFill>
              <a:srgbClr val="CEE3BF"/>
            </a:solidFill>
            <a:ln w="9334" cap="flat">
              <a:noFill/>
              <a:prstDash val="solid"/>
              <a:miter/>
            </a:ln>
          </p:spPr>
          <p:txBody>
            <a:bodyPr rtlCol="0" anchor="ctr"/>
            <a:lstStyle/>
            <a:p>
              <a:endParaRPr lang="en-GB" dirty="0"/>
            </a:p>
          </p:txBody>
        </p:sp>
        <p:sp>
          <p:nvSpPr>
            <p:cNvPr id="1167" name="Freeform: Shape 1166">
              <a:extLst>
                <a:ext uri="{FF2B5EF4-FFF2-40B4-BE49-F238E27FC236}">
                  <a16:creationId xmlns:a16="http://schemas.microsoft.com/office/drawing/2014/main" id="{9FABCF8F-8E16-4301-AA40-D4E188C7606C}"/>
                </a:ext>
              </a:extLst>
            </p:cNvPr>
            <p:cNvSpPr/>
            <p:nvPr/>
          </p:nvSpPr>
          <p:spPr>
            <a:xfrm>
              <a:off x="6404622" y="3088167"/>
              <a:ext cx="245104" cy="155559"/>
            </a:xfrm>
            <a:custGeom>
              <a:avLst/>
              <a:gdLst>
                <a:gd name="connsiteX0" fmla="*/ 55183 w 245104"/>
                <a:gd name="connsiteY0" fmla="*/ 17367 h 155559"/>
                <a:gd name="connsiteX1" fmla="*/ 79367 w 245104"/>
                <a:gd name="connsiteY1" fmla="*/ 7003 h 155559"/>
                <a:gd name="connsiteX2" fmla="*/ 93186 w 245104"/>
                <a:gd name="connsiteY2" fmla="*/ 3548 h 155559"/>
                <a:gd name="connsiteX3" fmla="*/ 113915 w 245104"/>
                <a:gd name="connsiteY3" fmla="*/ 13913 h 155559"/>
                <a:gd name="connsiteX4" fmla="*/ 148463 w 245104"/>
                <a:gd name="connsiteY4" fmla="*/ 13913 h 155559"/>
                <a:gd name="connsiteX5" fmla="*/ 155373 w 245104"/>
                <a:gd name="connsiteY5" fmla="*/ 0 h 155559"/>
                <a:gd name="connsiteX6" fmla="*/ 176102 w 245104"/>
                <a:gd name="connsiteY6" fmla="*/ 0 h 155559"/>
                <a:gd name="connsiteX7" fmla="*/ 183011 w 245104"/>
                <a:gd name="connsiteY7" fmla="*/ 17367 h 155559"/>
                <a:gd name="connsiteX8" fmla="*/ 186373 w 245104"/>
                <a:gd name="connsiteY8" fmla="*/ 27732 h 155559"/>
                <a:gd name="connsiteX9" fmla="*/ 207102 w 245104"/>
                <a:gd name="connsiteY9" fmla="*/ 48461 h 155559"/>
                <a:gd name="connsiteX10" fmla="*/ 210556 w 245104"/>
                <a:gd name="connsiteY10" fmla="*/ 55370 h 155559"/>
                <a:gd name="connsiteX11" fmla="*/ 203647 w 245104"/>
                <a:gd name="connsiteY11" fmla="*/ 72644 h 155559"/>
                <a:gd name="connsiteX12" fmla="*/ 207102 w 245104"/>
                <a:gd name="connsiteY12" fmla="*/ 89918 h 155559"/>
                <a:gd name="connsiteX13" fmla="*/ 210556 w 245104"/>
                <a:gd name="connsiteY13" fmla="*/ 100283 h 155559"/>
                <a:gd name="connsiteX14" fmla="*/ 227830 w 245104"/>
                <a:gd name="connsiteY14" fmla="*/ 103738 h 155559"/>
                <a:gd name="connsiteX15" fmla="*/ 234740 w 245104"/>
                <a:gd name="connsiteY15" fmla="*/ 96828 h 155559"/>
                <a:gd name="connsiteX16" fmla="*/ 245105 w 245104"/>
                <a:gd name="connsiteY16" fmla="*/ 107192 h 155559"/>
                <a:gd name="connsiteX17" fmla="*/ 238195 w 245104"/>
                <a:gd name="connsiteY17" fmla="*/ 117557 h 155559"/>
                <a:gd name="connsiteX18" fmla="*/ 224376 w 245104"/>
                <a:gd name="connsiteY18" fmla="*/ 124466 h 155559"/>
                <a:gd name="connsiteX19" fmla="*/ 217466 w 245104"/>
                <a:gd name="connsiteY19" fmla="*/ 134831 h 155559"/>
                <a:gd name="connsiteX20" fmla="*/ 214011 w 245104"/>
                <a:gd name="connsiteY20" fmla="*/ 155560 h 155559"/>
                <a:gd name="connsiteX21" fmla="*/ 203647 w 245104"/>
                <a:gd name="connsiteY21" fmla="*/ 155560 h 155559"/>
                <a:gd name="connsiteX22" fmla="*/ 183011 w 245104"/>
                <a:gd name="connsiteY22" fmla="*/ 145195 h 155559"/>
                <a:gd name="connsiteX23" fmla="*/ 158827 w 245104"/>
                <a:gd name="connsiteY23" fmla="*/ 138286 h 155559"/>
                <a:gd name="connsiteX24" fmla="*/ 145008 w 245104"/>
                <a:gd name="connsiteY24" fmla="*/ 152105 h 155559"/>
                <a:gd name="connsiteX25" fmla="*/ 124280 w 245104"/>
                <a:gd name="connsiteY25" fmla="*/ 152105 h 155559"/>
                <a:gd name="connsiteX26" fmla="*/ 75912 w 245104"/>
                <a:gd name="connsiteY26" fmla="*/ 152105 h 155559"/>
                <a:gd name="connsiteX27" fmla="*/ 55183 w 245104"/>
                <a:gd name="connsiteY27" fmla="*/ 145195 h 155559"/>
                <a:gd name="connsiteX28" fmla="*/ 55183 w 245104"/>
                <a:gd name="connsiteY28" fmla="*/ 127921 h 155559"/>
                <a:gd name="connsiteX29" fmla="*/ 27638 w 245104"/>
                <a:gd name="connsiteY29" fmla="*/ 124466 h 155559"/>
                <a:gd name="connsiteX30" fmla="*/ 13819 w 245104"/>
                <a:gd name="connsiteY30" fmla="*/ 103738 h 155559"/>
                <a:gd name="connsiteX31" fmla="*/ 3455 w 245104"/>
                <a:gd name="connsiteY31" fmla="*/ 89918 h 155559"/>
                <a:gd name="connsiteX32" fmla="*/ 0 w 245104"/>
                <a:gd name="connsiteY32" fmla="*/ 76099 h 155559"/>
                <a:gd name="connsiteX33" fmla="*/ 24183 w 245104"/>
                <a:gd name="connsiteY33" fmla="*/ 51915 h 155559"/>
                <a:gd name="connsiteX34" fmla="*/ 41458 w 245104"/>
                <a:gd name="connsiteY34" fmla="*/ 27732 h 155559"/>
                <a:gd name="connsiteX35" fmla="*/ 55183 w 245104"/>
                <a:gd name="connsiteY35" fmla="*/ 17367 h 15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104" h="155559">
                  <a:moveTo>
                    <a:pt x="55183" y="17367"/>
                  </a:moveTo>
                  <a:lnTo>
                    <a:pt x="79367" y="7003"/>
                  </a:lnTo>
                  <a:lnTo>
                    <a:pt x="93186" y="3548"/>
                  </a:lnTo>
                  <a:lnTo>
                    <a:pt x="113915" y="13913"/>
                  </a:lnTo>
                  <a:lnTo>
                    <a:pt x="148463" y="13913"/>
                  </a:lnTo>
                  <a:lnTo>
                    <a:pt x="155373" y="0"/>
                  </a:lnTo>
                  <a:lnTo>
                    <a:pt x="176102" y="0"/>
                  </a:lnTo>
                  <a:lnTo>
                    <a:pt x="183011" y="17367"/>
                  </a:lnTo>
                  <a:lnTo>
                    <a:pt x="186373" y="27732"/>
                  </a:lnTo>
                  <a:lnTo>
                    <a:pt x="207102" y="48461"/>
                  </a:lnTo>
                  <a:lnTo>
                    <a:pt x="210556" y="55370"/>
                  </a:lnTo>
                  <a:lnTo>
                    <a:pt x="203647" y="72644"/>
                  </a:lnTo>
                  <a:lnTo>
                    <a:pt x="207102" y="89918"/>
                  </a:lnTo>
                  <a:lnTo>
                    <a:pt x="210556" y="100283"/>
                  </a:lnTo>
                  <a:lnTo>
                    <a:pt x="227830" y="103738"/>
                  </a:lnTo>
                  <a:lnTo>
                    <a:pt x="234740" y="96828"/>
                  </a:lnTo>
                  <a:lnTo>
                    <a:pt x="245105" y="107192"/>
                  </a:lnTo>
                  <a:lnTo>
                    <a:pt x="238195" y="117557"/>
                  </a:lnTo>
                  <a:lnTo>
                    <a:pt x="224376" y="124466"/>
                  </a:lnTo>
                  <a:lnTo>
                    <a:pt x="217466" y="134831"/>
                  </a:lnTo>
                  <a:lnTo>
                    <a:pt x="214011" y="155560"/>
                  </a:lnTo>
                  <a:lnTo>
                    <a:pt x="203647" y="155560"/>
                  </a:lnTo>
                  <a:lnTo>
                    <a:pt x="183011" y="145195"/>
                  </a:lnTo>
                  <a:lnTo>
                    <a:pt x="158827" y="138286"/>
                  </a:lnTo>
                  <a:lnTo>
                    <a:pt x="145008" y="152105"/>
                  </a:lnTo>
                  <a:lnTo>
                    <a:pt x="124280" y="152105"/>
                  </a:lnTo>
                  <a:lnTo>
                    <a:pt x="75912" y="152105"/>
                  </a:lnTo>
                  <a:lnTo>
                    <a:pt x="55183" y="145195"/>
                  </a:lnTo>
                  <a:lnTo>
                    <a:pt x="55183" y="127921"/>
                  </a:lnTo>
                  <a:lnTo>
                    <a:pt x="27638" y="124466"/>
                  </a:lnTo>
                  <a:lnTo>
                    <a:pt x="13819" y="103738"/>
                  </a:lnTo>
                  <a:lnTo>
                    <a:pt x="3455" y="89918"/>
                  </a:lnTo>
                  <a:lnTo>
                    <a:pt x="0" y="76099"/>
                  </a:lnTo>
                  <a:lnTo>
                    <a:pt x="24183" y="51915"/>
                  </a:lnTo>
                  <a:lnTo>
                    <a:pt x="41458" y="27732"/>
                  </a:lnTo>
                  <a:lnTo>
                    <a:pt x="55183" y="17367"/>
                  </a:lnTo>
                  <a:close/>
                </a:path>
              </a:pathLst>
            </a:custGeom>
            <a:solidFill>
              <a:srgbClr val="CEE3BF"/>
            </a:solidFill>
            <a:ln w="9334" cap="flat">
              <a:noFill/>
              <a:prstDash val="solid"/>
              <a:miter/>
            </a:ln>
          </p:spPr>
          <p:txBody>
            <a:bodyPr rtlCol="0" anchor="ctr"/>
            <a:lstStyle/>
            <a:p>
              <a:endParaRPr lang="en-GB" dirty="0"/>
            </a:p>
          </p:txBody>
        </p:sp>
        <p:sp>
          <p:nvSpPr>
            <p:cNvPr id="1168" name="Freeform: Shape 1167">
              <a:extLst>
                <a:ext uri="{FF2B5EF4-FFF2-40B4-BE49-F238E27FC236}">
                  <a16:creationId xmlns:a16="http://schemas.microsoft.com/office/drawing/2014/main" id="{9EF9C575-EB53-47A9-94FE-87EE519D907C}"/>
                </a:ext>
              </a:extLst>
            </p:cNvPr>
            <p:cNvSpPr/>
            <p:nvPr/>
          </p:nvSpPr>
          <p:spPr>
            <a:xfrm>
              <a:off x="6449534" y="3226453"/>
              <a:ext cx="169098" cy="96828"/>
            </a:xfrm>
            <a:custGeom>
              <a:avLst/>
              <a:gdLst>
                <a:gd name="connsiteX0" fmla="*/ 30999 w 169098"/>
                <a:gd name="connsiteY0" fmla="*/ 13819 h 96828"/>
                <a:gd name="connsiteX1" fmla="*/ 79367 w 169098"/>
                <a:gd name="connsiteY1" fmla="*/ 13819 h 96828"/>
                <a:gd name="connsiteX2" fmla="*/ 100096 w 169098"/>
                <a:gd name="connsiteY2" fmla="*/ 13819 h 96828"/>
                <a:gd name="connsiteX3" fmla="*/ 113915 w 169098"/>
                <a:gd name="connsiteY3" fmla="*/ 0 h 96828"/>
                <a:gd name="connsiteX4" fmla="*/ 138099 w 169098"/>
                <a:gd name="connsiteY4" fmla="*/ 6910 h 96828"/>
                <a:gd name="connsiteX5" fmla="*/ 158734 w 169098"/>
                <a:gd name="connsiteY5" fmla="*/ 17274 h 96828"/>
                <a:gd name="connsiteX6" fmla="*/ 169099 w 169098"/>
                <a:gd name="connsiteY6" fmla="*/ 17274 h 96828"/>
                <a:gd name="connsiteX7" fmla="*/ 169099 w 169098"/>
                <a:gd name="connsiteY7" fmla="*/ 24184 h 96828"/>
                <a:gd name="connsiteX8" fmla="*/ 155280 w 169098"/>
                <a:gd name="connsiteY8" fmla="*/ 27732 h 96828"/>
                <a:gd name="connsiteX9" fmla="*/ 155280 w 169098"/>
                <a:gd name="connsiteY9" fmla="*/ 48461 h 96828"/>
                <a:gd name="connsiteX10" fmla="*/ 141460 w 169098"/>
                <a:gd name="connsiteY10" fmla="*/ 62280 h 96828"/>
                <a:gd name="connsiteX11" fmla="*/ 144915 w 169098"/>
                <a:gd name="connsiteY11" fmla="*/ 65735 h 96828"/>
                <a:gd name="connsiteX12" fmla="*/ 158734 w 169098"/>
                <a:gd name="connsiteY12" fmla="*/ 72644 h 96828"/>
                <a:gd name="connsiteX13" fmla="*/ 155280 w 169098"/>
                <a:gd name="connsiteY13" fmla="*/ 79554 h 96828"/>
                <a:gd name="connsiteX14" fmla="*/ 138099 w 169098"/>
                <a:gd name="connsiteY14" fmla="*/ 76099 h 96828"/>
                <a:gd name="connsiteX15" fmla="*/ 124280 w 169098"/>
                <a:gd name="connsiteY15" fmla="*/ 72644 h 96828"/>
                <a:gd name="connsiteX16" fmla="*/ 110460 w 169098"/>
                <a:gd name="connsiteY16" fmla="*/ 79554 h 96828"/>
                <a:gd name="connsiteX17" fmla="*/ 103551 w 169098"/>
                <a:gd name="connsiteY17" fmla="*/ 89918 h 96828"/>
                <a:gd name="connsiteX18" fmla="*/ 103551 w 169098"/>
                <a:gd name="connsiteY18" fmla="*/ 96828 h 96828"/>
                <a:gd name="connsiteX19" fmla="*/ 89732 w 169098"/>
                <a:gd name="connsiteY19" fmla="*/ 96828 h 96828"/>
                <a:gd name="connsiteX20" fmla="*/ 69002 w 169098"/>
                <a:gd name="connsiteY20" fmla="*/ 96828 h 96828"/>
                <a:gd name="connsiteX21" fmla="*/ 51729 w 169098"/>
                <a:gd name="connsiteY21" fmla="*/ 89918 h 96828"/>
                <a:gd name="connsiteX22" fmla="*/ 41364 w 169098"/>
                <a:gd name="connsiteY22" fmla="*/ 89918 h 96828"/>
                <a:gd name="connsiteX23" fmla="*/ 24090 w 169098"/>
                <a:gd name="connsiteY23" fmla="*/ 93373 h 96828"/>
                <a:gd name="connsiteX24" fmla="*/ 20635 w 169098"/>
                <a:gd name="connsiteY24" fmla="*/ 83009 h 96828"/>
                <a:gd name="connsiteX25" fmla="*/ 10271 w 169098"/>
                <a:gd name="connsiteY25" fmla="*/ 72644 h 96828"/>
                <a:gd name="connsiteX26" fmla="*/ 6816 w 169098"/>
                <a:gd name="connsiteY26" fmla="*/ 58825 h 96828"/>
                <a:gd name="connsiteX27" fmla="*/ 17180 w 169098"/>
                <a:gd name="connsiteY27" fmla="*/ 38096 h 96828"/>
                <a:gd name="connsiteX28" fmla="*/ 6816 w 169098"/>
                <a:gd name="connsiteY28" fmla="*/ 24184 h 96828"/>
                <a:gd name="connsiteX29" fmla="*/ 0 w 169098"/>
                <a:gd name="connsiteY29" fmla="*/ 13819 h 96828"/>
                <a:gd name="connsiteX30" fmla="*/ 10271 w 169098"/>
                <a:gd name="connsiteY30" fmla="*/ 6910 h 96828"/>
                <a:gd name="connsiteX31" fmla="*/ 30999 w 169098"/>
                <a:gd name="connsiteY31" fmla="*/ 13819 h 9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9098" h="96828">
                  <a:moveTo>
                    <a:pt x="30999" y="13819"/>
                  </a:moveTo>
                  <a:lnTo>
                    <a:pt x="79367" y="13819"/>
                  </a:lnTo>
                  <a:lnTo>
                    <a:pt x="100096" y="13819"/>
                  </a:lnTo>
                  <a:lnTo>
                    <a:pt x="113915" y="0"/>
                  </a:lnTo>
                  <a:lnTo>
                    <a:pt x="138099" y="6910"/>
                  </a:lnTo>
                  <a:lnTo>
                    <a:pt x="158734" y="17274"/>
                  </a:lnTo>
                  <a:lnTo>
                    <a:pt x="169099" y="17274"/>
                  </a:lnTo>
                  <a:lnTo>
                    <a:pt x="169099" y="24184"/>
                  </a:lnTo>
                  <a:lnTo>
                    <a:pt x="155280" y="27732"/>
                  </a:lnTo>
                  <a:lnTo>
                    <a:pt x="155280" y="48461"/>
                  </a:lnTo>
                  <a:lnTo>
                    <a:pt x="141460" y="62280"/>
                  </a:lnTo>
                  <a:lnTo>
                    <a:pt x="144915" y="65735"/>
                  </a:lnTo>
                  <a:lnTo>
                    <a:pt x="158734" y="72644"/>
                  </a:lnTo>
                  <a:lnTo>
                    <a:pt x="155280" y="79554"/>
                  </a:lnTo>
                  <a:lnTo>
                    <a:pt x="138099" y="76099"/>
                  </a:lnTo>
                  <a:lnTo>
                    <a:pt x="124280" y="72644"/>
                  </a:lnTo>
                  <a:lnTo>
                    <a:pt x="110460" y="79554"/>
                  </a:lnTo>
                  <a:lnTo>
                    <a:pt x="103551" y="89918"/>
                  </a:lnTo>
                  <a:lnTo>
                    <a:pt x="103551" y="96828"/>
                  </a:lnTo>
                  <a:lnTo>
                    <a:pt x="89732" y="96828"/>
                  </a:lnTo>
                  <a:lnTo>
                    <a:pt x="69002" y="96828"/>
                  </a:lnTo>
                  <a:lnTo>
                    <a:pt x="51729" y="89918"/>
                  </a:lnTo>
                  <a:lnTo>
                    <a:pt x="41364" y="89918"/>
                  </a:lnTo>
                  <a:lnTo>
                    <a:pt x="24090" y="93373"/>
                  </a:lnTo>
                  <a:lnTo>
                    <a:pt x="20635" y="83009"/>
                  </a:lnTo>
                  <a:lnTo>
                    <a:pt x="10271" y="72644"/>
                  </a:lnTo>
                  <a:lnTo>
                    <a:pt x="6816" y="58825"/>
                  </a:lnTo>
                  <a:lnTo>
                    <a:pt x="17180" y="38096"/>
                  </a:lnTo>
                  <a:lnTo>
                    <a:pt x="6816" y="24184"/>
                  </a:lnTo>
                  <a:lnTo>
                    <a:pt x="0" y="13819"/>
                  </a:lnTo>
                  <a:lnTo>
                    <a:pt x="10271" y="6910"/>
                  </a:lnTo>
                  <a:lnTo>
                    <a:pt x="30999" y="13819"/>
                  </a:lnTo>
                  <a:close/>
                </a:path>
              </a:pathLst>
            </a:custGeom>
            <a:solidFill>
              <a:srgbClr val="CEE3BF"/>
            </a:solidFill>
            <a:ln w="9334" cap="flat">
              <a:noFill/>
              <a:prstDash val="solid"/>
              <a:miter/>
            </a:ln>
          </p:spPr>
          <p:txBody>
            <a:bodyPr rtlCol="0" anchor="ctr"/>
            <a:lstStyle/>
            <a:p>
              <a:endParaRPr lang="en-GB" dirty="0"/>
            </a:p>
          </p:txBody>
        </p:sp>
        <p:sp>
          <p:nvSpPr>
            <p:cNvPr id="1169" name="Freeform: Shape 1168">
              <a:extLst>
                <a:ext uri="{FF2B5EF4-FFF2-40B4-BE49-F238E27FC236}">
                  <a16:creationId xmlns:a16="http://schemas.microsoft.com/office/drawing/2014/main" id="{84B01861-441F-4BCF-BB90-A16AFC649226}"/>
                </a:ext>
              </a:extLst>
            </p:cNvPr>
            <p:cNvSpPr/>
            <p:nvPr/>
          </p:nvSpPr>
          <p:spPr>
            <a:xfrm>
              <a:off x="6553085" y="3299097"/>
              <a:ext cx="72457" cy="51822"/>
            </a:xfrm>
            <a:custGeom>
              <a:avLst/>
              <a:gdLst>
                <a:gd name="connsiteX0" fmla="*/ 0 w 72457"/>
                <a:gd name="connsiteY0" fmla="*/ 24184 h 51822"/>
                <a:gd name="connsiteX1" fmla="*/ 0 w 72457"/>
                <a:gd name="connsiteY1" fmla="*/ 34548 h 51822"/>
                <a:gd name="connsiteX2" fmla="*/ 3455 w 72457"/>
                <a:gd name="connsiteY2" fmla="*/ 44913 h 51822"/>
                <a:gd name="connsiteX3" fmla="*/ 17274 w 72457"/>
                <a:gd name="connsiteY3" fmla="*/ 44913 h 51822"/>
                <a:gd name="connsiteX4" fmla="*/ 6910 w 72457"/>
                <a:gd name="connsiteY4" fmla="*/ 51822 h 51822"/>
                <a:gd name="connsiteX5" fmla="*/ 24184 w 72457"/>
                <a:gd name="connsiteY5" fmla="*/ 48367 h 51822"/>
                <a:gd name="connsiteX6" fmla="*/ 44819 w 72457"/>
                <a:gd name="connsiteY6" fmla="*/ 34548 h 51822"/>
                <a:gd name="connsiteX7" fmla="*/ 58639 w 72457"/>
                <a:gd name="connsiteY7" fmla="*/ 27639 h 51822"/>
                <a:gd name="connsiteX8" fmla="*/ 72458 w 72457"/>
                <a:gd name="connsiteY8" fmla="*/ 31093 h 51822"/>
                <a:gd name="connsiteX9" fmla="*/ 65548 w 72457"/>
                <a:gd name="connsiteY9" fmla="*/ 24184 h 51822"/>
                <a:gd name="connsiteX10" fmla="*/ 55184 w 72457"/>
                <a:gd name="connsiteY10" fmla="*/ 17274 h 51822"/>
                <a:gd name="connsiteX11" fmla="*/ 51729 w 72457"/>
                <a:gd name="connsiteY11" fmla="*/ 6910 h 51822"/>
                <a:gd name="connsiteX12" fmla="*/ 37909 w 72457"/>
                <a:gd name="connsiteY12" fmla="*/ 6910 h 51822"/>
                <a:gd name="connsiteX13" fmla="*/ 20729 w 72457"/>
                <a:gd name="connsiteY13" fmla="*/ 0 h 51822"/>
                <a:gd name="connsiteX14" fmla="*/ 6910 w 72457"/>
                <a:gd name="connsiteY14" fmla="*/ 6910 h 51822"/>
                <a:gd name="connsiteX15" fmla="*/ 0 w 72457"/>
                <a:gd name="connsiteY15" fmla="*/ 17274 h 51822"/>
                <a:gd name="connsiteX16" fmla="*/ 0 w 72457"/>
                <a:gd name="connsiteY16" fmla="*/ 24184 h 5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457" h="51822">
                  <a:moveTo>
                    <a:pt x="0" y="24184"/>
                  </a:moveTo>
                  <a:lnTo>
                    <a:pt x="0" y="34548"/>
                  </a:lnTo>
                  <a:lnTo>
                    <a:pt x="3455" y="44913"/>
                  </a:lnTo>
                  <a:lnTo>
                    <a:pt x="17274" y="44913"/>
                  </a:lnTo>
                  <a:lnTo>
                    <a:pt x="6910" y="51822"/>
                  </a:lnTo>
                  <a:lnTo>
                    <a:pt x="24184" y="48367"/>
                  </a:lnTo>
                  <a:lnTo>
                    <a:pt x="44819" y="34548"/>
                  </a:lnTo>
                  <a:lnTo>
                    <a:pt x="58639" y="27639"/>
                  </a:lnTo>
                  <a:lnTo>
                    <a:pt x="72458" y="31093"/>
                  </a:lnTo>
                  <a:lnTo>
                    <a:pt x="65548" y="24184"/>
                  </a:lnTo>
                  <a:lnTo>
                    <a:pt x="55184" y="17274"/>
                  </a:lnTo>
                  <a:lnTo>
                    <a:pt x="51729" y="6910"/>
                  </a:lnTo>
                  <a:lnTo>
                    <a:pt x="37909" y="6910"/>
                  </a:lnTo>
                  <a:lnTo>
                    <a:pt x="20729" y="0"/>
                  </a:lnTo>
                  <a:lnTo>
                    <a:pt x="6910" y="6910"/>
                  </a:lnTo>
                  <a:lnTo>
                    <a:pt x="0" y="17274"/>
                  </a:lnTo>
                  <a:lnTo>
                    <a:pt x="0" y="24184"/>
                  </a:lnTo>
                  <a:close/>
                </a:path>
              </a:pathLst>
            </a:custGeom>
            <a:solidFill>
              <a:srgbClr val="CEE3BF"/>
            </a:solidFill>
            <a:ln w="9334" cap="flat">
              <a:noFill/>
              <a:prstDash val="solid"/>
              <a:miter/>
            </a:ln>
          </p:spPr>
          <p:txBody>
            <a:bodyPr rtlCol="0" anchor="ctr"/>
            <a:lstStyle/>
            <a:p>
              <a:endParaRPr lang="en-GB" dirty="0"/>
            </a:p>
          </p:txBody>
        </p:sp>
        <p:sp>
          <p:nvSpPr>
            <p:cNvPr id="1170" name="Freeform: Shape 1169">
              <a:extLst>
                <a:ext uri="{FF2B5EF4-FFF2-40B4-BE49-F238E27FC236}">
                  <a16:creationId xmlns:a16="http://schemas.microsoft.com/office/drawing/2014/main" id="{E7B87C43-A114-4397-AFFE-90819831A5B1}"/>
                </a:ext>
              </a:extLst>
            </p:cNvPr>
            <p:cNvSpPr/>
            <p:nvPr/>
          </p:nvSpPr>
          <p:spPr>
            <a:xfrm>
              <a:off x="6553085" y="3299097"/>
              <a:ext cx="72457" cy="51822"/>
            </a:xfrm>
            <a:custGeom>
              <a:avLst/>
              <a:gdLst>
                <a:gd name="connsiteX0" fmla="*/ 0 w 72457"/>
                <a:gd name="connsiteY0" fmla="*/ 24184 h 51822"/>
                <a:gd name="connsiteX1" fmla="*/ 0 w 72457"/>
                <a:gd name="connsiteY1" fmla="*/ 34548 h 51822"/>
                <a:gd name="connsiteX2" fmla="*/ 3455 w 72457"/>
                <a:gd name="connsiteY2" fmla="*/ 44913 h 51822"/>
                <a:gd name="connsiteX3" fmla="*/ 17274 w 72457"/>
                <a:gd name="connsiteY3" fmla="*/ 44913 h 51822"/>
                <a:gd name="connsiteX4" fmla="*/ 6910 w 72457"/>
                <a:gd name="connsiteY4" fmla="*/ 51822 h 51822"/>
                <a:gd name="connsiteX5" fmla="*/ 24184 w 72457"/>
                <a:gd name="connsiteY5" fmla="*/ 48367 h 51822"/>
                <a:gd name="connsiteX6" fmla="*/ 44819 w 72457"/>
                <a:gd name="connsiteY6" fmla="*/ 34548 h 51822"/>
                <a:gd name="connsiteX7" fmla="*/ 58639 w 72457"/>
                <a:gd name="connsiteY7" fmla="*/ 27639 h 51822"/>
                <a:gd name="connsiteX8" fmla="*/ 72458 w 72457"/>
                <a:gd name="connsiteY8" fmla="*/ 31093 h 51822"/>
                <a:gd name="connsiteX9" fmla="*/ 65548 w 72457"/>
                <a:gd name="connsiteY9" fmla="*/ 24184 h 51822"/>
                <a:gd name="connsiteX10" fmla="*/ 55184 w 72457"/>
                <a:gd name="connsiteY10" fmla="*/ 17274 h 51822"/>
                <a:gd name="connsiteX11" fmla="*/ 51729 w 72457"/>
                <a:gd name="connsiteY11" fmla="*/ 6910 h 51822"/>
                <a:gd name="connsiteX12" fmla="*/ 37909 w 72457"/>
                <a:gd name="connsiteY12" fmla="*/ 6910 h 51822"/>
                <a:gd name="connsiteX13" fmla="*/ 20729 w 72457"/>
                <a:gd name="connsiteY13" fmla="*/ 0 h 51822"/>
                <a:gd name="connsiteX14" fmla="*/ 6910 w 72457"/>
                <a:gd name="connsiteY14" fmla="*/ 6910 h 51822"/>
                <a:gd name="connsiteX15" fmla="*/ 0 w 72457"/>
                <a:gd name="connsiteY15" fmla="*/ 17274 h 51822"/>
                <a:gd name="connsiteX16" fmla="*/ 0 w 72457"/>
                <a:gd name="connsiteY16" fmla="*/ 24184 h 5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457" h="51822">
                  <a:moveTo>
                    <a:pt x="0" y="24184"/>
                  </a:moveTo>
                  <a:lnTo>
                    <a:pt x="0" y="34548"/>
                  </a:lnTo>
                  <a:lnTo>
                    <a:pt x="3455" y="44913"/>
                  </a:lnTo>
                  <a:lnTo>
                    <a:pt x="17274" y="44913"/>
                  </a:lnTo>
                  <a:lnTo>
                    <a:pt x="6910" y="51822"/>
                  </a:lnTo>
                  <a:lnTo>
                    <a:pt x="24184" y="48367"/>
                  </a:lnTo>
                  <a:lnTo>
                    <a:pt x="44819" y="34548"/>
                  </a:lnTo>
                  <a:lnTo>
                    <a:pt x="58639" y="27639"/>
                  </a:lnTo>
                  <a:lnTo>
                    <a:pt x="72458" y="31093"/>
                  </a:lnTo>
                  <a:lnTo>
                    <a:pt x="65548" y="24184"/>
                  </a:lnTo>
                  <a:lnTo>
                    <a:pt x="55184" y="17274"/>
                  </a:lnTo>
                  <a:lnTo>
                    <a:pt x="51729" y="6910"/>
                  </a:lnTo>
                  <a:lnTo>
                    <a:pt x="37909" y="6910"/>
                  </a:lnTo>
                  <a:lnTo>
                    <a:pt x="20729" y="0"/>
                  </a:lnTo>
                  <a:lnTo>
                    <a:pt x="6910" y="6910"/>
                  </a:lnTo>
                  <a:lnTo>
                    <a:pt x="0" y="17274"/>
                  </a:lnTo>
                  <a:lnTo>
                    <a:pt x="0" y="24184"/>
                  </a:lnTo>
                  <a:close/>
                </a:path>
              </a:pathLst>
            </a:custGeom>
            <a:solidFill>
              <a:srgbClr val="CEE3BF"/>
            </a:solidFill>
            <a:ln w="9334" cap="flat">
              <a:noFill/>
              <a:prstDash val="solid"/>
              <a:miter/>
            </a:ln>
          </p:spPr>
          <p:txBody>
            <a:bodyPr rtlCol="0" anchor="ctr"/>
            <a:lstStyle/>
            <a:p>
              <a:endParaRPr lang="en-GB" dirty="0"/>
            </a:p>
          </p:txBody>
        </p:sp>
        <p:sp>
          <p:nvSpPr>
            <p:cNvPr id="1171" name="Freeform: Shape 1170">
              <a:extLst>
                <a:ext uri="{FF2B5EF4-FFF2-40B4-BE49-F238E27FC236}">
                  <a16:creationId xmlns:a16="http://schemas.microsoft.com/office/drawing/2014/main" id="{7CCFEA83-DF3F-4EE5-86CC-B8AE1B8FE93F}"/>
                </a:ext>
              </a:extLst>
            </p:cNvPr>
            <p:cNvSpPr/>
            <p:nvPr/>
          </p:nvSpPr>
          <p:spPr>
            <a:xfrm>
              <a:off x="6483989" y="3509934"/>
              <a:ext cx="76005" cy="17274"/>
            </a:xfrm>
            <a:custGeom>
              <a:avLst/>
              <a:gdLst>
                <a:gd name="connsiteX0" fmla="*/ 6910 w 76005"/>
                <a:gd name="connsiteY0" fmla="*/ 0 h 17274"/>
                <a:gd name="connsiteX1" fmla="*/ 17274 w 76005"/>
                <a:gd name="connsiteY1" fmla="*/ 0 h 17274"/>
                <a:gd name="connsiteX2" fmla="*/ 27638 w 76005"/>
                <a:gd name="connsiteY2" fmla="*/ 3455 h 17274"/>
                <a:gd name="connsiteX3" fmla="*/ 38002 w 76005"/>
                <a:gd name="connsiteY3" fmla="*/ 3455 h 17274"/>
                <a:gd name="connsiteX4" fmla="*/ 51822 w 76005"/>
                <a:gd name="connsiteY4" fmla="*/ 3455 h 17274"/>
                <a:gd name="connsiteX5" fmla="*/ 58732 w 76005"/>
                <a:gd name="connsiteY5" fmla="*/ 3455 h 17274"/>
                <a:gd name="connsiteX6" fmla="*/ 72551 w 76005"/>
                <a:gd name="connsiteY6" fmla="*/ 6910 h 17274"/>
                <a:gd name="connsiteX7" fmla="*/ 76005 w 76005"/>
                <a:gd name="connsiteY7" fmla="*/ 13819 h 17274"/>
                <a:gd name="connsiteX8" fmla="*/ 69096 w 76005"/>
                <a:gd name="connsiteY8" fmla="*/ 17274 h 17274"/>
                <a:gd name="connsiteX9" fmla="*/ 55277 w 76005"/>
                <a:gd name="connsiteY9" fmla="*/ 13819 h 17274"/>
                <a:gd name="connsiteX10" fmla="*/ 41458 w 76005"/>
                <a:gd name="connsiteY10" fmla="*/ 13819 h 17274"/>
                <a:gd name="connsiteX11" fmla="*/ 31093 w 76005"/>
                <a:gd name="connsiteY11" fmla="*/ 17274 h 17274"/>
                <a:gd name="connsiteX12" fmla="*/ 27638 w 76005"/>
                <a:gd name="connsiteY12" fmla="*/ 10364 h 17274"/>
                <a:gd name="connsiteX13" fmla="*/ 13819 w 76005"/>
                <a:gd name="connsiteY13" fmla="*/ 10364 h 17274"/>
                <a:gd name="connsiteX14" fmla="*/ 0 w 76005"/>
                <a:gd name="connsiteY14" fmla="*/ 6910 h 17274"/>
                <a:gd name="connsiteX15" fmla="*/ 6910 w 76005"/>
                <a:gd name="connsiteY15" fmla="*/ 0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005" h="17274">
                  <a:moveTo>
                    <a:pt x="6910" y="0"/>
                  </a:moveTo>
                  <a:lnTo>
                    <a:pt x="17274" y="0"/>
                  </a:lnTo>
                  <a:lnTo>
                    <a:pt x="27638" y="3455"/>
                  </a:lnTo>
                  <a:lnTo>
                    <a:pt x="38002" y="3455"/>
                  </a:lnTo>
                  <a:lnTo>
                    <a:pt x="51822" y="3455"/>
                  </a:lnTo>
                  <a:lnTo>
                    <a:pt x="58732" y="3455"/>
                  </a:lnTo>
                  <a:lnTo>
                    <a:pt x="72551" y="6910"/>
                  </a:lnTo>
                  <a:lnTo>
                    <a:pt x="76005" y="13819"/>
                  </a:lnTo>
                  <a:lnTo>
                    <a:pt x="69096" y="17274"/>
                  </a:lnTo>
                  <a:lnTo>
                    <a:pt x="55277" y="13819"/>
                  </a:lnTo>
                  <a:lnTo>
                    <a:pt x="41458" y="13819"/>
                  </a:lnTo>
                  <a:lnTo>
                    <a:pt x="31093" y="17274"/>
                  </a:lnTo>
                  <a:lnTo>
                    <a:pt x="27638" y="10364"/>
                  </a:lnTo>
                  <a:lnTo>
                    <a:pt x="13819" y="10364"/>
                  </a:lnTo>
                  <a:lnTo>
                    <a:pt x="0" y="6910"/>
                  </a:lnTo>
                  <a:lnTo>
                    <a:pt x="6910" y="0"/>
                  </a:lnTo>
                  <a:close/>
                </a:path>
              </a:pathLst>
            </a:custGeom>
            <a:solidFill>
              <a:srgbClr val="CEE3BF"/>
            </a:solidFill>
            <a:ln w="9334" cap="flat">
              <a:noFill/>
              <a:prstDash val="solid"/>
              <a:miter/>
            </a:ln>
          </p:spPr>
          <p:txBody>
            <a:bodyPr rtlCol="0" anchor="ctr"/>
            <a:lstStyle/>
            <a:p>
              <a:endParaRPr lang="en-GB" dirty="0"/>
            </a:p>
          </p:txBody>
        </p:sp>
        <p:sp>
          <p:nvSpPr>
            <p:cNvPr id="1172" name="Freeform: Shape 1171">
              <a:extLst>
                <a:ext uri="{FF2B5EF4-FFF2-40B4-BE49-F238E27FC236}">
                  <a16:creationId xmlns:a16="http://schemas.microsoft.com/office/drawing/2014/main" id="{6E23E979-6C8C-44A9-8563-66F6337B1B9A}"/>
                </a:ext>
              </a:extLst>
            </p:cNvPr>
            <p:cNvSpPr/>
            <p:nvPr/>
          </p:nvSpPr>
          <p:spPr>
            <a:xfrm>
              <a:off x="6483989" y="3509934"/>
              <a:ext cx="76005" cy="17274"/>
            </a:xfrm>
            <a:custGeom>
              <a:avLst/>
              <a:gdLst>
                <a:gd name="connsiteX0" fmla="*/ 6910 w 76005"/>
                <a:gd name="connsiteY0" fmla="*/ 0 h 17274"/>
                <a:gd name="connsiteX1" fmla="*/ 17274 w 76005"/>
                <a:gd name="connsiteY1" fmla="*/ 0 h 17274"/>
                <a:gd name="connsiteX2" fmla="*/ 27638 w 76005"/>
                <a:gd name="connsiteY2" fmla="*/ 3455 h 17274"/>
                <a:gd name="connsiteX3" fmla="*/ 38002 w 76005"/>
                <a:gd name="connsiteY3" fmla="*/ 3455 h 17274"/>
                <a:gd name="connsiteX4" fmla="*/ 51822 w 76005"/>
                <a:gd name="connsiteY4" fmla="*/ 3455 h 17274"/>
                <a:gd name="connsiteX5" fmla="*/ 58732 w 76005"/>
                <a:gd name="connsiteY5" fmla="*/ 3455 h 17274"/>
                <a:gd name="connsiteX6" fmla="*/ 72551 w 76005"/>
                <a:gd name="connsiteY6" fmla="*/ 6910 h 17274"/>
                <a:gd name="connsiteX7" fmla="*/ 76005 w 76005"/>
                <a:gd name="connsiteY7" fmla="*/ 13819 h 17274"/>
                <a:gd name="connsiteX8" fmla="*/ 69096 w 76005"/>
                <a:gd name="connsiteY8" fmla="*/ 17274 h 17274"/>
                <a:gd name="connsiteX9" fmla="*/ 55277 w 76005"/>
                <a:gd name="connsiteY9" fmla="*/ 13819 h 17274"/>
                <a:gd name="connsiteX10" fmla="*/ 41458 w 76005"/>
                <a:gd name="connsiteY10" fmla="*/ 13819 h 17274"/>
                <a:gd name="connsiteX11" fmla="*/ 31093 w 76005"/>
                <a:gd name="connsiteY11" fmla="*/ 17274 h 17274"/>
                <a:gd name="connsiteX12" fmla="*/ 27638 w 76005"/>
                <a:gd name="connsiteY12" fmla="*/ 10364 h 17274"/>
                <a:gd name="connsiteX13" fmla="*/ 13819 w 76005"/>
                <a:gd name="connsiteY13" fmla="*/ 10364 h 17274"/>
                <a:gd name="connsiteX14" fmla="*/ 0 w 76005"/>
                <a:gd name="connsiteY14" fmla="*/ 6910 h 17274"/>
                <a:gd name="connsiteX15" fmla="*/ 6910 w 76005"/>
                <a:gd name="connsiteY15" fmla="*/ 0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005" h="17274">
                  <a:moveTo>
                    <a:pt x="6910" y="0"/>
                  </a:moveTo>
                  <a:lnTo>
                    <a:pt x="17274" y="0"/>
                  </a:lnTo>
                  <a:lnTo>
                    <a:pt x="27638" y="3455"/>
                  </a:lnTo>
                  <a:lnTo>
                    <a:pt x="38002" y="3455"/>
                  </a:lnTo>
                  <a:lnTo>
                    <a:pt x="51822" y="3455"/>
                  </a:lnTo>
                  <a:lnTo>
                    <a:pt x="58732" y="3455"/>
                  </a:lnTo>
                  <a:lnTo>
                    <a:pt x="72551" y="6910"/>
                  </a:lnTo>
                  <a:lnTo>
                    <a:pt x="76005" y="13819"/>
                  </a:lnTo>
                  <a:lnTo>
                    <a:pt x="69096" y="17274"/>
                  </a:lnTo>
                  <a:lnTo>
                    <a:pt x="55277" y="13819"/>
                  </a:lnTo>
                  <a:lnTo>
                    <a:pt x="41458" y="13819"/>
                  </a:lnTo>
                  <a:lnTo>
                    <a:pt x="31093" y="17274"/>
                  </a:lnTo>
                  <a:lnTo>
                    <a:pt x="27638" y="10364"/>
                  </a:lnTo>
                  <a:lnTo>
                    <a:pt x="13819" y="10364"/>
                  </a:lnTo>
                  <a:lnTo>
                    <a:pt x="0" y="6910"/>
                  </a:lnTo>
                  <a:lnTo>
                    <a:pt x="6910" y="0"/>
                  </a:lnTo>
                  <a:close/>
                </a:path>
              </a:pathLst>
            </a:custGeom>
            <a:solidFill>
              <a:srgbClr val="CEE3BF"/>
            </a:solidFill>
            <a:ln w="9334" cap="flat">
              <a:noFill/>
              <a:prstDash val="solid"/>
              <a:miter/>
            </a:ln>
          </p:spPr>
          <p:txBody>
            <a:bodyPr rtlCol="0" anchor="ctr"/>
            <a:lstStyle/>
            <a:p>
              <a:endParaRPr lang="en-GB" dirty="0"/>
            </a:p>
          </p:txBody>
        </p:sp>
        <p:sp>
          <p:nvSpPr>
            <p:cNvPr id="1173" name="Freeform: Shape 1172">
              <a:extLst>
                <a:ext uri="{FF2B5EF4-FFF2-40B4-BE49-F238E27FC236}">
                  <a16:creationId xmlns:a16="http://schemas.microsoft.com/office/drawing/2014/main" id="{A86FA0B2-D1AA-42F6-BF44-3A6EA10EB60B}"/>
                </a:ext>
              </a:extLst>
            </p:cNvPr>
            <p:cNvSpPr/>
            <p:nvPr/>
          </p:nvSpPr>
          <p:spPr>
            <a:xfrm>
              <a:off x="6390802" y="3312916"/>
              <a:ext cx="162282" cy="169378"/>
            </a:xfrm>
            <a:custGeom>
              <a:avLst/>
              <a:gdLst>
                <a:gd name="connsiteX0" fmla="*/ 72551 w 162282"/>
                <a:gd name="connsiteY0" fmla="*/ 107099 h 169378"/>
                <a:gd name="connsiteX1" fmla="*/ 79367 w 162282"/>
                <a:gd name="connsiteY1" fmla="*/ 110554 h 169378"/>
                <a:gd name="connsiteX2" fmla="*/ 75912 w 162282"/>
                <a:gd name="connsiteY2" fmla="*/ 117557 h 169378"/>
                <a:gd name="connsiteX3" fmla="*/ 65548 w 162282"/>
                <a:gd name="connsiteY3" fmla="*/ 117557 h 169378"/>
                <a:gd name="connsiteX4" fmla="*/ 51822 w 162282"/>
                <a:gd name="connsiteY4" fmla="*/ 114102 h 169378"/>
                <a:gd name="connsiteX5" fmla="*/ 41458 w 162282"/>
                <a:gd name="connsiteY5" fmla="*/ 114102 h 169378"/>
                <a:gd name="connsiteX6" fmla="*/ 34548 w 162282"/>
                <a:gd name="connsiteY6" fmla="*/ 121012 h 169378"/>
                <a:gd name="connsiteX7" fmla="*/ 34548 w 162282"/>
                <a:gd name="connsiteY7" fmla="*/ 134831 h 169378"/>
                <a:gd name="connsiteX8" fmla="*/ 44912 w 162282"/>
                <a:gd name="connsiteY8" fmla="*/ 141740 h 169378"/>
                <a:gd name="connsiteX9" fmla="*/ 44912 w 162282"/>
                <a:gd name="connsiteY9" fmla="*/ 152105 h 169378"/>
                <a:gd name="connsiteX10" fmla="*/ 48367 w 162282"/>
                <a:gd name="connsiteY10" fmla="*/ 159015 h 169378"/>
                <a:gd name="connsiteX11" fmla="*/ 55277 w 162282"/>
                <a:gd name="connsiteY11" fmla="*/ 148650 h 169378"/>
                <a:gd name="connsiteX12" fmla="*/ 58732 w 162282"/>
                <a:gd name="connsiteY12" fmla="*/ 155560 h 169378"/>
                <a:gd name="connsiteX13" fmla="*/ 62187 w 162282"/>
                <a:gd name="connsiteY13" fmla="*/ 169379 h 169378"/>
                <a:gd name="connsiteX14" fmla="*/ 72551 w 162282"/>
                <a:gd name="connsiteY14" fmla="*/ 165924 h 169378"/>
                <a:gd name="connsiteX15" fmla="*/ 72551 w 162282"/>
                <a:gd name="connsiteY15" fmla="*/ 159015 h 169378"/>
                <a:gd name="connsiteX16" fmla="*/ 79367 w 162282"/>
                <a:gd name="connsiteY16" fmla="*/ 169379 h 169378"/>
                <a:gd name="connsiteX17" fmla="*/ 82822 w 162282"/>
                <a:gd name="connsiteY17" fmla="*/ 162469 h 169378"/>
                <a:gd name="connsiteX18" fmla="*/ 82822 w 162282"/>
                <a:gd name="connsiteY18" fmla="*/ 155560 h 169378"/>
                <a:gd name="connsiteX19" fmla="*/ 75912 w 162282"/>
                <a:gd name="connsiteY19" fmla="*/ 148650 h 169378"/>
                <a:gd name="connsiteX20" fmla="*/ 69003 w 162282"/>
                <a:gd name="connsiteY20" fmla="*/ 138286 h 169378"/>
                <a:gd name="connsiteX21" fmla="*/ 72551 w 162282"/>
                <a:gd name="connsiteY21" fmla="*/ 131376 h 169378"/>
                <a:gd name="connsiteX22" fmla="*/ 79367 w 162282"/>
                <a:gd name="connsiteY22" fmla="*/ 131376 h 169378"/>
                <a:gd name="connsiteX23" fmla="*/ 89732 w 162282"/>
                <a:gd name="connsiteY23" fmla="*/ 127921 h 169378"/>
                <a:gd name="connsiteX24" fmla="*/ 82822 w 162282"/>
                <a:gd name="connsiteY24" fmla="*/ 121012 h 169378"/>
                <a:gd name="connsiteX25" fmla="*/ 82822 w 162282"/>
                <a:gd name="connsiteY25" fmla="*/ 110554 h 169378"/>
                <a:gd name="connsiteX26" fmla="*/ 89732 w 162282"/>
                <a:gd name="connsiteY26" fmla="*/ 117557 h 169378"/>
                <a:gd name="connsiteX27" fmla="*/ 100096 w 162282"/>
                <a:gd name="connsiteY27" fmla="*/ 121012 h 169378"/>
                <a:gd name="connsiteX28" fmla="*/ 110461 w 162282"/>
                <a:gd name="connsiteY28" fmla="*/ 114102 h 169378"/>
                <a:gd name="connsiteX29" fmla="*/ 107006 w 162282"/>
                <a:gd name="connsiteY29" fmla="*/ 103644 h 169378"/>
                <a:gd name="connsiteX30" fmla="*/ 100096 w 162282"/>
                <a:gd name="connsiteY30" fmla="*/ 96735 h 169378"/>
                <a:gd name="connsiteX31" fmla="*/ 86277 w 162282"/>
                <a:gd name="connsiteY31" fmla="*/ 93280 h 169378"/>
                <a:gd name="connsiteX32" fmla="*/ 79367 w 162282"/>
                <a:gd name="connsiteY32" fmla="*/ 86370 h 169378"/>
                <a:gd name="connsiteX33" fmla="*/ 75912 w 162282"/>
                <a:gd name="connsiteY33" fmla="*/ 76006 h 169378"/>
                <a:gd name="connsiteX34" fmla="*/ 75912 w 162282"/>
                <a:gd name="connsiteY34" fmla="*/ 69096 h 169378"/>
                <a:gd name="connsiteX35" fmla="*/ 65548 w 162282"/>
                <a:gd name="connsiteY35" fmla="*/ 55277 h 169378"/>
                <a:gd name="connsiteX36" fmla="*/ 62187 w 162282"/>
                <a:gd name="connsiteY36" fmla="*/ 48367 h 169378"/>
                <a:gd name="connsiteX37" fmla="*/ 65548 w 162282"/>
                <a:gd name="connsiteY37" fmla="*/ 38003 h 169378"/>
                <a:gd name="connsiteX38" fmla="*/ 75912 w 162282"/>
                <a:gd name="connsiteY38" fmla="*/ 34548 h 169378"/>
                <a:gd name="connsiteX39" fmla="*/ 82822 w 162282"/>
                <a:gd name="connsiteY39" fmla="*/ 44912 h 169378"/>
                <a:gd name="connsiteX40" fmla="*/ 96642 w 162282"/>
                <a:gd name="connsiteY40" fmla="*/ 48367 h 169378"/>
                <a:gd name="connsiteX41" fmla="*/ 100096 w 162282"/>
                <a:gd name="connsiteY41" fmla="*/ 44912 h 169378"/>
                <a:gd name="connsiteX42" fmla="*/ 103551 w 162282"/>
                <a:gd name="connsiteY42" fmla="*/ 38003 h 169378"/>
                <a:gd name="connsiteX43" fmla="*/ 100096 w 162282"/>
                <a:gd name="connsiteY43" fmla="*/ 27638 h 169378"/>
                <a:gd name="connsiteX44" fmla="*/ 110461 w 162282"/>
                <a:gd name="connsiteY44" fmla="*/ 27638 h 169378"/>
                <a:gd name="connsiteX45" fmla="*/ 120825 w 162282"/>
                <a:gd name="connsiteY45" fmla="*/ 24184 h 169378"/>
                <a:gd name="connsiteX46" fmla="*/ 134645 w 162282"/>
                <a:gd name="connsiteY46" fmla="*/ 24184 h 169378"/>
                <a:gd name="connsiteX47" fmla="*/ 145009 w 162282"/>
                <a:gd name="connsiteY47" fmla="*/ 24184 h 169378"/>
                <a:gd name="connsiteX48" fmla="*/ 155373 w 162282"/>
                <a:gd name="connsiteY48" fmla="*/ 24184 h 169378"/>
                <a:gd name="connsiteX49" fmla="*/ 162283 w 162282"/>
                <a:gd name="connsiteY49" fmla="*/ 20729 h 169378"/>
                <a:gd name="connsiteX50" fmla="*/ 162283 w 162282"/>
                <a:gd name="connsiteY50" fmla="*/ 10364 h 169378"/>
                <a:gd name="connsiteX51" fmla="*/ 148464 w 162282"/>
                <a:gd name="connsiteY51" fmla="*/ 10364 h 169378"/>
                <a:gd name="connsiteX52" fmla="*/ 127734 w 162282"/>
                <a:gd name="connsiteY52" fmla="*/ 10364 h 169378"/>
                <a:gd name="connsiteX53" fmla="*/ 120825 w 162282"/>
                <a:gd name="connsiteY53" fmla="*/ 6910 h 169378"/>
                <a:gd name="connsiteX54" fmla="*/ 110461 w 162282"/>
                <a:gd name="connsiteY54" fmla="*/ 3455 h 169378"/>
                <a:gd name="connsiteX55" fmla="*/ 100096 w 162282"/>
                <a:gd name="connsiteY55" fmla="*/ 0 h 169378"/>
                <a:gd name="connsiteX56" fmla="*/ 82822 w 162282"/>
                <a:gd name="connsiteY56" fmla="*/ 6910 h 169378"/>
                <a:gd name="connsiteX57" fmla="*/ 69003 w 162282"/>
                <a:gd name="connsiteY57" fmla="*/ 17274 h 169378"/>
                <a:gd name="connsiteX58" fmla="*/ 58732 w 162282"/>
                <a:gd name="connsiteY58" fmla="*/ 17274 h 169378"/>
                <a:gd name="connsiteX59" fmla="*/ 44912 w 162282"/>
                <a:gd name="connsiteY59" fmla="*/ 20729 h 169378"/>
                <a:gd name="connsiteX60" fmla="*/ 31093 w 162282"/>
                <a:gd name="connsiteY60" fmla="*/ 24184 h 169378"/>
                <a:gd name="connsiteX61" fmla="*/ 24184 w 162282"/>
                <a:gd name="connsiteY61" fmla="*/ 27638 h 169378"/>
                <a:gd name="connsiteX62" fmla="*/ 24184 w 162282"/>
                <a:gd name="connsiteY62" fmla="*/ 34548 h 169378"/>
                <a:gd name="connsiteX63" fmla="*/ 17274 w 162282"/>
                <a:gd name="connsiteY63" fmla="*/ 44912 h 169378"/>
                <a:gd name="connsiteX64" fmla="*/ 3455 w 162282"/>
                <a:gd name="connsiteY64" fmla="*/ 58732 h 169378"/>
                <a:gd name="connsiteX65" fmla="*/ 0 w 162282"/>
                <a:gd name="connsiteY65" fmla="*/ 65641 h 169378"/>
                <a:gd name="connsiteX66" fmla="*/ 6910 w 162282"/>
                <a:gd name="connsiteY66" fmla="*/ 72551 h 169378"/>
                <a:gd name="connsiteX67" fmla="*/ 17274 w 162282"/>
                <a:gd name="connsiteY67" fmla="*/ 79461 h 169378"/>
                <a:gd name="connsiteX68" fmla="*/ 27639 w 162282"/>
                <a:gd name="connsiteY68" fmla="*/ 79461 h 169378"/>
                <a:gd name="connsiteX69" fmla="*/ 34548 w 162282"/>
                <a:gd name="connsiteY69" fmla="*/ 82915 h 169378"/>
                <a:gd name="connsiteX70" fmla="*/ 24184 w 162282"/>
                <a:gd name="connsiteY70" fmla="*/ 89825 h 169378"/>
                <a:gd name="connsiteX71" fmla="*/ 24184 w 162282"/>
                <a:gd name="connsiteY71" fmla="*/ 100189 h 169378"/>
                <a:gd name="connsiteX72" fmla="*/ 31093 w 162282"/>
                <a:gd name="connsiteY72" fmla="*/ 103644 h 169378"/>
                <a:gd name="connsiteX73" fmla="*/ 44912 w 162282"/>
                <a:gd name="connsiteY73" fmla="*/ 100189 h 169378"/>
                <a:gd name="connsiteX74" fmla="*/ 55277 w 162282"/>
                <a:gd name="connsiteY74" fmla="*/ 103644 h 169378"/>
                <a:gd name="connsiteX75" fmla="*/ 72551 w 162282"/>
                <a:gd name="connsiteY75" fmla="*/ 107099 h 16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62282" h="169378">
                  <a:moveTo>
                    <a:pt x="72551" y="107099"/>
                  </a:moveTo>
                  <a:lnTo>
                    <a:pt x="79367" y="110554"/>
                  </a:lnTo>
                  <a:lnTo>
                    <a:pt x="75912" y="117557"/>
                  </a:lnTo>
                  <a:lnTo>
                    <a:pt x="65548" y="117557"/>
                  </a:lnTo>
                  <a:lnTo>
                    <a:pt x="51822" y="114102"/>
                  </a:lnTo>
                  <a:lnTo>
                    <a:pt x="41458" y="114102"/>
                  </a:lnTo>
                  <a:lnTo>
                    <a:pt x="34548" y="121012"/>
                  </a:lnTo>
                  <a:lnTo>
                    <a:pt x="34548" y="134831"/>
                  </a:lnTo>
                  <a:lnTo>
                    <a:pt x="44912" y="141740"/>
                  </a:lnTo>
                  <a:lnTo>
                    <a:pt x="44912" y="152105"/>
                  </a:lnTo>
                  <a:lnTo>
                    <a:pt x="48367" y="159015"/>
                  </a:lnTo>
                  <a:lnTo>
                    <a:pt x="55277" y="148650"/>
                  </a:lnTo>
                  <a:lnTo>
                    <a:pt x="58732" y="155560"/>
                  </a:lnTo>
                  <a:lnTo>
                    <a:pt x="62187" y="169379"/>
                  </a:lnTo>
                  <a:lnTo>
                    <a:pt x="72551" y="165924"/>
                  </a:lnTo>
                  <a:lnTo>
                    <a:pt x="72551" y="159015"/>
                  </a:lnTo>
                  <a:lnTo>
                    <a:pt x="79367" y="169379"/>
                  </a:lnTo>
                  <a:lnTo>
                    <a:pt x="82822" y="162469"/>
                  </a:lnTo>
                  <a:lnTo>
                    <a:pt x="82822" y="155560"/>
                  </a:lnTo>
                  <a:lnTo>
                    <a:pt x="75912" y="148650"/>
                  </a:lnTo>
                  <a:lnTo>
                    <a:pt x="69003" y="138286"/>
                  </a:lnTo>
                  <a:lnTo>
                    <a:pt x="72551" y="131376"/>
                  </a:lnTo>
                  <a:lnTo>
                    <a:pt x="79367" y="131376"/>
                  </a:lnTo>
                  <a:lnTo>
                    <a:pt x="89732" y="127921"/>
                  </a:lnTo>
                  <a:lnTo>
                    <a:pt x="82822" y="121012"/>
                  </a:lnTo>
                  <a:lnTo>
                    <a:pt x="82822" y="110554"/>
                  </a:lnTo>
                  <a:lnTo>
                    <a:pt x="89732" y="117557"/>
                  </a:lnTo>
                  <a:lnTo>
                    <a:pt x="100096" y="121012"/>
                  </a:lnTo>
                  <a:lnTo>
                    <a:pt x="110461" y="114102"/>
                  </a:lnTo>
                  <a:lnTo>
                    <a:pt x="107006" y="103644"/>
                  </a:lnTo>
                  <a:lnTo>
                    <a:pt x="100096" y="96735"/>
                  </a:lnTo>
                  <a:lnTo>
                    <a:pt x="86277" y="93280"/>
                  </a:lnTo>
                  <a:lnTo>
                    <a:pt x="79367" y="86370"/>
                  </a:lnTo>
                  <a:lnTo>
                    <a:pt x="75912" y="76006"/>
                  </a:lnTo>
                  <a:lnTo>
                    <a:pt x="75912" y="69096"/>
                  </a:lnTo>
                  <a:lnTo>
                    <a:pt x="65548" y="55277"/>
                  </a:lnTo>
                  <a:lnTo>
                    <a:pt x="62187" y="48367"/>
                  </a:lnTo>
                  <a:lnTo>
                    <a:pt x="65548" y="38003"/>
                  </a:lnTo>
                  <a:lnTo>
                    <a:pt x="75912" y="34548"/>
                  </a:lnTo>
                  <a:lnTo>
                    <a:pt x="82822" y="44912"/>
                  </a:lnTo>
                  <a:lnTo>
                    <a:pt x="96642" y="48367"/>
                  </a:lnTo>
                  <a:lnTo>
                    <a:pt x="100096" y="44912"/>
                  </a:lnTo>
                  <a:lnTo>
                    <a:pt x="103551" y="38003"/>
                  </a:lnTo>
                  <a:lnTo>
                    <a:pt x="100096" y="27638"/>
                  </a:lnTo>
                  <a:lnTo>
                    <a:pt x="110461" y="27638"/>
                  </a:lnTo>
                  <a:lnTo>
                    <a:pt x="120825" y="24184"/>
                  </a:lnTo>
                  <a:lnTo>
                    <a:pt x="134645" y="24184"/>
                  </a:lnTo>
                  <a:lnTo>
                    <a:pt x="145009" y="24184"/>
                  </a:lnTo>
                  <a:lnTo>
                    <a:pt x="155373" y="24184"/>
                  </a:lnTo>
                  <a:lnTo>
                    <a:pt x="162283" y="20729"/>
                  </a:lnTo>
                  <a:lnTo>
                    <a:pt x="162283" y="10364"/>
                  </a:lnTo>
                  <a:lnTo>
                    <a:pt x="148464" y="10364"/>
                  </a:lnTo>
                  <a:lnTo>
                    <a:pt x="127734" y="10364"/>
                  </a:lnTo>
                  <a:lnTo>
                    <a:pt x="120825" y="6910"/>
                  </a:lnTo>
                  <a:lnTo>
                    <a:pt x="110461" y="3455"/>
                  </a:lnTo>
                  <a:lnTo>
                    <a:pt x="100096" y="0"/>
                  </a:lnTo>
                  <a:lnTo>
                    <a:pt x="82822" y="6910"/>
                  </a:lnTo>
                  <a:lnTo>
                    <a:pt x="69003" y="17274"/>
                  </a:lnTo>
                  <a:lnTo>
                    <a:pt x="58732" y="17274"/>
                  </a:lnTo>
                  <a:lnTo>
                    <a:pt x="44912" y="20729"/>
                  </a:lnTo>
                  <a:lnTo>
                    <a:pt x="31093" y="24184"/>
                  </a:lnTo>
                  <a:lnTo>
                    <a:pt x="24184" y="27638"/>
                  </a:lnTo>
                  <a:lnTo>
                    <a:pt x="24184" y="34548"/>
                  </a:lnTo>
                  <a:lnTo>
                    <a:pt x="17274" y="44912"/>
                  </a:lnTo>
                  <a:lnTo>
                    <a:pt x="3455" y="58732"/>
                  </a:lnTo>
                  <a:lnTo>
                    <a:pt x="0" y="65641"/>
                  </a:lnTo>
                  <a:lnTo>
                    <a:pt x="6910" y="72551"/>
                  </a:lnTo>
                  <a:lnTo>
                    <a:pt x="17274" y="79461"/>
                  </a:lnTo>
                  <a:lnTo>
                    <a:pt x="27639" y="79461"/>
                  </a:lnTo>
                  <a:lnTo>
                    <a:pt x="34548" y="82915"/>
                  </a:lnTo>
                  <a:lnTo>
                    <a:pt x="24184" y="89825"/>
                  </a:lnTo>
                  <a:lnTo>
                    <a:pt x="24184" y="100189"/>
                  </a:lnTo>
                  <a:lnTo>
                    <a:pt x="31093" y="103644"/>
                  </a:lnTo>
                  <a:lnTo>
                    <a:pt x="44912" y="100189"/>
                  </a:lnTo>
                  <a:lnTo>
                    <a:pt x="55277" y="103644"/>
                  </a:lnTo>
                  <a:lnTo>
                    <a:pt x="72551" y="107099"/>
                  </a:lnTo>
                  <a:close/>
                </a:path>
              </a:pathLst>
            </a:custGeom>
            <a:solidFill>
              <a:srgbClr val="CEE3BF"/>
            </a:solidFill>
            <a:ln w="9334" cap="flat">
              <a:noFill/>
              <a:prstDash val="solid"/>
              <a:miter/>
            </a:ln>
          </p:spPr>
          <p:txBody>
            <a:bodyPr rtlCol="0" anchor="ctr"/>
            <a:lstStyle/>
            <a:p>
              <a:endParaRPr lang="en-GB" dirty="0"/>
            </a:p>
          </p:txBody>
        </p:sp>
        <p:sp>
          <p:nvSpPr>
            <p:cNvPr id="1174" name="Freeform: Shape 1173">
              <a:extLst>
                <a:ext uri="{FF2B5EF4-FFF2-40B4-BE49-F238E27FC236}">
                  <a16:creationId xmlns:a16="http://schemas.microsoft.com/office/drawing/2014/main" id="{4FB8B2BF-1D1D-432C-B5E4-5985DFC49E41}"/>
                </a:ext>
              </a:extLst>
            </p:cNvPr>
            <p:cNvSpPr/>
            <p:nvPr/>
          </p:nvSpPr>
          <p:spPr>
            <a:xfrm>
              <a:off x="6370073" y="3281823"/>
              <a:ext cx="44912" cy="96734"/>
            </a:xfrm>
            <a:custGeom>
              <a:avLst/>
              <a:gdLst>
                <a:gd name="connsiteX0" fmla="*/ 0 w 44912"/>
                <a:gd name="connsiteY0" fmla="*/ 20729 h 96734"/>
                <a:gd name="connsiteX1" fmla="*/ 3455 w 44912"/>
                <a:gd name="connsiteY1" fmla="*/ 6910 h 96734"/>
                <a:gd name="connsiteX2" fmla="*/ 10364 w 44912"/>
                <a:gd name="connsiteY2" fmla="*/ 0 h 96734"/>
                <a:gd name="connsiteX3" fmla="*/ 24183 w 44912"/>
                <a:gd name="connsiteY3" fmla="*/ 3455 h 96734"/>
                <a:gd name="connsiteX4" fmla="*/ 38003 w 44912"/>
                <a:gd name="connsiteY4" fmla="*/ 13819 h 96734"/>
                <a:gd name="connsiteX5" fmla="*/ 34548 w 44912"/>
                <a:gd name="connsiteY5" fmla="*/ 27638 h 96734"/>
                <a:gd name="connsiteX6" fmla="*/ 34548 w 44912"/>
                <a:gd name="connsiteY6" fmla="*/ 38003 h 96734"/>
                <a:gd name="connsiteX7" fmla="*/ 41458 w 44912"/>
                <a:gd name="connsiteY7" fmla="*/ 51822 h 96734"/>
                <a:gd name="connsiteX8" fmla="*/ 44912 w 44912"/>
                <a:gd name="connsiteY8" fmla="*/ 58732 h 96734"/>
                <a:gd name="connsiteX9" fmla="*/ 44912 w 44912"/>
                <a:gd name="connsiteY9" fmla="*/ 65641 h 96734"/>
                <a:gd name="connsiteX10" fmla="*/ 38003 w 44912"/>
                <a:gd name="connsiteY10" fmla="*/ 76006 h 96734"/>
                <a:gd name="connsiteX11" fmla="*/ 20729 w 44912"/>
                <a:gd name="connsiteY11" fmla="*/ 96735 h 96734"/>
                <a:gd name="connsiteX12" fmla="*/ 3455 w 44912"/>
                <a:gd name="connsiteY12" fmla="*/ 69096 h 96734"/>
                <a:gd name="connsiteX13" fmla="*/ 6910 w 44912"/>
                <a:gd name="connsiteY13" fmla="*/ 48367 h 96734"/>
                <a:gd name="connsiteX14" fmla="*/ 3455 w 44912"/>
                <a:gd name="connsiteY14" fmla="*/ 31093 h 96734"/>
                <a:gd name="connsiteX15" fmla="*/ 0 w 44912"/>
                <a:gd name="connsiteY15" fmla="*/ 20729 h 9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912" h="96734">
                  <a:moveTo>
                    <a:pt x="0" y="20729"/>
                  </a:moveTo>
                  <a:lnTo>
                    <a:pt x="3455" y="6910"/>
                  </a:lnTo>
                  <a:lnTo>
                    <a:pt x="10364" y="0"/>
                  </a:lnTo>
                  <a:lnTo>
                    <a:pt x="24183" y="3455"/>
                  </a:lnTo>
                  <a:lnTo>
                    <a:pt x="38003" y="13819"/>
                  </a:lnTo>
                  <a:lnTo>
                    <a:pt x="34548" y="27638"/>
                  </a:lnTo>
                  <a:lnTo>
                    <a:pt x="34548" y="38003"/>
                  </a:lnTo>
                  <a:lnTo>
                    <a:pt x="41458" y="51822"/>
                  </a:lnTo>
                  <a:lnTo>
                    <a:pt x="44912" y="58732"/>
                  </a:lnTo>
                  <a:lnTo>
                    <a:pt x="44912" y="65641"/>
                  </a:lnTo>
                  <a:lnTo>
                    <a:pt x="38003" y="76006"/>
                  </a:lnTo>
                  <a:lnTo>
                    <a:pt x="20729" y="96735"/>
                  </a:lnTo>
                  <a:lnTo>
                    <a:pt x="3455" y="69096"/>
                  </a:lnTo>
                  <a:lnTo>
                    <a:pt x="6910" y="48367"/>
                  </a:lnTo>
                  <a:lnTo>
                    <a:pt x="3455" y="31093"/>
                  </a:lnTo>
                  <a:lnTo>
                    <a:pt x="0" y="20729"/>
                  </a:lnTo>
                  <a:close/>
                </a:path>
              </a:pathLst>
            </a:custGeom>
            <a:solidFill>
              <a:srgbClr val="CEE3BF"/>
            </a:solidFill>
            <a:ln w="9334" cap="flat">
              <a:noFill/>
              <a:prstDash val="solid"/>
              <a:miter/>
            </a:ln>
          </p:spPr>
          <p:txBody>
            <a:bodyPr rtlCol="0" anchor="ctr"/>
            <a:lstStyle/>
            <a:p>
              <a:endParaRPr lang="en-GB" dirty="0"/>
            </a:p>
          </p:txBody>
        </p:sp>
        <p:sp>
          <p:nvSpPr>
            <p:cNvPr id="1175" name="Freeform: Shape 1174">
              <a:extLst>
                <a:ext uri="{FF2B5EF4-FFF2-40B4-BE49-F238E27FC236}">
                  <a16:creationId xmlns:a16="http://schemas.microsoft.com/office/drawing/2014/main" id="{FB70AECF-12B2-468B-9988-F8BDDDCB37B1}"/>
                </a:ext>
              </a:extLst>
            </p:cNvPr>
            <p:cNvSpPr/>
            <p:nvPr/>
          </p:nvSpPr>
          <p:spPr>
            <a:xfrm>
              <a:off x="8645205" y="4121808"/>
              <a:ext cx="138099" cy="117556"/>
            </a:xfrm>
            <a:custGeom>
              <a:avLst/>
              <a:gdLst>
                <a:gd name="connsiteX0" fmla="*/ 69096 w 138099"/>
                <a:gd name="connsiteY0" fmla="*/ 114102 h 117556"/>
                <a:gd name="connsiteX1" fmla="*/ 58732 w 138099"/>
                <a:gd name="connsiteY1" fmla="*/ 114102 h 117556"/>
                <a:gd name="connsiteX2" fmla="*/ 55277 w 138099"/>
                <a:gd name="connsiteY2" fmla="*/ 117557 h 117556"/>
                <a:gd name="connsiteX3" fmla="*/ 31093 w 138099"/>
                <a:gd name="connsiteY3" fmla="*/ 110554 h 117556"/>
                <a:gd name="connsiteX4" fmla="*/ 20729 w 138099"/>
                <a:gd name="connsiteY4" fmla="*/ 93280 h 117556"/>
                <a:gd name="connsiteX5" fmla="*/ 13820 w 138099"/>
                <a:gd name="connsiteY5" fmla="*/ 76006 h 117556"/>
                <a:gd name="connsiteX6" fmla="*/ 0 w 138099"/>
                <a:gd name="connsiteY6" fmla="*/ 41458 h 117556"/>
                <a:gd name="connsiteX7" fmla="*/ 0 w 138099"/>
                <a:gd name="connsiteY7" fmla="*/ 31093 h 117556"/>
                <a:gd name="connsiteX8" fmla="*/ 13820 w 138099"/>
                <a:gd name="connsiteY8" fmla="*/ 6910 h 117556"/>
                <a:gd name="connsiteX9" fmla="*/ 82822 w 138099"/>
                <a:gd name="connsiteY9" fmla="*/ 3455 h 117556"/>
                <a:gd name="connsiteX10" fmla="*/ 82822 w 138099"/>
                <a:gd name="connsiteY10" fmla="*/ 13819 h 117556"/>
                <a:gd name="connsiteX11" fmla="*/ 100096 w 138099"/>
                <a:gd name="connsiteY11" fmla="*/ 13819 h 117556"/>
                <a:gd name="connsiteX12" fmla="*/ 107006 w 138099"/>
                <a:gd name="connsiteY12" fmla="*/ 0 h 117556"/>
                <a:gd name="connsiteX13" fmla="*/ 113915 w 138099"/>
                <a:gd name="connsiteY13" fmla="*/ 3455 h 117556"/>
                <a:gd name="connsiteX14" fmla="*/ 117370 w 138099"/>
                <a:gd name="connsiteY14" fmla="*/ 10365 h 117556"/>
                <a:gd name="connsiteX15" fmla="*/ 138099 w 138099"/>
                <a:gd name="connsiteY15" fmla="*/ 10365 h 117556"/>
                <a:gd name="connsiteX16" fmla="*/ 138099 w 138099"/>
                <a:gd name="connsiteY16" fmla="*/ 27638 h 117556"/>
                <a:gd name="connsiteX17" fmla="*/ 131189 w 138099"/>
                <a:gd name="connsiteY17" fmla="*/ 44912 h 117556"/>
                <a:gd name="connsiteX18" fmla="*/ 120825 w 138099"/>
                <a:gd name="connsiteY18" fmla="*/ 65641 h 117556"/>
                <a:gd name="connsiteX19" fmla="*/ 110461 w 138099"/>
                <a:gd name="connsiteY19" fmla="*/ 79461 h 117556"/>
                <a:gd name="connsiteX20" fmla="*/ 93187 w 138099"/>
                <a:gd name="connsiteY20" fmla="*/ 86370 h 117556"/>
                <a:gd name="connsiteX21" fmla="*/ 93187 w 138099"/>
                <a:gd name="connsiteY21" fmla="*/ 100190 h 117556"/>
                <a:gd name="connsiteX22" fmla="*/ 76006 w 138099"/>
                <a:gd name="connsiteY22" fmla="*/ 107099 h 117556"/>
                <a:gd name="connsiteX23" fmla="*/ 69096 w 138099"/>
                <a:gd name="connsiteY23" fmla="*/ 114102 h 11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8099" h="117556">
                  <a:moveTo>
                    <a:pt x="69096" y="114102"/>
                  </a:moveTo>
                  <a:lnTo>
                    <a:pt x="58732" y="114102"/>
                  </a:lnTo>
                  <a:lnTo>
                    <a:pt x="55277" y="117557"/>
                  </a:lnTo>
                  <a:lnTo>
                    <a:pt x="31093" y="110554"/>
                  </a:lnTo>
                  <a:lnTo>
                    <a:pt x="20729" y="93280"/>
                  </a:lnTo>
                  <a:lnTo>
                    <a:pt x="13820" y="76006"/>
                  </a:lnTo>
                  <a:lnTo>
                    <a:pt x="0" y="41458"/>
                  </a:lnTo>
                  <a:lnTo>
                    <a:pt x="0" y="31093"/>
                  </a:lnTo>
                  <a:lnTo>
                    <a:pt x="13820" y="6910"/>
                  </a:lnTo>
                  <a:lnTo>
                    <a:pt x="82822" y="3455"/>
                  </a:lnTo>
                  <a:lnTo>
                    <a:pt x="82822" y="13819"/>
                  </a:lnTo>
                  <a:lnTo>
                    <a:pt x="100096" y="13819"/>
                  </a:lnTo>
                  <a:lnTo>
                    <a:pt x="107006" y="0"/>
                  </a:lnTo>
                  <a:lnTo>
                    <a:pt x="113915" y="3455"/>
                  </a:lnTo>
                  <a:lnTo>
                    <a:pt x="117370" y="10365"/>
                  </a:lnTo>
                  <a:lnTo>
                    <a:pt x="138099" y="10365"/>
                  </a:lnTo>
                  <a:lnTo>
                    <a:pt x="138099" y="27638"/>
                  </a:lnTo>
                  <a:lnTo>
                    <a:pt x="131189" y="44912"/>
                  </a:lnTo>
                  <a:lnTo>
                    <a:pt x="120825" y="65641"/>
                  </a:lnTo>
                  <a:lnTo>
                    <a:pt x="110461" y="79461"/>
                  </a:lnTo>
                  <a:lnTo>
                    <a:pt x="93187" y="86370"/>
                  </a:lnTo>
                  <a:lnTo>
                    <a:pt x="93187" y="100190"/>
                  </a:lnTo>
                  <a:lnTo>
                    <a:pt x="76006" y="107099"/>
                  </a:lnTo>
                  <a:lnTo>
                    <a:pt x="69096" y="114102"/>
                  </a:lnTo>
                  <a:close/>
                </a:path>
              </a:pathLst>
            </a:custGeom>
            <a:solidFill>
              <a:srgbClr val="CEE3BF"/>
            </a:solidFill>
            <a:ln w="9334" cap="flat">
              <a:noFill/>
              <a:prstDash val="solid"/>
              <a:miter/>
            </a:ln>
          </p:spPr>
          <p:txBody>
            <a:bodyPr rtlCol="0" anchor="ctr"/>
            <a:lstStyle/>
            <a:p>
              <a:endParaRPr lang="en-GB" dirty="0"/>
            </a:p>
          </p:txBody>
        </p:sp>
        <p:sp>
          <p:nvSpPr>
            <p:cNvPr id="1176" name="Freeform: Shape 1175">
              <a:extLst>
                <a:ext uri="{FF2B5EF4-FFF2-40B4-BE49-F238E27FC236}">
                  <a16:creationId xmlns:a16="http://schemas.microsoft.com/office/drawing/2014/main" id="{B74D8D9A-A9F6-4B0E-A1D5-7566EE47E284}"/>
                </a:ext>
              </a:extLst>
            </p:cNvPr>
            <p:cNvSpPr/>
            <p:nvPr/>
          </p:nvSpPr>
          <p:spPr>
            <a:xfrm>
              <a:off x="8645205" y="4121808"/>
              <a:ext cx="138099" cy="117556"/>
            </a:xfrm>
            <a:custGeom>
              <a:avLst/>
              <a:gdLst>
                <a:gd name="connsiteX0" fmla="*/ 69096 w 138099"/>
                <a:gd name="connsiteY0" fmla="*/ 114102 h 117556"/>
                <a:gd name="connsiteX1" fmla="*/ 58732 w 138099"/>
                <a:gd name="connsiteY1" fmla="*/ 114102 h 117556"/>
                <a:gd name="connsiteX2" fmla="*/ 55277 w 138099"/>
                <a:gd name="connsiteY2" fmla="*/ 117557 h 117556"/>
                <a:gd name="connsiteX3" fmla="*/ 31093 w 138099"/>
                <a:gd name="connsiteY3" fmla="*/ 110554 h 117556"/>
                <a:gd name="connsiteX4" fmla="*/ 20729 w 138099"/>
                <a:gd name="connsiteY4" fmla="*/ 93280 h 117556"/>
                <a:gd name="connsiteX5" fmla="*/ 13820 w 138099"/>
                <a:gd name="connsiteY5" fmla="*/ 76006 h 117556"/>
                <a:gd name="connsiteX6" fmla="*/ 0 w 138099"/>
                <a:gd name="connsiteY6" fmla="*/ 41458 h 117556"/>
                <a:gd name="connsiteX7" fmla="*/ 0 w 138099"/>
                <a:gd name="connsiteY7" fmla="*/ 31093 h 117556"/>
                <a:gd name="connsiteX8" fmla="*/ 13820 w 138099"/>
                <a:gd name="connsiteY8" fmla="*/ 6910 h 117556"/>
                <a:gd name="connsiteX9" fmla="*/ 82822 w 138099"/>
                <a:gd name="connsiteY9" fmla="*/ 3455 h 117556"/>
                <a:gd name="connsiteX10" fmla="*/ 82822 w 138099"/>
                <a:gd name="connsiteY10" fmla="*/ 13819 h 117556"/>
                <a:gd name="connsiteX11" fmla="*/ 100096 w 138099"/>
                <a:gd name="connsiteY11" fmla="*/ 13819 h 117556"/>
                <a:gd name="connsiteX12" fmla="*/ 107006 w 138099"/>
                <a:gd name="connsiteY12" fmla="*/ 0 h 117556"/>
                <a:gd name="connsiteX13" fmla="*/ 113915 w 138099"/>
                <a:gd name="connsiteY13" fmla="*/ 3455 h 117556"/>
                <a:gd name="connsiteX14" fmla="*/ 117370 w 138099"/>
                <a:gd name="connsiteY14" fmla="*/ 10365 h 117556"/>
                <a:gd name="connsiteX15" fmla="*/ 138099 w 138099"/>
                <a:gd name="connsiteY15" fmla="*/ 10365 h 117556"/>
                <a:gd name="connsiteX16" fmla="*/ 138099 w 138099"/>
                <a:gd name="connsiteY16" fmla="*/ 27638 h 117556"/>
                <a:gd name="connsiteX17" fmla="*/ 131189 w 138099"/>
                <a:gd name="connsiteY17" fmla="*/ 44912 h 117556"/>
                <a:gd name="connsiteX18" fmla="*/ 120825 w 138099"/>
                <a:gd name="connsiteY18" fmla="*/ 65641 h 117556"/>
                <a:gd name="connsiteX19" fmla="*/ 110461 w 138099"/>
                <a:gd name="connsiteY19" fmla="*/ 79461 h 117556"/>
                <a:gd name="connsiteX20" fmla="*/ 93187 w 138099"/>
                <a:gd name="connsiteY20" fmla="*/ 86370 h 117556"/>
                <a:gd name="connsiteX21" fmla="*/ 93187 w 138099"/>
                <a:gd name="connsiteY21" fmla="*/ 100190 h 117556"/>
                <a:gd name="connsiteX22" fmla="*/ 76006 w 138099"/>
                <a:gd name="connsiteY22" fmla="*/ 107099 h 117556"/>
                <a:gd name="connsiteX23" fmla="*/ 69096 w 138099"/>
                <a:gd name="connsiteY23" fmla="*/ 114102 h 11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8099" h="117556">
                  <a:moveTo>
                    <a:pt x="69096" y="114102"/>
                  </a:moveTo>
                  <a:lnTo>
                    <a:pt x="58732" y="114102"/>
                  </a:lnTo>
                  <a:lnTo>
                    <a:pt x="55277" y="117557"/>
                  </a:lnTo>
                  <a:lnTo>
                    <a:pt x="31093" y="110554"/>
                  </a:lnTo>
                  <a:lnTo>
                    <a:pt x="20729" y="93280"/>
                  </a:lnTo>
                  <a:lnTo>
                    <a:pt x="13820" y="76006"/>
                  </a:lnTo>
                  <a:lnTo>
                    <a:pt x="0" y="41458"/>
                  </a:lnTo>
                  <a:lnTo>
                    <a:pt x="0" y="31093"/>
                  </a:lnTo>
                  <a:lnTo>
                    <a:pt x="13820" y="6910"/>
                  </a:lnTo>
                  <a:lnTo>
                    <a:pt x="82822" y="3455"/>
                  </a:lnTo>
                  <a:lnTo>
                    <a:pt x="82822" y="13819"/>
                  </a:lnTo>
                  <a:lnTo>
                    <a:pt x="100096" y="13819"/>
                  </a:lnTo>
                  <a:lnTo>
                    <a:pt x="107006" y="0"/>
                  </a:lnTo>
                  <a:lnTo>
                    <a:pt x="113915" y="3455"/>
                  </a:lnTo>
                  <a:lnTo>
                    <a:pt x="117370" y="10365"/>
                  </a:lnTo>
                  <a:lnTo>
                    <a:pt x="138099" y="10365"/>
                  </a:lnTo>
                  <a:lnTo>
                    <a:pt x="138099" y="27638"/>
                  </a:lnTo>
                  <a:lnTo>
                    <a:pt x="131189" y="44912"/>
                  </a:lnTo>
                  <a:lnTo>
                    <a:pt x="120825" y="65641"/>
                  </a:lnTo>
                  <a:lnTo>
                    <a:pt x="110461" y="79461"/>
                  </a:lnTo>
                  <a:lnTo>
                    <a:pt x="93187" y="86370"/>
                  </a:lnTo>
                  <a:lnTo>
                    <a:pt x="93187" y="100190"/>
                  </a:lnTo>
                  <a:lnTo>
                    <a:pt x="76006" y="107099"/>
                  </a:lnTo>
                  <a:lnTo>
                    <a:pt x="69096" y="114102"/>
                  </a:lnTo>
                  <a:close/>
                </a:path>
              </a:pathLst>
            </a:custGeom>
            <a:solidFill>
              <a:srgbClr val="CEE3BF"/>
            </a:solidFill>
            <a:ln w="9334" cap="flat">
              <a:noFill/>
              <a:prstDash val="solid"/>
              <a:miter/>
            </a:ln>
          </p:spPr>
          <p:txBody>
            <a:bodyPr rtlCol="0" anchor="ctr"/>
            <a:lstStyle/>
            <a:p>
              <a:endParaRPr lang="en-GB" dirty="0"/>
            </a:p>
          </p:txBody>
        </p:sp>
        <p:sp>
          <p:nvSpPr>
            <p:cNvPr id="1177" name="Freeform: Shape 1176">
              <a:extLst>
                <a:ext uri="{FF2B5EF4-FFF2-40B4-BE49-F238E27FC236}">
                  <a16:creationId xmlns:a16="http://schemas.microsoft.com/office/drawing/2014/main" id="{361A5CDB-98AA-4AF9-9786-8A3C5FD73DF1}"/>
                </a:ext>
              </a:extLst>
            </p:cNvPr>
            <p:cNvSpPr/>
            <p:nvPr/>
          </p:nvSpPr>
          <p:spPr>
            <a:xfrm>
              <a:off x="8641750" y="3883240"/>
              <a:ext cx="193376" cy="404492"/>
            </a:xfrm>
            <a:custGeom>
              <a:avLst/>
              <a:gdLst>
                <a:gd name="connsiteX0" fmla="*/ 72551 w 193376"/>
                <a:gd name="connsiteY0" fmla="*/ 352670 h 404492"/>
                <a:gd name="connsiteX1" fmla="*/ 76006 w 193376"/>
                <a:gd name="connsiteY1" fmla="*/ 356125 h 404492"/>
                <a:gd name="connsiteX2" fmla="*/ 76006 w 193376"/>
                <a:gd name="connsiteY2" fmla="*/ 359580 h 404492"/>
                <a:gd name="connsiteX3" fmla="*/ 76006 w 193376"/>
                <a:gd name="connsiteY3" fmla="*/ 369945 h 404492"/>
                <a:gd name="connsiteX4" fmla="*/ 72551 w 193376"/>
                <a:gd name="connsiteY4" fmla="*/ 369945 h 404492"/>
                <a:gd name="connsiteX5" fmla="*/ 69096 w 193376"/>
                <a:gd name="connsiteY5" fmla="*/ 404493 h 404492"/>
                <a:gd name="connsiteX6" fmla="*/ 89732 w 193376"/>
                <a:gd name="connsiteY6" fmla="*/ 390673 h 404492"/>
                <a:gd name="connsiteX7" fmla="*/ 113915 w 193376"/>
                <a:gd name="connsiteY7" fmla="*/ 376854 h 404492"/>
                <a:gd name="connsiteX8" fmla="*/ 113915 w 193376"/>
                <a:gd name="connsiteY8" fmla="*/ 363035 h 404492"/>
                <a:gd name="connsiteX9" fmla="*/ 120825 w 193376"/>
                <a:gd name="connsiteY9" fmla="*/ 352670 h 404492"/>
                <a:gd name="connsiteX10" fmla="*/ 141554 w 193376"/>
                <a:gd name="connsiteY10" fmla="*/ 356125 h 404492"/>
                <a:gd name="connsiteX11" fmla="*/ 162283 w 193376"/>
                <a:gd name="connsiteY11" fmla="*/ 349122 h 404492"/>
                <a:gd name="connsiteX12" fmla="*/ 186467 w 193376"/>
                <a:gd name="connsiteY12" fmla="*/ 328393 h 404492"/>
                <a:gd name="connsiteX13" fmla="*/ 193376 w 193376"/>
                <a:gd name="connsiteY13" fmla="*/ 297300 h 404492"/>
                <a:gd name="connsiteX14" fmla="*/ 186467 w 193376"/>
                <a:gd name="connsiteY14" fmla="*/ 262752 h 404492"/>
                <a:gd name="connsiteX15" fmla="*/ 179556 w 193376"/>
                <a:gd name="connsiteY15" fmla="*/ 238568 h 404492"/>
                <a:gd name="connsiteX16" fmla="*/ 172647 w 193376"/>
                <a:gd name="connsiteY16" fmla="*/ 210930 h 404492"/>
                <a:gd name="connsiteX17" fmla="*/ 103551 w 193376"/>
                <a:gd name="connsiteY17" fmla="*/ 134831 h 404492"/>
                <a:gd name="connsiteX18" fmla="*/ 93280 w 193376"/>
                <a:gd name="connsiteY18" fmla="*/ 121012 h 404492"/>
                <a:gd name="connsiteX19" fmla="*/ 107006 w 193376"/>
                <a:gd name="connsiteY19" fmla="*/ 86463 h 404492"/>
                <a:gd name="connsiteX20" fmla="*/ 127734 w 193376"/>
                <a:gd name="connsiteY20" fmla="*/ 58825 h 404492"/>
                <a:gd name="connsiteX21" fmla="*/ 141554 w 193376"/>
                <a:gd name="connsiteY21" fmla="*/ 55370 h 404492"/>
                <a:gd name="connsiteX22" fmla="*/ 138099 w 193376"/>
                <a:gd name="connsiteY22" fmla="*/ 41551 h 404492"/>
                <a:gd name="connsiteX23" fmla="*/ 120825 w 193376"/>
                <a:gd name="connsiteY23" fmla="*/ 34641 h 404492"/>
                <a:gd name="connsiteX24" fmla="*/ 117370 w 193376"/>
                <a:gd name="connsiteY24" fmla="*/ 10364 h 404492"/>
                <a:gd name="connsiteX25" fmla="*/ 100096 w 193376"/>
                <a:gd name="connsiteY25" fmla="*/ 6910 h 404492"/>
                <a:gd name="connsiteX26" fmla="*/ 86277 w 193376"/>
                <a:gd name="connsiteY26" fmla="*/ 0 h 404492"/>
                <a:gd name="connsiteX27" fmla="*/ 76006 w 193376"/>
                <a:gd name="connsiteY27" fmla="*/ 0 h 404492"/>
                <a:gd name="connsiteX28" fmla="*/ 58732 w 193376"/>
                <a:gd name="connsiteY28" fmla="*/ 10364 h 404492"/>
                <a:gd name="connsiteX29" fmla="*/ 3455 w 193376"/>
                <a:gd name="connsiteY29" fmla="*/ 13819 h 404492"/>
                <a:gd name="connsiteX30" fmla="*/ 0 w 193376"/>
                <a:gd name="connsiteY30" fmla="*/ 24277 h 404492"/>
                <a:gd name="connsiteX31" fmla="*/ 17274 w 193376"/>
                <a:gd name="connsiteY31" fmla="*/ 41551 h 404492"/>
                <a:gd name="connsiteX32" fmla="*/ 20729 w 193376"/>
                <a:gd name="connsiteY32" fmla="*/ 65735 h 404492"/>
                <a:gd name="connsiteX33" fmla="*/ 58732 w 193376"/>
                <a:gd name="connsiteY33" fmla="*/ 62280 h 404492"/>
                <a:gd name="connsiteX34" fmla="*/ 69096 w 193376"/>
                <a:gd name="connsiteY34" fmla="*/ 79554 h 404492"/>
                <a:gd name="connsiteX35" fmla="*/ 72551 w 193376"/>
                <a:gd name="connsiteY35" fmla="*/ 96828 h 404492"/>
                <a:gd name="connsiteX36" fmla="*/ 48367 w 193376"/>
                <a:gd name="connsiteY36" fmla="*/ 96828 h 404492"/>
                <a:gd name="connsiteX37" fmla="*/ 44912 w 193376"/>
                <a:gd name="connsiteY37" fmla="*/ 114102 h 404492"/>
                <a:gd name="connsiteX38" fmla="*/ 58732 w 193376"/>
                <a:gd name="connsiteY38" fmla="*/ 121012 h 404492"/>
                <a:gd name="connsiteX39" fmla="*/ 107006 w 193376"/>
                <a:gd name="connsiteY39" fmla="*/ 165924 h 404492"/>
                <a:gd name="connsiteX40" fmla="*/ 138099 w 193376"/>
                <a:gd name="connsiteY40" fmla="*/ 200565 h 404492"/>
                <a:gd name="connsiteX41" fmla="*/ 145009 w 193376"/>
                <a:gd name="connsiteY41" fmla="*/ 224749 h 404492"/>
                <a:gd name="connsiteX42" fmla="*/ 141554 w 193376"/>
                <a:gd name="connsiteY42" fmla="*/ 248933 h 404492"/>
                <a:gd name="connsiteX43" fmla="*/ 141554 w 193376"/>
                <a:gd name="connsiteY43" fmla="*/ 262752 h 404492"/>
                <a:gd name="connsiteX44" fmla="*/ 134644 w 193376"/>
                <a:gd name="connsiteY44" fmla="*/ 283481 h 404492"/>
                <a:gd name="connsiteX45" fmla="*/ 124280 w 193376"/>
                <a:gd name="connsiteY45" fmla="*/ 304210 h 404492"/>
                <a:gd name="connsiteX46" fmla="*/ 113915 w 193376"/>
                <a:gd name="connsiteY46" fmla="*/ 318029 h 404492"/>
                <a:gd name="connsiteX47" fmla="*/ 96642 w 193376"/>
                <a:gd name="connsiteY47" fmla="*/ 324939 h 404492"/>
                <a:gd name="connsiteX48" fmla="*/ 96642 w 193376"/>
                <a:gd name="connsiteY48" fmla="*/ 338758 h 404492"/>
                <a:gd name="connsiteX49" fmla="*/ 79461 w 193376"/>
                <a:gd name="connsiteY49" fmla="*/ 345667 h 404492"/>
                <a:gd name="connsiteX50" fmla="*/ 72551 w 193376"/>
                <a:gd name="connsiteY50" fmla="*/ 352670 h 40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3376" h="404492">
                  <a:moveTo>
                    <a:pt x="72551" y="352670"/>
                  </a:moveTo>
                  <a:lnTo>
                    <a:pt x="76006" y="356125"/>
                  </a:lnTo>
                  <a:lnTo>
                    <a:pt x="76006" y="359580"/>
                  </a:lnTo>
                  <a:lnTo>
                    <a:pt x="76006" y="369945"/>
                  </a:lnTo>
                  <a:lnTo>
                    <a:pt x="72551" y="369945"/>
                  </a:lnTo>
                  <a:lnTo>
                    <a:pt x="69096" y="404493"/>
                  </a:lnTo>
                  <a:lnTo>
                    <a:pt x="89732" y="390673"/>
                  </a:lnTo>
                  <a:lnTo>
                    <a:pt x="113915" y="376854"/>
                  </a:lnTo>
                  <a:lnTo>
                    <a:pt x="113915" y="363035"/>
                  </a:lnTo>
                  <a:lnTo>
                    <a:pt x="120825" y="352670"/>
                  </a:lnTo>
                  <a:lnTo>
                    <a:pt x="141554" y="356125"/>
                  </a:lnTo>
                  <a:lnTo>
                    <a:pt x="162283" y="349122"/>
                  </a:lnTo>
                  <a:lnTo>
                    <a:pt x="186467" y="328393"/>
                  </a:lnTo>
                  <a:lnTo>
                    <a:pt x="193376" y="297300"/>
                  </a:lnTo>
                  <a:lnTo>
                    <a:pt x="186467" y="262752"/>
                  </a:lnTo>
                  <a:lnTo>
                    <a:pt x="179556" y="238568"/>
                  </a:lnTo>
                  <a:lnTo>
                    <a:pt x="172647" y="210930"/>
                  </a:lnTo>
                  <a:lnTo>
                    <a:pt x="103551" y="134831"/>
                  </a:lnTo>
                  <a:lnTo>
                    <a:pt x="93280" y="121012"/>
                  </a:lnTo>
                  <a:lnTo>
                    <a:pt x="107006" y="86463"/>
                  </a:lnTo>
                  <a:lnTo>
                    <a:pt x="127734" y="58825"/>
                  </a:lnTo>
                  <a:lnTo>
                    <a:pt x="141554" y="55370"/>
                  </a:lnTo>
                  <a:lnTo>
                    <a:pt x="138099" y="41551"/>
                  </a:lnTo>
                  <a:lnTo>
                    <a:pt x="120825" y="34641"/>
                  </a:lnTo>
                  <a:lnTo>
                    <a:pt x="117370" y="10364"/>
                  </a:lnTo>
                  <a:lnTo>
                    <a:pt x="100096" y="6910"/>
                  </a:lnTo>
                  <a:lnTo>
                    <a:pt x="86277" y="0"/>
                  </a:lnTo>
                  <a:lnTo>
                    <a:pt x="76006" y="0"/>
                  </a:lnTo>
                  <a:lnTo>
                    <a:pt x="58732" y="10364"/>
                  </a:lnTo>
                  <a:lnTo>
                    <a:pt x="3455" y="13819"/>
                  </a:lnTo>
                  <a:lnTo>
                    <a:pt x="0" y="24277"/>
                  </a:lnTo>
                  <a:lnTo>
                    <a:pt x="17274" y="41551"/>
                  </a:lnTo>
                  <a:lnTo>
                    <a:pt x="20729" y="65735"/>
                  </a:lnTo>
                  <a:lnTo>
                    <a:pt x="58732" y="62280"/>
                  </a:lnTo>
                  <a:lnTo>
                    <a:pt x="69096" y="79554"/>
                  </a:lnTo>
                  <a:lnTo>
                    <a:pt x="72551" y="96828"/>
                  </a:lnTo>
                  <a:lnTo>
                    <a:pt x="48367" y="96828"/>
                  </a:lnTo>
                  <a:lnTo>
                    <a:pt x="44912" y="114102"/>
                  </a:lnTo>
                  <a:lnTo>
                    <a:pt x="58732" y="121012"/>
                  </a:lnTo>
                  <a:lnTo>
                    <a:pt x="107006" y="165924"/>
                  </a:lnTo>
                  <a:lnTo>
                    <a:pt x="138099" y="200565"/>
                  </a:lnTo>
                  <a:lnTo>
                    <a:pt x="145009" y="224749"/>
                  </a:lnTo>
                  <a:lnTo>
                    <a:pt x="141554" y="248933"/>
                  </a:lnTo>
                  <a:lnTo>
                    <a:pt x="141554" y="262752"/>
                  </a:lnTo>
                  <a:lnTo>
                    <a:pt x="134644" y="283481"/>
                  </a:lnTo>
                  <a:lnTo>
                    <a:pt x="124280" y="304210"/>
                  </a:lnTo>
                  <a:lnTo>
                    <a:pt x="113915" y="318029"/>
                  </a:lnTo>
                  <a:lnTo>
                    <a:pt x="96642" y="324939"/>
                  </a:lnTo>
                  <a:lnTo>
                    <a:pt x="96642" y="338758"/>
                  </a:lnTo>
                  <a:lnTo>
                    <a:pt x="79461" y="345667"/>
                  </a:lnTo>
                  <a:lnTo>
                    <a:pt x="72551" y="352670"/>
                  </a:lnTo>
                  <a:close/>
                </a:path>
              </a:pathLst>
            </a:custGeom>
            <a:solidFill>
              <a:srgbClr val="CEE3BF"/>
            </a:solidFill>
            <a:ln w="9334" cap="flat">
              <a:noFill/>
              <a:prstDash val="solid"/>
              <a:miter/>
            </a:ln>
          </p:spPr>
          <p:txBody>
            <a:bodyPr rtlCol="0" anchor="ctr"/>
            <a:lstStyle/>
            <a:p>
              <a:endParaRPr lang="en-GB" dirty="0"/>
            </a:p>
          </p:txBody>
        </p:sp>
        <p:sp>
          <p:nvSpPr>
            <p:cNvPr id="1178" name="Freeform: Shape 1177">
              <a:extLst>
                <a:ext uri="{FF2B5EF4-FFF2-40B4-BE49-F238E27FC236}">
                  <a16:creationId xmlns:a16="http://schemas.microsoft.com/office/drawing/2014/main" id="{B8EFDD50-38E8-42AD-B900-1B9E0C7DED92}"/>
                </a:ext>
              </a:extLst>
            </p:cNvPr>
            <p:cNvSpPr/>
            <p:nvPr/>
          </p:nvSpPr>
          <p:spPr>
            <a:xfrm>
              <a:off x="8510561" y="3955884"/>
              <a:ext cx="224468" cy="414763"/>
            </a:xfrm>
            <a:custGeom>
              <a:avLst/>
              <a:gdLst>
                <a:gd name="connsiteX0" fmla="*/ 58732 w 224468"/>
                <a:gd name="connsiteY0" fmla="*/ 369851 h 414763"/>
                <a:gd name="connsiteX1" fmla="*/ 34548 w 224468"/>
                <a:gd name="connsiteY1" fmla="*/ 342213 h 414763"/>
                <a:gd name="connsiteX2" fmla="*/ 20729 w 224468"/>
                <a:gd name="connsiteY2" fmla="*/ 335303 h 414763"/>
                <a:gd name="connsiteX3" fmla="*/ 24183 w 224468"/>
                <a:gd name="connsiteY3" fmla="*/ 300755 h 414763"/>
                <a:gd name="connsiteX4" fmla="*/ 27639 w 224468"/>
                <a:gd name="connsiteY4" fmla="*/ 280026 h 414763"/>
                <a:gd name="connsiteX5" fmla="*/ 48367 w 224468"/>
                <a:gd name="connsiteY5" fmla="*/ 262659 h 414763"/>
                <a:gd name="connsiteX6" fmla="*/ 55277 w 224468"/>
                <a:gd name="connsiteY6" fmla="*/ 241930 h 414763"/>
                <a:gd name="connsiteX7" fmla="*/ 44912 w 224468"/>
                <a:gd name="connsiteY7" fmla="*/ 224656 h 414763"/>
                <a:gd name="connsiteX8" fmla="*/ 44912 w 224468"/>
                <a:gd name="connsiteY8" fmla="*/ 197018 h 414763"/>
                <a:gd name="connsiteX9" fmla="*/ 31093 w 224468"/>
                <a:gd name="connsiteY9" fmla="*/ 176289 h 414763"/>
                <a:gd name="connsiteX10" fmla="*/ 20729 w 224468"/>
                <a:gd name="connsiteY10" fmla="*/ 162469 h 414763"/>
                <a:gd name="connsiteX11" fmla="*/ 34548 w 224468"/>
                <a:gd name="connsiteY11" fmla="*/ 127921 h 414763"/>
                <a:gd name="connsiteX12" fmla="*/ 24183 w 224468"/>
                <a:gd name="connsiteY12" fmla="*/ 100189 h 414763"/>
                <a:gd name="connsiteX13" fmla="*/ 6910 w 224468"/>
                <a:gd name="connsiteY13" fmla="*/ 86370 h 414763"/>
                <a:gd name="connsiteX14" fmla="*/ 0 w 224468"/>
                <a:gd name="connsiteY14" fmla="*/ 51822 h 414763"/>
                <a:gd name="connsiteX15" fmla="*/ 6910 w 224468"/>
                <a:gd name="connsiteY15" fmla="*/ 41458 h 414763"/>
                <a:gd name="connsiteX16" fmla="*/ 6910 w 224468"/>
                <a:gd name="connsiteY16" fmla="*/ 20729 h 414763"/>
                <a:gd name="connsiteX17" fmla="*/ 38003 w 224468"/>
                <a:gd name="connsiteY17" fmla="*/ 17274 h 414763"/>
                <a:gd name="connsiteX18" fmla="*/ 62186 w 224468"/>
                <a:gd name="connsiteY18" fmla="*/ 0 h 414763"/>
                <a:gd name="connsiteX19" fmla="*/ 82822 w 224468"/>
                <a:gd name="connsiteY19" fmla="*/ 10364 h 414763"/>
                <a:gd name="connsiteX20" fmla="*/ 82822 w 224468"/>
                <a:gd name="connsiteY20" fmla="*/ 24184 h 414763"/>
                <a:gd name="connsiteX21" fmla="*/ 96641 w 224468"/>
                <a:gd name="connsiteY21" fmla="*/ 27638 h 414763"/>
                <a:gd name="connsiteX22" fmla="*/ 103551 w 224468"/>
                <a:gd name="connsiteY22" fmla="*/ 51822 h 414763"/>
                <a:gd name="connsiteX23" fmla="*/ 96641 w 224468"/>
                <a:gd name="connsiteY23" fmla="*/ 58732 h 414763"/>
                <a:gd name="connsiteX24" fmla="*/ 96641 w 224468"/>
                <a:gd name="connsiteY24" fmla="*/ 82915 h 414763"/>
                <a:gd name="connsiteX25" fmla="*/ 117370 w 224468"/>
                <a:gd name="connsiteY25" fmla="*/ 72551 h 414763"/>
                <a:gd name="connsiteX26" fmla="*/ 131189 w 224468"/>
                <a:gd name="connsiteY26" fmla="*/ 62187 h 414763"/>
                <a:gd name="connsiteX27" fmla="*/ 151918 w 224468"/>
                <a:gd name="connsiteY27" fmla="*/ 69096 h 414763"/>
                <a:gd name="connsiteX28" fmla="*/ 172647 w 224468"/>
                <a:gd name="connsiteY28" fmla="*/ 55277 h 414763"/>
                <a:gd name="connsiteX29" fmla="*/ 200286 w 224468"/>
                <a:gd name="connsiteY29" fmla="*/ 86370 h 414763"/>
                <a:gd name="connsiteX30" fmla="*/ 207195 w 224468"/>
                <a:gd name="connsiteY30" fmla="*/ 114102 h 414763"/>
                <a:gd name="connsiteX31" fmla="*/ 224469 w 224468"/>
                <a:gd name="connsiteY31" fmla="*/ 131376 h 414763"/>
                <a:gd name="connsiteX32" fmla="*/ 224469 w 224468"/>
                <a:gd name="connsiteY32" fmla="*/ 148650 h 414763"/>
                <a:gd name="connsiteX33" fmla="*/ 217466 w 224468"/>
                <a:gd name="connsiteY33" fmla="*/ 169379 h 414763"/>
                <a:gd name="connsiteX34" fmla="*/ 148464 w 224468"/>
                <a:gd name="connsiteY34" fmla="*/ 172834 h 414763"/>
                <a:gd name="connsiteX35" fmla="*/ 134644 w 224468"/>
                <a:gd name="connsiteY35" fmla="*/ 193562 h 414763"/>
                <a:gd name="connsiteX36" fmla="*/ 134644 w 224468"/>
                <a:gd name="connsiteY36" fmla="*/ 207382 h 414763"/>
                <a:gd name="connsiteX37" fmla="*/ 141554 w 224468"/>
                <a:gd name="connsiteY37" fmla="*/ 224656 h 414763"/>
                <a:gd name="connsiteX38" fmla="*/ 148464 w 224468"/>
                <a:gd name="connsiteY38" fmla="*/ 241930 h 414763"/>
                <a:gd name="connsiteX39" fmla="*/ 145008 w 224468"/>
                <a:gd name="connsiteY39" fmla="*/ 248840 h 414763"/>
                <a:gd name="connsiteX40" fmla="*/ 124280 w 224468"/>
                <a:gd name="connsiteY40" fmla="*/ 221201 h 414763"/>
                <a:gd name="connsiteX41" fmla="*/ 96641 w 224468"/>
                <a:gd name="connsiteY41" fmla="*/ 217746 h 414763"/>
                <a:gd name="connsiteX42" fmla="*/ 96641 w 224468"/>
                <a:gd name="connsiteY42" fmla="*/ 200472 h 414763"/>
                <a:gd name="connsiteX43" fmla="*/ 76006 w 224468"/>
                <a:gd name="connsiteY43" fmla="*/ 200472 h 414763"/>
                <a:gd name="connsiteX44" fmla="*/ 69096 w 224468"/>
                <a:gd name="connsiteY44" fmla="*/ 207382 h 414763"/>
                <a:gd name="connsiteX45" fmla="*/ 69096 w 224468"/>
                <a:gd name="connsiteY45" fmla="*/ 228111 h 414763"/>
                <a:gd name="connsiteX46" fmla="*/ 65641 w 224468"/>
                <a:gd name="connsiteY46" fmla="*/ 241930 h 414763"/>
                <a:gd name="connsiteX47" fmla="*/ 55277 w 224468"/>
                <a:gd name="connsiteY47" fmla="*/ 266114 h 414763"/>
                <a:gd name="connsiteX48" fmla="*/ 48367 w 224468"/>
                <a:gd name="connsiteY48" fmla="*/ 280026 h 414763"/>
                <a:gd name="connsiteX49" fmla="*/ 41458 w 224468"/>
                <a:gd name="connsiteY49" fmla="*/ 307665 h 414763"/>
                <a:gd name="connsiteX50" fmla="*/ 51822 w 224468"/>
                <a:gd name="connsiteY50" fmla="*/ 314574 h 414763"/>
                <a:gd name="connsiteX51" fmla="*/ 69096 w 224468"/>
                <a:gd name="connsiteY51" fmla="*/ 321484 h 414763"/>
                <a:gd name="connsiteX52" fmla="*/ 72551 w 224468"/>
                <a:gd name="connsiteY52" fmla="*/ 331848 h 414763"/>
                <a:gd name="connsiteX53" fmla="*/ 79461 w 224468"/>
                <a:gd name="connsiteY53" fmla="*/ 362942 h 414763"/>
                <a:gd name="connsiteX54" fmla="*/ 89732 w 224468"/>
                <a:gd name="connsiteY54" fmla="*/ 376761 h 414763"/>
                <a:gd name="connsiteX55" fmla="*/ 110461 w 224468"/>
                <a:gd name="connsiteY55" fmla="*/ 383670 h 414763"/>
                <a:gd name="connsiteX56" fmla="*/ 124280 w 224468"/>
                <a:gd name="connsiteY56" fmla="*/ 397490 h 414763"/>
                <a:gd name="connsiteX57" fmla="*/ 117370 w 224468"/>
                <a:gd name="connsiteY57" fmla="*/ 404399 h 414763"/>
                <a:gd name="connsiteX58" fmla="*/ 113915 w 224468"/>
                <a:gd name="connsiteY58" fmla="*/ 414764 h 414763"/>
                <a:gd name="connsiteX59" fmla="*/ 96641 w 224468"/>
                <a:gd name="connsiteY59" fmla="*/ 411309 h 414763"/>
                <a:gd name="connsiteX60" fmla="*/ 100096 w 224468"/>
                <a:gd name="connsiteY60" fmla="*/ 397490 h 414763"/>
                <a:gd name="connsiteX61" fmla="*/ 89732 w 224468"/>
                <a:gd name="connsiteY61" fmla="*/ 390580 h 414763"/>
                <a:gd name="connsiteX62" fmla="*/ 72551 w 224468"/>
                <a:gd name="connsiteY62" fmla="*/ 387125 h 414763"/>
                <a:gd name="connsiteX63" fmla="*/ 58732 w 224468"/>
                <a:gd name="connsiteY63" fmla="*/ 369851 h 41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24468" h="414763">
                  <a:moveTo>
                    <a:pt x="58732" y="369851"/>
                  </a:moveTo>
                  <a:lnTo>
                    <a:pt x="34548" y="342213"/>
                  </a:lnTo>
                  <a:lnTo>
                    <a:pt x="20729" y="335303"/>
                  </a:lnTo>
                  <a:lnTo>
                    <a:pt x="24183" y="300755"/>
                  </a:lnTo>
                  <a:lnTo>
                    <a:pt x="27639" y="280026"/>
                  </a:lnTo>
                  <a:lnTo>
                    <a:pt x="48367" y="262659"/>
                  </a:lnTo>
                  <a:lnTo>
                    <a:pt x="55277" y="241930"/>
                  </a:lnTo>
                  <a:lnTo>
                    <a:pt x="44912" y="224656"/>
                  </a:lnTo>
                  <a:lnTo>
                    <a:pt x="44912" y="197018"/>
                  </a:lnTo>
                  <a:lnTo>
                    <a:pt x="31093" y="176289"/>
                  </a:lnTo>
                  <a:lnTo>
                    <a:pt x="20729" y="162469"/>
                  </a:lnTo>
                  <a:lnTo>
                    <a:pt x="34548" y="127921"/>
                  </a:lnTo>
                  <a:lnTo>
                    <a:pt x="24183" y="100189"/>
                  </a:lnTo>
                  <a:lnTo>
                    <a:pt x="6910" y="86370"/>
                  </a:lnTo>
                  <a:lnTo>
                    <a:pt x="0" y="51822"/>
                  </a:lnTo>
                  <a:lnTo>
                    <a:pt x="6910" y="41458"/>
                  </a:lnTo>
                  <a:lnTo>
                    <a:pt x="6910" y="20729"/>
                  </a:lnTo>
                  <a:lnTo>
                    <a:pt x="38003" y="17274"/>
                  </a:lnTo>
                  <a:lnTo>
                    <a:pt x="62186" y="0"/>
                  </a:lnTo>
                  <a:lnTo>
                    <a:pt x="82822" y="10364"/>
                  </a:lnTo>
                  <a:lnTo>
                    <a:pt x="82822" y="24184"/>
                  </a:lnTo>
                  <a:lnTo>
                    <a:pt x="96641" y="27638"/>
                  </a:lnTo>
                  <a:lnTo>
                    <a:pt x="103551" y="51822"/>
                  </a:lnTo>
                  <a:lnTo>
                    <a:pt x="96641" y="58732"/>
                  </a:lnTo>
                  <a:lnTo>
                    <a:pt x="96641" y="82915"/>
                  </a:lnTo>
                  <a:lnTo>
                    <a:pt x="117370" y="72551"/>
                  </a:lnTo>
                  <a:lnTo>
                    <a:pt x="131189" y="62187"/>
                  </a:lnTo>
                  <a:lnTo>
                    <a:pt x="151918" y="69096"/>
                  </a:lnTo>
                  <a:lnTo>
                    <a:pt x="172647" y="55277"/>
                  </a:lnTo>
                  <a:lnTo>
                    <a:pt x="200286" y="86370"/>
                  </a:lnTo>
                  <a:lnTo>
                    <a:pt x="207195" y="114102"/>
                  </a:lnTo>
                  <a:lnTo>
                    <a:pt x="224469" y="131376"/>
                  </a:lnTo>
                  <a:lnTo>
                    <a:pt x="224469" y="148650"/>
                  </a:lnTo>
                  <a:lnTo>
                    <a:pt x="217466" y="169379"/>
                  </a:lnTo>
                  <a:lnTo>
                    <a:pt x="148464" y="172834"/>
                  </a:lnTo>
                  <a:lnTo>
                    <a:pt x="134644" y="193562"/>
                  </a:lnTo>
                  <a:lnTo>
                    <a:pt x="134644" y="207382"/>
                  </a:lnTo>
                  <a:lnTo>
                    <a:pt x="141554" y="224656"/>
                  </a:lnTo>
                  <a:lnTo>
                    <a:pt x="148464" y="241930"/>
                  </a:lnTo>
                  <a:lnTo>
                    <a:pt x="145008" y="248840"/>
                  </a:lnTo>
                  <a:lnTo>
                    <a:pt x="124280" y="221201"/>
                  </a:lnTo>
                  <a:lnTo>
                    <a:pt x="96641" y="217746"/>
                  </a:lnTo>
                  <a:lnTo>
                    <a:pt x="96641" y="200472"/>
                  </a:lnTo>
                  <a:lnTo>
                    <a:pt x="76006" y="200472"/>
                  </a:lnTo>
                  <a:lnTo>
                    <a:pt x="69096" y="207382"/>
                  </a:lnTo>
                  <a:lnTo>
                    <a:pt x="69096" y="228111"/>
                  </a:lnTo>
                  <a:lnTo>
                    <a:pt x="65641" y="241930"/>
                  </a:lnTo>
                  <a:lnTo>
                    <a:pt x="55277" y="266114"/>
                  </a:lnTo>
                  <a:lnTo>
                    <a:pt x="48367" y="280026"/>
                  </a:lnTo>
                  <a:lnTo>
                    <a:pt x="41458" y="307665"/>
                  </a:lnTo>
                  <a:lnTo>
                    <a:pt x="51822" y="314574"/>
                  </a:lnTo>
                  <a:lnTo>
                    <a:pt x="69096" y="321484"/>
                  </a:lnTo>
                  <a:lnTo>
                    <a:pt x="72551" y="331848"/>
                  </a:lnTo>
                  <a:lnTo>
                    <a:pt x="79461" y="362942"/>
                  </a:lnTo>
                  <a:lnTo>
                    <a:pt x="89732" y="376761"/>
                  </a:lnTo>
                  <a:lnTo>
                    <a:pt x="110461" y="383670"/>
                  </a:lnTo>
                  <a:lnTo>
                    <a:pt x="124280" y="397490"/>
                  </a:lnTo>
                  <a:lnTo>
                    <a:pt x="117370" y="404399"/>
                  </a:lnTo>
                  <a:lnTo>
                    <a:pt x="113915" y="414764"/>
                  </a:lnTo>
                  <a:lnTo>
                    <a:pt x="96641" y="411309"/>
                  </a:lnTo>
                  <a:lnTo>
                    <a:pt x="100096" y="397490"/>
                  </a:lnTo>
                  <a:lnTo>
                    <a:pt x="89732" y="390580"/>
                  </a:lnTo>
                  <a:lnTo>
                    <a:pt x="72551" y="387125"/>
                  </a:lnTo>
                  <a:lnTo>
                    <a:pt x="58732" y="369851"/>
                  </a:lnTo>
                  <a:close/>
                </a:path>
              </a:pathLst>
            </a:custGeom>
            <a:solidFill>
              <a:srgbClr val="CEE3BF"/>
            </a:solidFill>
            <a:ln w="9334" cap="flat">
              <a:noFill/>
              <a:prstDash val="solid"/>
              <a:miter/>
            </a:ln>
          </p:spPr>
          <p:txBody>
            <a:bodyPr rtlCol="0" anchor="ctr"/>
            <a:lstStyle/>
            <a:p>
              <a:endParaRPr lang="en-GB" dirty="0"/>
            </a:p>
          </p:txBody>
        </p:sp>
        <p:sp>
          <p:nvSpPr>
            <p:cNvPr id="1179" name="Freeform: Shape 1178">
              <a:extLst>
                <a:ext uri="{FF2B5EF4-FFF2-40B4-BE49-F238E27FC236}">
                  <a16:creationId xmlns:a16="http://schemas.microsoft.com/office/drawing/2014/main" id="{72C46AB5-EFE1-469D-97DC-41279E9A2D6B}"/>
                </a:ext>
              </a:extLst>
            </p:cNvPr>
            <p:cNvSpPr/>
            <p:nvPr/>
          </p:nvSpPr>
          <p:spPr>
            <a:xfrm>
              <a:off x="8821306" y="4401834"/>
              <a:ext cx="276198" cy="231565"/>
            </a:xfrm>
            <a:custGeom>
              <a:avLst/>
              <a:gdLst>
                <a:gd name="connsiteX0" fmla="*/ 24184 w 276198"/>
                <a:gd name="connsiteY0" fmla="*/ 79461 h 231565"/>
                <a:gd name="connsiteX1" fmla="*/ 41365 w 276198"/>
                <a:gd name="connsiteY1" fmla="*/ 96735 h 231565"/>
                <a:gd name="connsiteX2" fmla="*/ 62093 w 276198"/>
                <a:gd name="connsiteY2" fmla="*/ 96735 h 231565"/>
                <a:gd name="connsiteX3" fmla="*/ 75912 w 276198"/>
                <a:gd name="connsiteY3" fmla="*/ 93280 h 231565"/>
                <a:gd name="connsiteX4" fmla="*/ 113915 w 276198"/>
                <a:gd name="connsiteY4" fmla="*/ 79461 h 231565"/>
                <a:gd name="connsiteX5" fmla="*/ 127735 w 276198"/>
                <a:gd name="connsiteY5" fmla="*/ 93280 h 231565"/>
                <a:gd name="connsiteX6" fmla="*/ 148464 w 276198"/>
                <a:gd name="connsiteY6" fmla="*/ 82915 h 231565"/>
                <a:gd name="connsiteX7" fmla="*/ 169193 w 276198"/>
                <a:gd name="connsiteY7" fmla="*/ 62187 h 231565"/>
                <a:gd name="connsiteX8" fmla="*/ 200006 w 276198"/>
                <a:gd name="connsiteY8" fmla="*/ 20822 h 231565"/>
                <a:gd name="connsiteX9" fmla="*/ 200192 w 276198"/>
                <a:gd name="connsiteY9" fmla="*/ 3455 h 231565"/>
                <a:gd name="connsiteX10" fmla="*/ 227831 w 276198"/>
                <a:gd name="connsiteY10" fmla="*/ 0 h 231565"/>
                <a:gd name="connsiteX11" fmla="*/ 241650 w 276198"/>
                <a:gd name="connsiteY11" fmla="*/ 10365 h 231565"/>
                <a:gd name="connsiteX12" fmla="*/ 238195 w 276198"/>
                <a:gd name="connsiteY12" fmla="*/ 24184 h 231565"/>
                <a:gd name="connsiteX13" fmla="*/ 227831 w 276198"/>
                <a:gd name="connsiteY13" fmla="*/ 27639 h 231565"/>
                <a:gd name="connsiteX14" fmla="*/ 241650 w 276198"/>
                <a:gd name="connsiteY14" fmla="*/ 44913 h 231565"/>
                <a:gd name="connsiteX15" fmla="*/ 252015 w 276198"/>
                <a:gd name="connsiteY15" fmla="*/ 72551 h 231565"/>
                <a:gd name="connsiteX16" fmla="*/ 258924 w 276198"/>
                <a:gd name="connsiteY16" fmla="*/ 82915 h 231565"/>
                <a:gd name="connsiteX17" fmla="*/ 276198 w 276198"/>
                <a:gd name="connsiteY17" fmla="*/ 96735 h 231565"/>
                <a:gd name="connsiteX18" fmla="*/ 269289 w 276198"/>
                <a:gd name="connsiteY18" fmla="*/ 103644 h 231565"/>
                <a:gd name="connsiteX19" fmla="*/ 248560 w 276198"/>
                <a:gd name="connsiteY19" fmla="*/ 100190 h 231565"/>
                <a:gd name="connsiteX20" fmla="*/ 238195 w 276198"/>
                <a:gd name="connsiteY20" fmla="*/ 110554 h 231565"/>
                <a:gd name="connsiteX21" fmla="*/ 234740 w 276198"/>
                <a:gd name="connsiteY21" fmla="*/ 145196 h 231565"/>
                <a:gd name="connsiteX22" fmla="*/ 207102 w 276198"/>
                <a:gd name="connsiteY22" fmla="*/ 165924 h 231565"/>
                <a:gd name="connsiteX23" fmla="*/ 210557 w 276198"/>
                <a:gd name="connsiteY23" fmla="*/ 193563 h 231565"/>
                <a:gd name="connsiteX24" fmla="*/ 207102 w 276198"/>
                <a:gd name="connsiteY24" fmla="*/ 203927 h 231565"/>
                <a:gd name="connsiteX25" fmla="*/ 203647 w 276198"/>
                <a:gd name="connsiteY25" fmla="*/ 231566 h 231565"/>
                <a:gd name="connsiteX26" fmla="*/ 162283 w 276198"/>
                <a:gd name="connsiteY26" fmla="*/ 228111 h 231565"/>
                <a:gd name="connsiteX27" fmla="*/ 158828 w 276198"/>
                <a:gd name="connsiteY27" fmla="*/ 214292 h 231565"/>
                <a:gd name="connsiteX28" fmla="*/ 110461 w 276198"/>
                <a:gd name="connsiteY28" fmla="*/ 207382 h 231565"/>
                <a:gd name="connsiteX29" fmla="*/ 103551 w 276198"/>
                <a:gd name="connsiteY29" fmla="*/ 217746 h 231565"/>
                <a:gd name="connsiteX30" fmla="*/ 79367 w 276198"/>
                <a:gd name="connsiteY30" fmla="*/ 214292 h 231565"/>
                <a:gd name="connsiteX31" fmla="*/ 75912 w 276198"/>
                <a:gd name="connsiteY31" fmla="*/ 200472 h 231565"/>
                <a:gd name="connsiteX32" fmla="*/ 41365 w 276198"/>
                <a:gd name="connsiteY32" fmla="*/ 200472 h 231565"/>
                <a:gd name="connsiteX33" fmla="*/ 34548 w 276198"/>
                <a:gd name="connsiteY33" fmla="*/ 165924 h 231565"/>
                <a:gd name="connsiteX34" fmla="*/ 20729 w 276198"/>
                <a:gd name="connsiteY34" fmla="*/ 148650 h 231565"/>
                <a:gd name="connsiteX35" fmla="*/ 3455 w 276198"/>
                <a:gd name="connsiteY35" fmla="*/ 114009 h 231565"/>
                <a:gd name="connsiteX36" fmla="*/ 0 w 276198"/>
                <a:gd name="connsiteY36" fmla="*/ 93280 h 231565"/>
                <a:gd name="connsiteX37" fmla="*/ 10365 w 276198"/>
                <a:gd name="connsiteY37" fmla="*/ 79461 h 231565"/>
                <a:gd name="connsiteX38" fmla="*/ 24184 w 276198"/>
                <a:gd name="connsiteY38" fmla="*/ 79461 h 231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76198" h="231565">
                  <a:moveTo>
                    <a:pt x="24184" y="79461"/>
                  </a:moveTo>
                  <a:lnTo>
                    <a:pt x="41365" y="96735"/>
                  </a:lnTo>
                  <a:lnTo>
                    <a:pt x="62093" y="96735"/>
                  </a:lnTo>
                  <a:lnTo>
                    <a:pt x="75912" y="93280"/>
                  </a:lnTo>
                  <a:lnTo>
                    <a:pt x="113915" y="79461"/>
                  </a:lnTo>
                  <a:lnTo>
                    <a:pt x="127735" y="93280"/>
                  </a:lnTo>
                  <a:lnTo>
                    <a:pt x="148464" y="82915"/>
                  </a:lnTo>
                  <a:lnTo>
                    <a:pt x="169193" y="62187"/>
                  </a:lnTo>
                  <a:lnTo>
                    <a:pt x="200006" y="20822"/>
                  </a:lnTo>
                  <a:lnTo>
                    <a:pt x="200192" y="3455"/>
                  </a:lnTo>
                  <a:lnTo>
                    <a:pt x="227831" y="0"/>
                  </a:lnTo>
                  <a:lnTo>
                    <a:pt x="241650" y="10365"/>
                  </a:lnTo>
                  <a:lnTo>
                    <a:pt x="238195" y="24184"/>
                  </a:lnTo>
                  <a:lnTo>
                    <a:pt x="227831" y="27639"/>
                  </a:lnTo>
                  <a:lnTo>
                    <a:pt x="241650" y="44913"/>
                  </a:lnTo>
                  <a:lnTo>
                    <a:pt x="252015" y="72551"/>
                  </a:lnTo>
                  <a:lnTo>
                    <a:pt x="258924" y="82915"/>
                  </a:lnTo>
                  <a:lnTo>
                    <a:pt x="276198" y="96735"/>
                  </a:lnTo>
                  <a:lnTo>
                    <a:pt x="269289" y="103644"/>
                  </a:lnTo>
                  <a:lnTo>
                    <a:pt x="248560" y="100190"/>
                  </a:lnTo>
                  <a:lnTo>
                    <a:pt x="238195" y="110554"/>
                  </a:lnTo>
                  <a:lnTo>
                    <a:pt x="234740" y="145196"/>
                  </a:lnTo>
                  <a:lnTo>
                    <a:pt x="207102" y="165924"/>
                  </a:lnTo>
                  <a:lnTo>
                    <a:pt x="210557" y="193563"/>
                  </a:lnTo>
                  <a:lnTo>
                    <a:pt x="207102" y="203927"/>
                  </a:lnTo>
                  <a:lnTo>
                    <a:pt x="203647" y="231566"/>
                  </a:lnTo>
                  <a:lnTo>
                    <a:pt x="162283" y="228111"/>
                  </a:lnTo>
                  <a:lnTo>
                    <a:pt x="158828" y="214292"/>
                  </a:lnTo>
                  <a:lnTo>
                    <a:pt x="110461" y="207382"/>
                  </a:lnTo>
                  <a:lnTo>
                    <a:pt x="103551" y="217746"/>
                  </a:lnTo>
                  <a:lnTo>
                    <a:pt x="79367" y="214292"/>
                  </a:lnTo>
                  <a:lnTo>
                    <a:pt x="75912" y="200472"/>
                  </a:lnTo>
                  <a:lnTo>
                    <a:pt x="41365" y="200472"/>
                  </a:lnTo>
                  <a:lnTo>
                    <a:pt x="34548" y="165924"/>
                  </a:lnTo>
                  <a:lnTo>
                    <a:pt x="20729" y="148650"/>
                  </a:lnTo>
                  <a:lnTo>
                    <a:pt x="3455" y="114009"/>
                  </a:lnTo>
                  <a:lnTo>
                    <a:pt x="0" y="93280"/>
                  </a:lnTo>
                  <a:lnTo>
                    <a:pt x="10365" y="79461"/>
                  </a:lnTo>
                  <a:lnTo>
                    <a:pt x="24184" y="79461"/>
                  </a:lnTo>
                  <a:close/>
                </a:path>
              </a:pathLst>
            </a:custGeom>
            <a:solidFill>
              <a:srgbClr val="CEE3BF"/>
            </a:solidFill>
            <a:ln w="9334" cap="flat">
              <a:noFill/>
              <a:prstDash val="solid"/>
              <a:miter/>
            </a:ln>
          </p:spPr>
          <p:txBody>
            <a:bodyPr rtlCol="0" anchor="ctr"/>
            <a:lstStyle/>
            <a:p>
              <a:endParaRPr lang="en-GB" dirty="0"/>
            </a:p>
          </p:txBody>
        </p:sp>
        <p:sp>
          <p:nvSpPr>
            <p:cNvPr id="1180" name="Freeform: Shape 1179">
              <a:extLst>
                <a:ext uri="{FF2B5EF4-FFF2-40B4-BE49-F238E27FC236}">
                  <a16:creationId xmlns:a16="http://schemas.microsoft.com/office/drawing/2014/main" id="{7382B44F-A69F-4C0A-9EEB-D951BF1E043A}"/>
                </a:ext>
              </a:extLst>
            </p:cNvPr>
            <p:cNvSpPr/>
            <p:nvPr/>
          </p:nvSpPr>
          <p:spPr>
            <a:xfrm>
              <a:off x="9144471" y="4477840"/>
              <a:ext cx="169192" cy="203927"/>
            </a:xfrm>
            <a:custGeom>
              <a:avLst/>
              <a:gdLst>
                <a:gd name="connsiteX0" fmla="*/ 20729 w 169192"/>
                <a:gd name="connsiteY0" fmla="*/ 62187 h 203927"/>
                <a:gd name="connsiteX1" fmla="*/ 20729 w 169192"/>
                <a:gd name="connsiteY1" fmla="*/ 44912 h 203927"/>
                <a:gd name="connsiteX2" fmla="*/ 34548 w 169192"/>
                <a:gd name="connsiteY2" fmla="*/ 24184 h 203927"/>
                <a:gd name="connsiteX3" fmla="*/ 55277 w 169192"/>
                <a:gd name="connsiteY3" fmla="*/ 13819 h 203927"/>
                <a:gd name="connsiteX4" fmla="*/ 82915 w 169192"/>
                <a:gd name="connsiteY4" fmla="*/ 17274 h 203927"/>
                <a:gd name="connsiteX5" fmla="*/ 100189 w 169192"/>
                <a:gd name="connsiteY5" fmla="*/ 24184 h 203927"/>
                <a:gd name="connsiteX6" fmla="*/ 127734 w 169192"/>
                <a:gd name="connsiteY6" fmla="*/ 24184 h 203927"/>
                <a:gd name="connsiteX7" fmla="*/ 145008 w 169192"/>
                <a:gd name="connsiteY7" fmla="*/ 20729 h 203927"/>
                <a:gd name="connsiteX8" fmla="*/ 155373 w 169192"/>
                <a:gd name="connsiteY8" fmla="*/ 13819 h 203927"/>
                <a:gd name="connsiteX9" fmla="*/ 169192 w 169192"/>
                <a:gd name="connsiteY9" fmla="*/ 0 h 203927"/>
                <a:gd name="connsiteX10" fmla="*/ 169192 w 169192"/>
                <a:gd name="connsiteY10" fmla="*/ 13819 h 203927"/>
                <a:gd name="connsiteX11" fmla="*/ 151918 w 169192"/>
                <a:gd name="connsiteY11" fmla="*/ 34548 h 203927"/>
                <a:gd name="connsiteX12" fmla="*/ 138099 w 169192"/>
                <a:gd name="connsiteY12" fmla="*/ 44912 h 203927"/>
                <a:gd name="connsiteX13" fmla="*/ 96735 w 169192"/>
                <a:gd name="connsiteY13" fmla="*/ 38003 h 203927"/>
                <a:gd name="connsiteX14" fmla="*/ 72551 w 169192"/>
                <a:gd name="connsiteY14" fmla="*/ 34548 h 203927"/>
                <a:gd name="connsiteX15" fmla="*/ 51822 w 169192"/>
                <a:gd name="connsiteY15" fmla="*/ 34548 h 203927"/>
                <a:gd name="connsiteX16" fmla="*/ 41458 w 169192"/>
                <a:gd name="connsiteY16" fmla="*/ 34548 h 203927"/>
                <a:gd name="connsiteX17" fmla="*/ 31093 w 169192"/>
                <a:gd name="connsiteY17" fmla="*/ 44912 h 203927"/>
                <a:gd name="connsiteX18" fmla="*/ 31093 w 169192"/>
                <a:gd name="connsiteY18" fmla="*/ 62187 h 203927"/>
                <a:gd name="connsiteX19" fmla="*/ 38003 w 169192"/>
                <a:gd name="connsiteY19" fmla="*/ 72644 h 203927"/>
                <a:gd name="connsiteX20" fmla="*/ 44912 w 169192"/>
                <a:gd name="connsiteY20" fmla="*/ 79554 h 203927"/>
                <a:gd name="connsiteX21" fmla="*/ 48367 w 169192"/>
                <a:gd name="connsiteY21" fmla="*/ 86464 h 203927"/>
                <a:gd name="connsiteX22" fmla="*/ 55277 w 169192"/>
                <a:gd name="connsiteY22" fmla="*/ 89918 h 203927"/>
                <a:gd name="connsiteX23" fmla="*/ 65641 w 169192"/>
                <a:gd name="connsiteY23" fmla="*/ 76099 h 203927"/>
                <a:gd name="connsiteX24" fmla="*/ 72551 w 169192"/>
                <a:gd name="connsiteY24" fmla="*/ 72644 h 203927"/>
                <a:gd name="connsiteX25" fmla="*/ 89825 w 169192"/>
                <a:gd name="connsiteY25" fmla="*/ 76099 h 203927"/>
                <a:gd name="connsiteX26" fmla="*/ 103644 w 169192"/>
                <a:gd name="connsiteY26" fmla="*/ 69190 h 203927"/>
                <a:gd name="connsiteX27" fmla="*/ 120825 w 169192"/>
                <a:gd name="connsiteY27" fmla="*/ 69190 h 203927"/>
                <a:gd name="connsiteX28" fmla="*/ 117370 w 169192"/>
                <a:gd name="connsiteY28" fmla="*/ 79554 h 203927"/>
                <a:gd name="connsiteX29" fmla="*/ 96735 w 169192"/>
                <a:gd name="connsiteY29" fmla="*/ 83009 h 203927"/>
                <a:gd name="connsiteX30" fmla="*/ 86370 w 169192"/>
                <a:gd name="connsiteY30" fmla="*/ 93373 h 203927"/>
                <a:gd name="connsiteX31" fmla="*/ 76005 w 169192"/>
                <a:gd name="connsiteY31" fmla="*/ 103737 h 203927"/>
                <a:gd name="connsiteX32" fmla="*/ 76005 w 169192"/>
                <a:gd name="connsiteY32" fmla="*/ 107193 h 203927"/>
                <a:gd name="connsiteX33" fmla="*/ 82915 w 169192"/>
                <a:gd name="connsiteY33" fmla="*/ 117557 h 203927"/>
                <a:gd name="connsiteX34" fmla="*/ 93280 w 169192"/>
                <a:gd name="connsiteY34" fmla="*/ 138286 h 203927"/>
                <a:gd name="connsiteX35" fmla="*/ 93280 w 169192"/>
                <a:gd name="connsiteY35" fmla="*/ 145195 h 203927"/>
                <a:gd name="connsiteX36" fmla="*/ 96735 w 169192"/>
                <a:gd name="connsiteY36" fmla="*/ 159015 h 203927"/>
                <a:gd name="connsiteX37" fmla="*/ 107005 w 169192"/>
                <a:gd name="connsiteY37" fmla="*/ 165924 h 203927"/>
                <a:gd name="connsiteX38" fmla="*/ 93280 w 169192"/>
                <a:gd name="connsiteY38" fmla="*/ 172834 h 203927"/>
                <a:gd name="connsiteX39" fmla="*/ 79461 w 169192"/>
                <a:gd name="connsiteY39" fmla="*/ 169379 h 203927"/>
                <a:gd name="connsiteX40" fmla="*/ 76005 w 169192"/>
                <a:gd name="connsiteY40" fmla="*/ 179743 h 203927"/>
                <a:gd name="connsiteX41" fmla="*/ 65641 w 169192"/>
                <a:gd name="connsiteY41" fmla="*/ 162469 h 203927"/>
                <a:gd name="connsiteX42" fmla="*/ 58732 w 169192"/>
                <a:gd name="connsiteY42" fmla="*/ 145195 h 203927"/>
                <a:gd name="connsiteX43" fmla="*/ 55277 w 169192"/>
                <a:gd name="connsiteY43" fmla="*/ 121012 h 203927"/>
                <a:gd name="connsiteX44" fmla="*/ 41458 w 169192"/>
                <a:gd name="connsiteY44" fmla="*/ 121012 h 203927"/>
                <a:gd name="connsiteX45" fmla="*/ 38003 w 169192"/>
                <a:gd name="connsiteY45" fmla="*/ 131376 h 203927"/>
                <a:gd name="connsiteX46" fmla="*/ 41458 w 169192"/>
                <a:gd name="connsiteY46" fmla="*/ 159015 h 203927"/>
                <a:gd name="connsiteX47" fmla="*/ 41458 w 169192"/>
                <a:gd name="connsiteY47" fmla="*/ 169379 h 203927"/>
                <a:gd name="connsiteX48" fmla="*/ 41458 w 169192"/>
                <a:gd name="connsiteY48" fmla="*/ 193563 h 203927"/>
                <a:gd name="connsiteX49" fmla="*/ 38003 w 169192"/>
                <a:gd name="connsiteY49" fmla="*/ 203927 h 203927"/>
                <a:gd name="connsiteX50" fmla="*/ 17274 w 169192"/>
                <a:gd name="connsiteY50" fmla="*/ 200472 h 203927"/>
                <a:gd name="connsiteX51" fmla="*/ 17274 w 169192"/>
                <a:gd name="connsiteY51" fmla="*/ 176289 h 203927"/>
                <a:gd name="connsiteX52" fmla="*/ 20729 w 169192"/>
                <a:gd name="connsiteY52" fmla="*/ 155560 h 203927"/>
                <a:gd name="connsiteX53" fmla="*/ 17274 w 169192"/>
                <a:gd name="connsiteY53" fmla="*/ 145195 h 203927"/>
                <a:gd name="connsiteX54" fmla="*/ 0 w 169192"/>
                <a:gd name="connsiteY54" fmla="*/ 138286 h 203927"/>
                <a:gd name="connsiteX55" fmla="*/ 0 w 169192"/>
                <a:gd name="connsiteY55" fmla="*/ 117557 h 203927"/>
                <a:gd name="connsiteX56" fmla="*/ 6910 w 169192"/>
                <a:gd name="connsiteY56" fmla="*/ 100283 h 203927"/>
                <a:gd name="connsiteX57" fmla="*/ 13819 w 169192"/>
                <a:gd name="connsiteY57" fmla="*/ 72644 h 203927"/>
                <a:gd name="connsiteX58" fmla="*/ 20729 w 169192"/>
                <a:gd name="connsiteY58" fmla="*/ 62187 h 20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9192" h="203927">
                  <a:moveTo>
                    <a:pt x="20729" y="62187"/>
                  </a:moveTo>
                  <a:lnTo>
                    <a:pt x="20729" y="44912"/>
                  </a:lnTo>
                  <a:lnTo>
                    <a:pt x="34548" y="24184"/>
                  </a:lnTo>
                  <a:lnTo>
                    <a:pt x="55277" y="13819"/>
                  </a:lnTo>
                  <a:lnTo>
                    <a:pt x="82915" y="17274"/>
                  </a:lnTo>
                  <a:lnTo>
                    <a:pt x="100189" y="24184"/>
                  </a:lnTo>
                  <a:lnTo>
                    <a:pt x="127734" y="24184"/>
                  </a:lnTo>
                  <a:lnTo>
                    <a:pt x="145008" y="20729"/>
                  </a:lnTo>
                  <a:lnTo>
                    <a:pt x="155373" y="13819"/>
                  </a:lnTo>
                  <a:lnTo>
                    <a:pt x="169192" y="0"/>
                  </a:lnTo>
                  <a:lnTo>
                    <a:pt x="169192" y="13819"/>
                  </a:lnTo>
                  <a:lnTo>
                    <a:pt x="151918" y="34548"/>
                  </a:lnTo>
                  <a:lnTo>
                    <a:pt x="138099" y="44912"/>
                  </a:lnTo>
                  <a:lnTo>
                    <a:pt x="96735" y="38003"/>
                  </a:lnTo>
                  <a:lnTo>
                    <a:pt x="72551" y="34548"/>
                  </a:lnTo>
                  <a:lnTo>
                    <a:pt x="51822" y="34548"/>
                  </a:lnTo>
                  <a:lnTo>
                    <a:pt x="41458" y="34548"/>
                  </a:lnTo>
                  <a:lnTo>
                    <a:pt x="31093" y="44912"/>
                  </a:lnTo>
                  <a:lnTo>
                    <a:pt x="31093" y="62187"/>
                  </a:lnTo>
                  <a:lnTo>
                    <a:pt x="38003" y="72644"/>
                  </a:lnTo>
                  <a:lnTo>
                    <a:pt x="44912" y="79554"/>
                  </a:lnTo>
                  <a:lnTo>
                    <a:pt x="48367" y="86464"/>
                  </a:lnTo>
                  <a:lnTo>
                    <a:pt x="55277" y="89918"/>
                  </a:lnTo>
                  <a:lnTo>
                    <a:pt x="65641" y="76099"/>
                  </a:lnTo>
                  <a:lnTo>
                    <a:pt x="72551" y="72644"/>
                  </a:lnTo>
                  <a:lnTo>
                    <a:pt x="89825" y="76099"/>
                  </a:lnTo>
                  <a:lnTo>
                    <a:pt x="103644" y="69190"/>
                  </a:lnTo>
                  <a:lnTo>
                    <a:pt x="120825" y="69190"/>
                  </a:lnTo>
                  <a:lnTo>
                    <a:pt x="117370" y="79554"/>
                  </a:lnTo>
                  <a:lnTo>
                    <a:pt x="96735" y="83009"/>
                  </a:lnTo>
                  <a:lnTo>
                    <a:pt x="86370" y="93373"/>
                  </a:lnTo>
                  <a:lnTo>
                    <a:pt x="76005" y="103737"/>
                  </a:lnTo>
                  <a:lnTo>
                    <a:pt x="76005" y="107193"/>
                  </a:lnTo>
                  <a:lnTo>
                    <a:pt x="82915" y="117557"/>
                  </a:lnTo>
                  <a:lnTo>
                    <a:pt x="93280" y="138286"/>
                  </a:lnTo>
                  <a:lnTo>
                    <a:pt x="93280" y="145195"/>
                  </a:lnTo>
                  <a:lnTo>
                    <a:pt x="96735" y="159015"/>
                  </a:lnTo>
                  <a:lnTo>
                    <a:pt x="107005" y="165924"/>
                  </a:lnTo>
                  <a:lnTo>
                    <a:pt x="93280" y="172834"/>
                  </a:lnTo>
                  <a:lnTo>
                    <a:pt x="79461" y="169379"/>
                  </a:lnTo>
                  <a:lnTo>
                    <a:pt x="76005" y="179743"/>
                  </a:lnTo>
                  <a:lnTo>
                    <a:pt x="65641" y="162469"/>
                  </a:lnTo>
                  <a:lnTo>
                    <a:pt x="58732" y="145195"/>
                  </a:lnTo>
                  <a:lnTo>
                    <a:pt x="55277" y="121012"/>
                  </a:lnTo>
                  <a:lnTo>
                    <a:pt x="41458" y="121012"/>
                  </a:lnTo>
                  <a:lnTo>
                    <a:pt x="38003" y="131376"/>
                  </a:lnTo>
                  <a:lnTo>
                    <a:pt x="41458" y="159015"/>
                  </a:lnTo>
                  <a:lnTo>
                    <a:pt x="41458" y="169379"/>
                  </a:lnTo>
                  <a:lnTo>
                    <a:pt x="41458" y="193563"/>
                  </a:lnTo>
                  <a:lnTo>
                    <a:pt x="38003" y="203927"/>
                  </a:lnTo>
                  <a:lnTo>
                    <a:pt x="17274" y="200472"/>
                  </a:lnTo>
                  <a:lnTo>
                    <a:pt x="17274" y="176289"/>
                  </a:lnTo>
                  <a:lnTo>
                    <a:pt x="20729" y="155560"/>
                  </a:lnTo>
                  <a:lnTo>
                    <a:pt x="17274" y="145195"/>
                  </a:lnTo>
                  <a:lnTo>
                    <a:pt x="0" y="138286"/>
                  </a:lnTo>
                  <a:lnTo>
                    <a:pt x="0" y="117557"/>
                  </a:lnTo>
                  <a:lnTo>
                    <a:pt x="6910" y="100283"/>
                  </a:lnTo>
                  <a:lnTo>
                    <a:pt x="13819" y="72644"/>
                  </a:lnTo>
                  <a:lnTo>
                    <a:pt x="20729" y="62187"/>
                  </a:lnTo>
                  <a:close/>
                </a:path>
              </a:pathLst>
            </a:custGeom>
            <a:solidFill>
              <a:srgbClr val="CEE3BF"/>
            </a:solidFill>
            <a:ln w="9334" cap="flat">
              <a:noFill/>
              <a:prstDash val="solid"/>
              <a:miter/>
            </a:ln>
          </p:spPr>
          <p:txBody>
            <a:bodyPr rtlCol="0" anchor="ctr"/>
            <a:lstStyle/>
            <a:p>
              <a:endParaRPr lang="en-GB" dirty="0"/>
            </a:p>
          </p:txBody>
        </p:sp>
        <p:sp>
          <p:nvSpPr>
            <p:cNvPr id="1181" name="Freeform: Shape 1180">
              <a:extLst>
                <a:ext uri="{FF2B5EF4-FFF2-40B4-BE49-F238E27FC236}">
                  <a16:creationId xmlns:a16="http://schemas.microsoft.com/office/drawing/2014/main" id="{9D481E18-BED0-476E-8360-C3A217E2BA43}"/>
                </a:ext>
              </a:extLst>
            </p:cNvPr>
            <p:cNvSpPr/>
            <p:nvPr/>
          </p:nvSpPr>
          <p:spPr>
            <a:xfrm>
              <a:off x="9421976" y="4540027"/>
              <a:ext cx="279652" cy="235113"/>
            </a:xfrm>
            <a:custGeom>
              <a:avLst/>
              <a:gdLst>
                <a:gd name="connsiteX0" fmla="*/ 3455 w 279652"/>
                <a:gd name="connsiteY0" fmla="*/ 13913 h 235113"/>
                <a:gd name="connsiteX1" fmla="*/ 34548 w 279652"/>
                <a:gd name="connsiteY1" fmla="*/ 3548 h 235113"/>
                <a:gd name="connsiteX2" fmla="*/ 51822 w 279652"/>
                <a:gd name="connsiteY2" fmla="*/ 0 h 235113"/>
                <a:gd name="connsiteX3" fmla="*/ 82915 w 279652"/>
                <a:gd name="connsiteY3" fmla="*/ 3548 h 235113"/>
                <a:gd name="connsiteX4" fmla="*/ 96735 w 279652"/>
                <a:gd name="connsiteY4" fmla="*/ 17367 h 235113"/>
                <a:gd name="connsiteX5" fmla="*/ 93280 w 279652"/>
                <a:gd name="connsiteY5" fmla="*/ 38096 h 235113"/>
                <a:gd name="connsiteX6" fmla="*/ 93280 w 279652"/>
                <a:gd name="connsiteY6" fmla="*/ 51915 h 235113"/>
                <a:gd name="connsiteX7" fmla="*/ 103645 w 279652"/>
                <a:gd name="connsiteY7" fmla="*/ 58825 h 235113"/>
                <a:gd name="connsiteX8" fmla="*/ 107099 w 279652"/>
                <a:gd name="connsiteY8" fmla="*/ 72644 h 235113"/>
                <a:gd name="connsiteX9" fmla="*/ 120825 w 279652"/>
                <a:gd name="connsiteY9" fmla="*/ 76099 h 235113"/>
                <a:gd name="connsiteX10" fmla="*/ 138099 w 279652"/>
                <a:gd name="connsiteY10" fmla="*/ 72644 h 235113"/>
                <a:gd name="connsiteX11" fmla="*/ 148464 w 279652"/>
                <a:gd name="connsiteY11" fmla="*/ 55370 h 235113"/>
                <a:gd name="connsiteX12" fmla="*/ 162283 w 279652"/>
                <a:gd name="connsiteY12" fmla="*/ 45006 h 235113"/>
                <a:gd name="connsiteX13" fmla="*/ 179556 w 279652"/>
                <a:gd name="connsiteY13" fmla="*/ 38096 h 235113"/>
                <a:gd name="connsiteX14" fmla="*/ 189921 w 279652"/>
                <a:gd name="connsiteY14" fmla="*/ 27732 h 235113"/>
                <a:gd name="connsiteX15" fmla="*/ 221014 w 279652"/>
                <a:gd name="connsiteY15" fmla="*/ 38096 h 235113"/>
                <a:gd name="connsiteX16" fmla="*/ 245198 w 279652"/>
                <a:gd name="connsiteY16" fmla="*/ 45006 h 235113"/>
                <a:gd name="connsiteX17" fmla="*/ 272743 w 279652"/>
                <a:gd name="connsiteY17" fmla="*/ 55370 h 235113"/>
                <a:gd name="connsiteX18" fmla="*/ 279653 w 279652"/>
                <a:gd name="connsiteY18" fmla="*/ 58825 h 235113"/>
                <a:gd name="connsiteX19" fmla="*/ 279653 w 279652"/>
                <a:gd name="connsiteY19" fmla="*/ 235114 h 235113"/>
                <a:gd name="connsiteX20" fmla="*/ 255469 w 279652"/>
                <a:gd name="connsiteY20" fmla="*/ 214385 h 235113"/>
                <a:gd name="connsiteX21" fmla="*/ 238195 w 279652"/>
                <a:gd name="connsiteY21" fmla="*/ 207475 h 235113"/>
                <a:gd name="connsiteX22" fmla="*/ 224470 w 279652"/>
                <a:gd name="connsiteY22" fmla="*/ 207475 h 235113"/>
                <a:gd name="connsiteX23" fmla="*/ 214105 w 279652"/>
                <a:gd name="connsiteY23" fmla="*/ 214385 h 235113"/>
                <a:gd name="connsiteX24" fmla="*/ 189921 w 279652"/>
                <a:gd name="connsiteY24" fmla="*/ 217840 h 235113"/>
                <a:gd name="connsiteX25" fmla="*/ 186467 w 279652"/>
                <a:gd name="connsiteY25" fmla="*/ 204021 h 235113"/>
                <a:gd name="connsiteX26" fmla="*/ 189921 w 279652"/>
                <a:gd name="connsiteY26" fmla="*/ 197111 h 235113"/>
                <a:gd name="connsiteX27" fmla="*/ 200286 w 279652"/>
                <a:gd name="connsiteY27" fmla="*/ 193656 h 235113"/>
                <a:gd name="connsiteX28" fmla="*/ 214105 w 279652"/>
                <a:gd name="connsiteY28" fmla="*/ 190201 h 235113"/>
                <a:gd name="connsiteX29" fmla="*/ 217559 w 279652"/>
                <a:gd name="connsiteY29" fmla="*/ 169379 h 235113"/>
                <a:gd name="connsiteX30" fmla="*/ 210650 w 279652"/>
                <a:gd name="connsiteY30" fmla="*/ 155560 h 235113"/>
                <a:gd name="connsiteX31" fmla="*/ 193376 w 279652"/>
                <a:gd name="connsiteY31" fmla="*/ 138286 h 235113"/>
                <a:gd name="connsiteX32" fmla="*/ 155373 w 279652"/>
                <a:gd name="connsiteY32" fmla="*/ 117557 h 235113"/>
                <a:gd name="connsiteX33" fmla="*/ 113915 w 279652"/>
                <a:gd name="connsiteY33" fmla="*/ 107193 h 235113"/>
                <a:gd name="connsiteX34" fmla="*/ 103645 w 279652"/>
                <a:gd name="connsiteY34" fmla="*/ 96828 h 235113"/>
                <a:gd name="connsiteX35" fmla="*/ 93280 w 279652"/>
                <a:gd name="connsiteY35" fmla="*/ 93373 h 235113"/>
                <a:gd name="connsiteX36" fmla="*/ 82915 w 279652"/>
                <a:gd name="connsiteY36" fmla="*/ 69190 h 235113"/>
                <a:gd name="connsiteX37" fmla="*/ 72551 w 279652"/>
                <a:gd name="connsiteY37" fmla="*/ 72644 h 235113"/>
                <a:gd name="connsiteX38" fmla="*/ 72551 w 279652"/>
                <a:gd name="connsiteY38" fmla="*/ 83009 h 235113"/>
                <a:gd name="connsiteX39" fmla="*/ 72551 w 279652"/>
                <a:gd name="connsiteY39" fmla="*/ 100283 h 235113"/>
                <a:gd name="connsiteX40" fmla="*/ 55277 w 279652"/>
                <a:gd name="connsiteY40" fmla="*/ 96828 h 235113"/>
                <a:gd name="connsiteX41" fmla="*/ 55277 w 279652"/>
                <a:gd name="connsiteY41" fmla="*/ 79554 h 235113"/>
                <a:gd name="connsiteX42" fmla="*/ 51822 w 279652"/>
                <a:gd name="connsiteY42" fmla="*/ 69190 h 235113"/>
                <a:gd name="connsiteX43" fmla="*/ 34548 w 279652"/>
                <a:gd name="connsiteY43" fmla="*/ 65735 h 235113"/>
                <a:gd name="connsiteX44" fmla="*/ 51822 w 279652"/>
                <a:gd name="connsiteY44" fmla="*/ 55370 h 235113"/>
                <a:gd name="connsiteX45" fmla="*/ 72551 w 279652"/>
                <a:gd name="connsiteY45" fmla="*/ 58825 h 235113"/>
                <a:gd name="connsiteX46" fmla="*/ 86370 w 279652"/>
                <a:gd name="connsiteY46" fmla="*/ 55370 h 235113"/>
                <a:gd name="connsiteX47" fmla="*/ 79461 w 279652"/>
                <a:gd name="connsiteY47" fmla="*/ 41551 h 235113"/>
                <a:gd name="connsiteX48" fmla="*/ 51822 w 279652"/>
                <a:gd name="connsiteY48" fmla="*/ 41551 h 235113"/>
                <a:gd name="connsiteX49" fmla="*/ 34548 w 279652"/>
                <a:gd name="connsiteY49" fmla="*/ 45006 h 235113"/>
                <a:gd name="connsiteX50" fmla="*/ 27639 w 279652"/>
                <a:gd name="connsiteY50" fmla="*/ 27732 h 235113"/>
                <a:gd name="connsiteX51" fmla="*/ 10364 w 279652"/>
                <a:gd name="connsiteY51" fmla="*/ 27732 h 235113"/>
                <a:gd name="connsiteX52" fmla="*/ 0 w 279652"/>
                <a:gd name="connsiteY52" fmla="*/ 24277 h 235113"/>
                <a:gd name="connsiteX53" fmla="*/ 3455 w 279652"/>
                <a:gd name="connsiteY53" fmla="*/ 13913 h 23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79652" h="235113">
                  <a:moveTo>
                    <a:pt x="3455" y="13913"/>
                  </a:moveTo>
                  <a:lnTo>
                    <a:pt x="34548" y="3548"/>
                  </a:lnTo>
                  <a:lnTo>
                    <a:pt x="51822" y="0"/>
                  </a:lnTo>
                  <a:lnTo>
                    <a:pt x="82915" y="3548"/>
                  </a:lnTo>
                  <a:lnTo>
                    <a:pt x="96735" y="17367"/>
                  </a:lnTo>
                  <a:lnTo>
                    <a:pt x="93280" y="38096"/>
                  </a:lnTo>
                  <a:lnTo>
                    <a:pt x="93280" y="51915"/>
                  </a:lnTo>
                  <a:lnTo>
                    <a:pt x="103645" y="58825"/>
                  </a:lnTo>
                  <a:lnTo>
                    <a:pt x="107099" y="72644"/>
                  </a:lnTo>
                  <a:lnTo>
                    <a:pt x="120825" y="76099"/>
                  </a:lnTo>
                  <a:lnTo>
                    <a:pt x="138099" y="72644"/>
                  </a:lnTo>
                  <a:lnTo>
                    <a:pt x="148464" y="55370"/>
                  </a:lnTo>
                  <a:lnTo>
                    <a:pt x="162283" y="45006"/>
                  </a:lnTo>
                  <a:lnTo>
                    <a:pt x="179556" y="38096"/>
                  </a:lnTo>
                  <a:lnTo>
                    <a:pt x="189921" y="27732"/>
                  </a:lnTo>
                  <a:lnTo>
                    <a:pt x="221014" y="38096"/>
                  </a:lnTo>
                  <a:lnTo>
                    <a:pt x="245198" y="45006"/>
                  </a:lnTo>
                  <a:lnTo>
                    <a:pt x="272743" y="55370"/>
                  </a:lnTo>
                  <a:lnTo>
                    <a:pt x="279653" y="58825"/>
                  </a:lnTo>
                  <a:lnTo>
                    <a:pt x="279653" y="235114"/>
                  </a:lnTo>
                  <a:lnTo>
                    <a:pt x="255469" y="214385"/>
                  </a:lnTo>
                  <a:lnTo>
                    <a:pt x="238195" y="207475"/>
                  </a:lnTo>
                  <a:lnTo>
                    <a:pt x="224470" y="207475"/>
                  </a:lnTo>
                  <a:lnTo>
                    <a:pt x="214105" y="214385"/>
                  </a:lnTo>
                  <a:lnTo>
                    <a:pt x="189921" y="217840"/>
                  </a:lnTo>
                  <a:lnTo>
                    <a:pt x="186467" y="204021"/>
                  </a:lnTo>
                  <a:lnTo>
                    <a:pt x="189921" y="197111"/>
                  </a:lnTo>
                  <a:lnTo>
                    <a:pt x="200286" y="193656"/>
                  </a:lnTo>
                  <a:lnTo>
                    <a:pt x="214105" y="190201"/>
                  </a:lnTo>
                  <a:lnTo>
                    <a:pt x="217559" y="169379"/>
                  </a:lnTo>
                  <a:lnTo>
                    <a:pt x="210650" y="155560"/>
                  </a:lnTo>
                  <a:lnTo>
                    <a:pt x="193376" y="138286"/>
                  </a:lnTo>
                  <a:lnTo>
                    <a:pt x="155373" y="117557"/>
                  </a:lnTo>
                  <a:lnTo>
                    <a:pt x="113915" y="107193"/>
                  </a:lnTo>
                  <a:lnTo>
                    <a:pt x="103645" y="96828"/>
                  </a:lnTo>
                  <a:lnTo>
                    <a:pt x="93280" y="93373"/>
                  </a:lnTo>
                  <a:lnTo>
                    <a:pt x="82915" y="69190"/>
                  </a:lnTo>
                  <a:lnTo>
                    <a:pt x="72551" y="72644"/>
                  </a:lnTo>
                  <a:lnTo>
                    <a:pt x="72551" y="83009"/>
                  </a:lnTo>
                  <a:lnTo>
                    <a:pt x="72551" y="100283"/>
                  </a:lnTo>
                  <a:lnTo>
                    <a:pt x="55277" y="96828"/>
                  </a:lnTo>
                  <a:lnTo>
                    <a:pt x="55277" y="79554"/>
                  </a:lnTo>
                  <a:lnTo>
                    <a:pt x="51822" y="69190"/>
                  </a:lnTo>
                  <a:lnTo>
                    <a:pt x="34548" y="65735"/>
                  </a:lnTo>
                  <a:lnTo>
                    <a:pt x="51822" y="55370"/>
                  </a:lnTo>
                  <a:lnTo>
                    <a:pt x="72551" y="58825"/>
                  </a:lnTo>
                  <a:lnTo>
                    <a:pt x="86370" y="55370"/>
                  </a:lnTo>
                  <a:lnTo>
                    <a:pt x="79461" y="41551"/>
                  </a:lnTo>
                  <a:lnTo>
                    <a:pt x="51822" y="41551"/>
                  </a:lnTo>
                  <a:lnTo>
                    <a:pt x="34548" y="45006"/>
                  </a:lnTo>
                  <a:lnTo>
                    <a:pt x="27639" y="27732"/>
                  </a:lnTo>
                  <a:lnTo>
                    <a:pt x="10364" y="27732"/>
                  </a:lnTo>
                  <a:lnTo>
                    <a:pt x="0" y="24277"/>
                  </a:lnTo>
                  <a:lnTo>
                    <a:pt x="3455" y="13913"/>
                  </a:lnTo>
                  <a:close/>
                </a:path>
              </a:pathLst>
            </a:custGeom>
            <a:solidFill>
              <a:srgbClr val="CEE3BF"/>
            </a:solidFill>
            <a:ln w="9334" cap="flat">
              <a:noFill/>
              <a:prstDash val="solid"/>
              <a:miter/>
            </a:ln>
          </p:spPr>
          <p:txBody>
            <a:bodyPr rtlCol="0" anchor="ctr"/>
            <a:lstStyle/>
            <a:p>
              <a:endParaRPr lang="en-GB" dirty="0"/>
            </a:p>
          </p:txBody>
        </p:sp>
        <p:sp>
          <p:nvSpPr>
            <p:cNvPr id="1182" name="Freeform: Shape 1181">
              <a:extLst>
                <a:ext uri="{FF2B5EF4-FFF2-40B4-BE49-F238E27FC236}">
                  <a16:creationId xmlns:a16="http://schemas.microsoft.com/office/drawing/2014/main" id="{A9109037-BB53-4602-A141-1BF26E8EB682}"/>
                </a:ext>
              </a:extLst>
            </p:cNvPr>
            <p:cNvSpPr/>
            <p:nvPr/>
          </p:nvSpPr>
          <p:spPr>
            <a:xfrm>
              <a:off x="9342609" y="4602307"/>
              <a:ext cx="82821" cy="27638"/>
            </a:xfrm>
            <a:custGeom>
              <a:avLst/>
              <a:gdLst>
                <a:gd name="connsiteX0" fmla="*/ 6910 w 82821"/>
                <a:gd name="connsiteY0" fmla="*/ 3455 h 27638"/>
                <a:gd name="connsiteX1" fmla="*/ 34548 w 82821"/>
                <a:gd name="connsiteY1" fmla="*/ 0 h 27638"/>
                <a:gd name="connsiteX2" fmla="*/ 65548 w 82821"/>
                <a:gd name="connsiteY2" fmla="*/ 3455 h 27638"/>
                <a:gd name="connsiteX3" fmla="*/ 82822 w 82821"/>
                <a:gd name="connsiteY3" fmla="*/ 17274 h 27638"/>
                <a:gd name="connsiteX4" fmla="*/ 79367 w 82821"/>
                <a:gd name="connsiteY4" fmla="*/ 27639 h 27638"/>
                <a:gd name="connsiteX5" fmla="*/ 58639 w 82821"/>
                <a:gd name="connsiteY5" fmla="*/ 20729 h 27638"/>
                <a:gd name="connsiteX6" fmla="*/ 41458 w 82821"/>
                <a:gd name="connsiteY6" fmla="*/ 17274 h 27638"/>
                <a:gd name="connsiteX7" fmla="*/ 20729 w 82821"/>
                <a:gd name="connsiteY7" fmla="*/ 17274 h 27638"/>
                <a:gd name="connsiteX8" fmla="*/ 13819 w 82821"/>
                <a:gd name="connsiteY8" fmla="*/ 24184 h 27638"/>
                <a:gd name="connsiteX9" fmla="*/ 3455 w 82821"/>
                <a:gd name="connsiteY9" fmla="*/ 24184 h 27638"/>
                <a:gd name="connsiteX10" fmla="*/ 0 w 82821"/>
                <a:gd name="connsiteY10" fmla="*/ 10365 h 27638"/>
                <a:gd name="connsiteX11" fmla="*/ 6910 w 82821"/>
                <a:gd name="connsiteY11" fmla="*/ 3455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821" h="27638">
                  <a:moveTo>
                    <a:pt x="6910" y="3455"/>
                  </a:moveTo>
                  <a:lnTo>
                    <a:pt x="34548" y="0"/>
                  </a:lnTo>
                  <a:lnTo>
                    <a:pt x="65548" y="3455"/>
                  </a:lnTo>
                  <a:lnTo>
                    <a:pt x="82822" y="17274"/>
                  </a:lnTo>
                  <a:lnTo>
                    <a:pt x="79367" y="27639"/>
                  </a:lnTo>
                  <a:lnTo>
                    <a:pt x="58639" y="20729"/>
                  </a:lnTo>
                  <a:lnTo>
                    <a:pt x="41458" y="17274"/>
                  </a:lnTo>
                  <a:lnTo>
                    <a:pt x="20729" y="17274"/>
                  </a:lnTo>
                  <a:lnTo>
                    <a:pt x="13819" y="24184"/>
                  </a:lnTo>
                  <a:lnTo>
                    <a:pt x="3455" y="24184"/>
                  </a:lnTo>
                  <a:lnTo>
                    <a:pt x="0" y="10365"/>
                  </a:lnTo>
                  <a:lnTo>
                    <a:pt x="6910" y="3455"/>
                  </a:lnTo>
                  <a:close/>
                </a:path>
              </a:pathLst>
            </a:custGeom>
            <a:solidFill>
              <a:srgbClr val="CEE3BF"/>
            </a:solidFill>
            <a:ln w="9334" cap="flat">
              <a:noFill/>
              <a:prstDash val="solid"/>
              <a:miter/>
            </a:ln>
          </p:spPr>
          <p:txBody>
            <a:bodyPr rtlCol="0" anchor="ctr"/>
            <a:lstStyle/>
            <a:p>
              <a:endParaRPr lang="en-GB" dirty="0"/>
            </a:p>
          </p:txBody>
        </p:sp>
        <p:sp>
          <p:nvSpPr>
            <p:cNvPr id="1183" name="Freeform: Shape 1182">
              <a:extLst>
                <a:ext uri="{FF2B5EF4-FFF2-40B4-BE49-F238E27FC236}">
                  <a16:creationId xmlns:a16="http://schemas.microsoft.com/office/drawing/2014/main" id="{12C07192-66A2-4172-B45E-862A1C1508DC}"/>
                </a:ext>
              </a:extLst>
            </p:cNvPr>
            <p:cNvSpPr/>
            <p:nvPr/>
          </p:nvSpPr>
          <p:spPr>
            <a:xfrm>
              <a:off x="9297697" y="4612671"/>
              <a:ext cx="31093" cy="17274"/>
            </a:xfrm>
            <a:custGeom>
              <a:avLst/>
              <a:gdLst>
                <a:gd name="connsiteX0" fmla="*/ 3455 w 31093"/>
                <a:gd name="connsiteY0" fmla="*/ 0 h 17274"/>
                <a:gd name="connsiteX1" fmla="*/ 20729 w 31093"/>
                <a:gd name="connsiteY1" fmla="*/ 0 h 17274"/>
                <a:gd name="connsiteX2" fmla="*/ 31093 w 31093"/>
                <a:gd name="connsiteY2" fmla="*/ 6910 h 17274"/>
                <a:gd name="connsiteX3" fmla="*/ 24184 w 31093"/>
                <a:gd name="connsiteY3" fmla="*/ 17274 h 17274"/>
                <a:gd name="connsiteX4" fmla="*/ 6910 w 31093"/>
                <a:gd name="connsiteY4" fmla="*/ 17274 h 17274"/>
                <a:gd name="connsiteX5" fmla="*/ 0 w 31093"/>
                <a:gd name="connsiteY5" fmla="*/ 10364 h 17274"/>
                <a:gd name="connsiteX6" fmla="*/ 3455 w 31093"/>
                <a:gd name="connsiteY6" fmla="*/ 0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93" h="17274">
                  <a:moveTo>
                    <a:pt x="3455" y="0"/>
                  </a:moveTo>
                  <a:lnTo>
                    <a:pt x="20729" y="0"/>
                  </a:lnTo>
                  <a:lnTo>
                    <a:pt x="31093" y="6910"/>
                  </a:lnTo>
                  <a:lnTo>
                    <a:pt x="24184" y="17274"/>
                  </a:lnTo>
                  <a:lnTo>
                    <a:pt x="6910" y="17274"/>
                  </a:lnTo>
                  <a:lnTo>
                    <a:pt x="0" y="10364"/>
                  </a:lnTo>
                  <a:lnTo>
                    <a:pt x="3455" y="0"/>
                  </a:lnTo>
                  <a:close/>
                </a:path>
              </a:pathLst>
            </a:custGeom>
            <a:solidFill>
              <a:srgbClr val="CEE3BF"/>
            </a:solidFill>
            <a:ln w="9334" cap="flat">
              <a:noFill/>
              <a:prstDash val="solid"/>
              <a:miter/>
            </a:ln>
          </p:spPr>
          <p:txBody>
            <a:bodyPr rtlCol="0" anchor="ctr"/>
            <a:lstStyle/>
            <a:p>
              <a:endParaRPr lang="en-GB" dirty="0"/>
            </a:p>
          </p:txBody>
        </p:sp>
        <p:sp>
          <p:nvSpPr>
            <p:cNvPr id="1184" name="Freeform: Shape 1183">
              <a:extLst>
                <a:ext uri="{FF2B5EF4-FFF2-40B4-BE49-F238E27FC236}">
                  <a16:creationId xmlns:a16="http://schemas.microsoft.com/office/drawing/2014/main" id="{FF04B262-D475-474A-A055-0548E8270535}"/>
                </a:ext>
              </a:extLst>
            </p:cNvPr>
            <p:cNvSpPr/>
            <p:nvPr/>
          </p:nvSpPr>
          <p:spPr>
            <a:xfrm>
              <a:off x="9332245" y="4470931"/>
              <a:ext cx="38002" cy="86463"/>
            </a:xfrm>
            <a:custGeom>
              <a:avLst/>
              <a:gdLst>
                <a:gd name="connsiteX0" fmla="*/ 0 w 38002"/>
                <a:gd name="connsiteY0" fmla="*/ 0 h 86463"/>
                <a:gd name="connsiteX1" fmla="*/ 10364 w 38002"/>
                <a:gd name="connsiteY1" fmla="*/ 3455 h 86463"/>
                <a:gd name="connsiteX2" fmla="*/ 13819 w 38002"/>
                <a:gd name="connsiteY2" fmla="*/ 17274 h 86463"/>
                <a:gd name="connsiteX3" fmla="*/ 13819 w 38002"/>
                <a:gd name="connsiteY3" fmla="*/ 24184 h 86463"/>
                <a:gd name="connsiteX4" fmla="*/ 24183 w 38002"/>
                <a:gd name="connsiteY4" fmla="*/ 10364 h 86463"/>
                <a:gd name="connsiteX5" fmla="*/ 34548 w 38002"/>
                <a:gd name="connsiteY5" fmla="*/ 6910 h 86463"/>
                <a:gd name="connsiteX6" fmla="*/ 38003 w 38002"/>
                <a:gd name="connsiteY6" fmla="*/ 24184 h 86463"/>
                <a:gd name="connsiteX7" fmla="*/ 27639 w 38002"/>
                <a:gd name="connsiteY7" fmla="*/ 27638 h 86463"/>
                <a:gd name="connsiteX8" fmla="*/ 24183 w 38002"/>
                <a:gd name="connsiteY8" fmla="*/ 34548 h 86463"/>
                <a:gd name="connsiteX9" fmla="*/ 31093 w 38002"/>
                <a:gd name="connsiteY9" fmla="*/ 38003 h 86463"/>
                <a:gd name="connsiteX10" fmla="*/ 34548 w 38002"/>
                <a:gd name="connsiteY10" fmla="*/ 44912 h 86463"/>
                <a:gd name="connsiteX11" fmla="*/ 13819 w 38002"/>
                <a:gd name="connsiteY11" fmla="*/ 44912 h 86463"/>
                <a:gd name="connsiteX12" fmla="*/ 13819 w 38002"/>
                <a:gd name="connsiteY12" fmla="*/ 51822 h 86463"/>
                <a:gd name="connsiteX13" fmla="*/ 17274 w 38002"/>
                <a:gd name="connsiteY13" fmla="*/ 65641 h 86463"/>
                <a:gd name="connsiteX14" fmla="*/ 27639 w 38002"/>
                <a:gd name="connsiteY14" fmla="*/ 76099 h 86463"/>
                <a:gd name="connsiteX15" fmla="*/ 31093 w 38002"/>
                <a:gd name="connsiteY15" fmla="*/ 79554 h 86463"/>
                <a:gd name="connsiteX16" fmla="*/ 31093 w 38002"/>
                <a:gd name="connsiteY16" fmla="*/ 83009 h 86463"/>
                <a:gd name="connsiteX17" fmla="*/ 27639 w 38002"/>
                <a:gd name="connsiteY17" fmla="*/ 86463 h 86463"/>
                <a:gd name="connsiteX18" fmla="*/ 20729 w 38002"/>
                <a:gd name="connsiteY18" fmla="*/ 86463 h 86463"/>
                <a:gd name="connsiteX19" fmla="*/ 13819 w 38002"/>
                <a:gd name="connsiteY19" fmla="*/ 83009 h 86463"/>
                <a:gd name="connsiteX20" fmla="*/ 10364 w 38002"/>
                <a:gd name="connsiteY20" fmla="*/ 79554 h 86463"/>
                <a:gd name="connsiteX21" fmla="*/ 3455 w 38002"/>
                <a:gd name="connsiteY21" fmla="*/ 55277 h 86463"/>
                <a:gd name="connsiteX22" fmla="*/ 0 w 38002"/>
                <a:gd name="connsiteY22" fmla="*/ 38003 h 86463"/>
                <a:gd name="connsiteX23" fmla="*/ 3455 w 38002"/>
                <a:gd name="connsiteY23" fmla="*/ 20729 h 86463"/>
                <a:gd name="connsiteX24" fmla="*/ 0 w 38002"/>
                <a:gd name="connsiteY24" fmla="*/ 0 h 8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002" h="86463">
                  <a:moveTo>
                    <a:pt x="0" y="0"/>
                  </a:moveTo>
                  <a:lnTo>
                    <a:pt x="10364" y="3455"/>
                  </a:lnTo>
                  <a:lnTo>
                    <a:pt x="13819" y="17274"/>
                  </a:lnTo>
                  <a:lnTo>
                    <a:pt x="13819" y="24184"/>
                  </a:lnTo>
                  <a:lnTo>
                    <a:pt x="24183" y="10364"/>
                  </a:lnTo>
                  <a:lnTo>
                    <a:pt x="34548" y="6910"/>
                  </a:lnTo>
                  <a:lnTo>
                    <a:pt x="38003" y="24184"/>
                  </a:lnTo>
                  <a:lnTo>
                    <a:pt x="27639" y="27638"/>
                  </a:lnTo>
                  <a:lnTo>
                    <a:pt x="24183" y="34548"/>
                  </a:lnTo>
                  <a:lnTo>
                    <a:pt x="31093" y="38003"/>
                  </a:lnTo>
                  <a:lnTo>
                    <a:pt x="34548" y="44912"/>
                  </a:lnTo>
                  <a:lnTo>
                    <a:pt x="13819" y="44912"/>
                  </a:lnTo>
                  <a:lnTo>
                    <a:pt x="13819" y="51822"/>
                  </a:lnTo>
                  <a:lnTo>
                    <a:pt x="17274" y="65641"/>
                  </a:lnTo>
                  <a:lnTo>
                    <a:pt x="27639" y="76099"/>
                  </a:lnTo>
                  <a:lnTo>
                    <a:pt x="31093" y="79554"/>
                  </a:lnTo>
                  <a:lnTo>
                    <a:pt x="31093" y="83009"/>
                  </a:lnTo>
                  <a:lnTo>
                    <a:pt x="27639" y="86463"/>
                  </a:lnTo>
                  <a:lnTo>
                    <a:pt x="20729" y="86463"/>
                  </a:lnTo>
                  <a:lnTo>
                    <a:pt x="13819" y="83009"/>
                  </a:lnTo>
                  <a:lnTo>
                    <a:pt x="10364" y="79554"/>
                  </a:lnTo>
                  <a:lnTo>
                    <a:pt x="3455" y="55277"/>
                  </a:lnTo>
                  <a:lnTo>
                    <a:pt x="0" y="38003"/>
                  </a:lnTo>
                  <a:lnTo>
                    <a:pt x="3455" y="20729"/>
                  </a:lnTo>
                  <a:lnTo>
                    <a:pt x="0" y="0"/>
                  </a:lnTo>
                  <a:close/>
                </a:path>
              </a:pathLst>
            </a:custGeom>
            <a:solidFill>
              <a:srgbClr val="CEE3BF"/>
            </a:solidFill>
            <a:ln w="9334" cap="flat">
              <a:noFill/>
              <a:prstDash val="solid"/>
              <a:miter/>
            </a:ln>
          </p:spPr>
          <p:txBody>
            <a:bodyPr rtlCol="0" anchor="ctr"/>
            <a:lstStyle/>
            <a:p>
              <a:endParaRPr lang="en-GB" dirty="0"/>
            </a:p>
          </p:txBody>
        </p:sp>
        <p:sp>
          <p:nvSpPr>
            <p:cNvPr id="1185" name="Freeform: Shape 1184">
              <a:extLst>
                <a:ext uri="{FF2B5EF4-FFF2-40B4-BE49-F238E27FC236}">
                  <a16:creationId xmlns:a16="http://schemas.microsoft.com/office/drawing/2014/main" id="{CC9661E0-ED23-4140-8D83-F8727E47D29A}"/>
                </a:ext>
              </a:extLst>
            </p:cNvPr>
            <p:cNvSpPr/>
            <p:nvPr/>
          </p:nvSpPr>
          <p:spPr>
            <a:xfrm>
              <a:off x="9701629" y="4598852"/>
              <a:ext cx="265833" cy="224655"/>
            </a:xfrm>
            <a:custGeom>
              <a:avLst/>
              <a:gdLst>
                <a:gd name="connsiteX0" fmla="*/ 0 w 265833"/>
                <a:gd name="connsiteY0" fmla="*/ 0 h 224655"/>
                <a:gd name="connsiteX1" fmla="*/ 24184 w 265833"/>
                <a:gd name="connsiteY1" fmla="*/ 6910 h 224655"/>
                <a:gd name="connsiteX2" fmla="*/ 55277 w 265833"/>
                <a:gd name="connsiteY2" fmla="*/ 17274 h 224655"/>
                <a:gd name="connsiteX3" fmla="*/ 86370 w 265833"/>
                <a:gd name="connsiteY3" fmla="*/ 31093 h 224655"/>
                <a:gd name="connsiteX4" fmla="*/ 113915 w 265833"/>
                <a:gd name="connsiteY4" fmla="*/ 48368 h 224655"/>
                <a:gd name="connsiteX5" fmla="*/ 127734 w 265833"/>
                <a:gd name="connsiteY5" fmla="*/ 65641 h 224655"/>
                <a:gd name="connsiteX6" fmla="*/ 145008 w 265833"/>
                <a:gd name="connsiteY6" fmla="*/ 76006 h 224655"/>
                <a:gd name="connsiteX7" fmla="*/ 172647 w 265833"/>
                <a:gd name="connsiteY7" fmla="*/ 89825 h 224655"/>
                <a:gd name="connsiteX8" fmla="*/ 186466 w 265833"/>
                <a:gd name="connsiteY8" fmla="*/ 100190 h 224655"/>
                <a:gd name="connsiteX9" fmla="*/ 186466 w 265833"/>
                <a:gd name="connsiteY9" fmla="*/ 107099 h 224655"/>
                <a:gd name="connsiteX10" fmla="*/ 189921 w 265833"/>
                <a:gd name="connsiteY10" fmla="*/ 110554 h 224655"/>
                <a:gd name="connsiteX11" fmla="*/ 186466 w 265833"/>
                <a:gd name="connsiteY11" fmla="*/ 114009 h 224655"/>
                <a:gd name="connsiteX12" fmla="*/ 162283 w 265833"/>
                <a:gd name="connsiteY12" fmla="*/ 114009 h 224655"/>
                <a:gd name="connsiteX13" fmla="*/ 172647 w 265833"/>
                <a:gd name="connsiteY13" fmla="*/ 124467 h 224655"/>
                <a:gd name="connsiteX14" fmla="*/ 189921 w 265833"/>
                <a:gd name="connsiteY14" fmla="*/ 148650 h 224655"/>
                <a:gd name="connsiteX15" fmla="*/ 214105 w 265833"/>
                <a:gd name="connsiteY15" fmla="*/ 176289 h 224655"/>
                <a:gd name="connsiteX16" fmla="*/ 224469 w 265833"/>
                <a:gd name="connsiteY16" fmla="*/ 183198 h 224655"/>
                <a:gd name="connsiteX17" fmla="*/ 238195 w 265833"/>
                <a:gd name="connsiteY17" fmla="*/ 197018 h 224655"/>
                <a:gd name="connsiteX18" fmla="*/ 265833 w 265833"/>
                <a:gd name="connsiteY18" fmla="*/ 214292 h 224655"/>
                <a:gd name="connsiteX19" fmla="*/ 262378 w 265833"/>
                <a:gd name="connsiteY19" fmla="*/ 224656 h 224655"/>
                <a:gd name="connsiteX20" fmla="*/ 234834 w 265833"/>
                <a:gd name="connsiteY20" fmla="*/ 210837 h 224655"/>
                <a:gd name="connsiteX21" fmla="*/ 214105 w 265833"/>
                <a:gd name="connsiteY21" fmla="*/ 207382 h 224655"/>
                <a:gd name="connsiteX22" fmla="*/ 179556 w 265833"/>
                <a:gd name="connsiteY22" fmla="*/ 203927 h 224655"/>
                <a:gd name="connsiteX23" fmla="*/ 162283 w 265833"/>
                <a:gd name="connsiteY23" fmla="*/ 183198 h 224655"/>
                <a:gd name="connsiteX24" fmla="*/ 145008 w 265833"/>
                <a:gd name="connsiteY24" fmla="*/ 159015 h 224655"/>
                <a:gd name="connsiteX25" fmla="*/ 124280 w 265833"/>
                <a:gd name="connsiteY25" fmla="*/ 145196 h 224655"/>
                <a:gd name="connsiteX26" fmla="*/ 103551 w 265833"/>
                <a:gd name="connsiteY26" fmla="*/ 131376 h 224655"/>
                <a:gd name="connsiteX27" fmla="*/ 79461 w 265833"/>
                <a:gd name="connsiteY27" fmla="*/ 121012 h 224655"/>
                <a:gd name="connsiteX28" fmla="*/ 79461 w 265833"/>
                <a:gd name="connsiteY28" fmla="*/ 138286 h 224655"/>
                <a:gd name="connsiteX29" fmla="*/ 72551 w 265833"/>
                <a:gd name="connsiteY29" fmla="*/ 148650 h 224655"/>
                <a:gd name="connsiteX30" fmla="*/ 48367 w 265833"/>
                <a:gd name="connsiteY30" fmla="*/ 152105 h 224655"/>
                <a:gd name="connsiteX31" fmla="*/ 51822 w 265833"/>
                <a:gd name="connsiteY31" fmla="*/ 165924 h 224655"/>
                <a:gd name="connsiteX32" fmla="*/ 65641 w 265833"/>
                <a:gd name="connsiteY32" fmla="*/ 172834 h 224655"/>
                <a:gd name="connsiteX33" fmla="*/ 55277 w 265833"/>
                <a:gd name="connsiteY33" fmla="*/ 183198 h 224655"/>
                <a:gd name="connsiteX34" fmla="*/ 31093 w 265833"/>
                <a:gd name="connsiteY34" fmla="*/ 176289 h 224655"/>
                <a:gd name="connsiteX35" fmla="*/ 13819 w 265833"/>
                <a:gd name="connsiteY35" fmla="*/ 176289 h 224655"/>
                <a:gd name="connsiteX36" fmla="*/ 0 w 265833"/>
                <a:gd name="connsiteY36" fmla="*/ 176289 h 224655"/>
                <a:gd name="connsiteX37" fmla="*/ 0 w 265833"/>
                <a:gd name="connsiteY37" fmla="*/ 0 h 224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5833" h="224655">
                  <a:moveTo>
                    <a:pt x="0" y="0"/>
                  </a:moveTo>
                  <a:lnTo>
                    <a:pt x="24184" y="6910"/>
                  </a:lnTo>
                  <a:lnTo>
                    <a:pt x="55277" y="17274"/>
                  </a:lnTo>
                  <a:lnTo>
                    <a:pt x="86370" y="31093"/>
                  </a:lnTo>
                  <a:lnTo>
                    <a:pt x="113915" y="48368"/>
                  </a:lnTo>
                  <a:lnTo>
                    <a:pt x="127734" y="65641"/>
                  </a:lnTo>
                  <a:lnTo>
                    <a:pt x="145008" y="76006"/>
                  </a:lnTo>
                  <a:lnTo>
                    <a:pt x="172647" y="89825"/>
                  </a:lnTo>
                  <a:lnTo>
                    <a:pt x="186466" y="100190"/>
                  </a:lnTo>
                  <a:lnTo>
                    <a:pt x="186466" y="107099"/>
                  </a:lnTo>
                  <a:lnTo>
                    <a:pt x="189921" y="110554"/>
                  </a:lnTo>
                  <a:lnTo>
                    <a:pt x="186466" y="114009"/>
                  </a:lnTo>
                  <a:lnTo>
                    <a:pt x="162283" y="114009"/>
                  </a:lnTo>
                  <a:lnTo>
                    <a:pt x="172647" y="124467"/>
                  </a:lnTo>
                  <a:lnTo>
                    <a:pt x="189921" y="148650"/>
                  </a:lnTo>
                  <a:lnTo>
                    <a:pt x="214105" y="176289"/>
                  </a:lnTo>
                  <a:lnTo>
                    <a:pt x="224469" y="183198"/>
                  </a:lnTo>
                  <a:lnTo>
                    <a:pt x="238195" y="197018"/>
                  </a:lnTo>
                  <a:lnTo>
                    <a:pt x="265833" y="214292"/>
                  </a:lnTo>
                  <a:lnTo>
                    <a:pt x="262378" y="224656"/>
                  </a:lnTo>
                  <a:lnTo>
                    <a:pt x="234834" y="210837"/>
                  </a:lnTo>
                  <a:lnTo>
                    <a:pt x="214105" y="207382"/>
                  </a:lnTo>
                  <a:lnTo>
                    <a:pt x="179556" y="203927"/>
                  </a:lnTo>
                  <a:lnTo>
                    <a:pt x="162283" y="183198"/>
                  </a:lnTo>
                  <a:lnTo>
                    <a:pt x="145008" y="159015"/>
                  </a:lnTo>
                  <a:lnTo>
                    <a:pt x="124280" y="145196"/>
                  </a:lnTo>
                  <a:lnTo>
                    <a:pt x="103551" y="131376"/>
                  </a:lnTo>
                  <a:lnTo>
                    <a:pt x="79461" y="121012"/>
                  </a:lnTo>
                  <a:lnTo>
                    <a:pt x="79461" y="138286"/>
                  </a:lnTo>
                  <a:lnTo>
                    <a:pt x="72551" y="148650"/>
                  </a:lnTo>
                  <a:lnTo>
                    <a:pt x="48367" y="152105"/>
                  </a:lnTo>
                  <a:lnTo>
                    <a:pt x="51822" y="165924"/>
                  </a:lnTo>
                  <a:lnTo>
                    <a:pt x="65641" y="172834"/>
                  </a:lnTo>
                  <a:lnTo>
                    <a:pt x="55277" y="183198"/>
                  </a:lnTo>
                  <a:lnTo>
                    <a:pt x="31093" y="176289"/>
                  </a:lnTo>
                  <a:lnTo>
                    <a:pt x="13819" y="176289"/>
                  </a:lnTo>
                  <a:lnTo>
                    <a:pt x="0" y="176289"/>
                  </a:lnTo>
                  <a:lnTo>
                    <a:pt x="0" y="0"/>
                  </a:lnTo>
                  <a:close/>
                </a:path>
              </a:pathLst>
            </a:custGeom>
            <a:solidFill>
              <a:srgbClr val="CEE3BF"/>
            </a:solidFill>
            <a:ln w="9334" cap="flat">
              <a:noFill/>
              <a:prstDash val="solid"/>
              <a:miter/>
            </a:ln>
          </p:spPr>
          <p:txBody>
            <a:bodyPr rtlCol="0" anchor="ctr"/>
            <a:lstStyle/>
            <a:p>
              <a:endParaRPr lang="en-GB" dirty="0"/>
            </a:p>
          </p:txBody>
        </p:sp>
        <p:sp>
          <p:nvSpPr>
            <p:cNvPr id="1186" name="Freeform: Shape 1185">
              <a:extLst>
                <a:ext uri="{FF2B5EF4-FFF2-40B4-BE49-F238E27FC236}">
                  <a16:creationId xmlns:a16="http://schemas.microsoft.com/office/drawing/2014/main" id="{28917786-E8BE-46ED-B2BD-0CC45D999B4D}"/>
                </a:ext>
              </a:extLst>
            </p:cNvPr>
            <p:cNvSpPr/>
            <p:nvPr/>
          </p:nvSpPr>
          <p:spPr>
            <a:xfrm>
              <a:off x="9915734" y="4640310"/>
              <a:ext cx="100096" cy="62186"/>
            </a:xfrm>
            <a:custGeom>
              <a:avLst/>
              <a:gdLst>
                <a:gd name="connsiteX0" fmla="*/ 0 w 100096"/>
                <a:gd name="connsiteY0" fmla="*/ 38003 h 62186"/>
                <a:gd name="connsiteX1" fmla="*/ 24184 w 100096"/>
                <a:gd name="connsiteY1" fmla="*/ 38003 h 62186"/>
                <a:gd name="connsiteX2" fmla="*/ 58639 w 100096"/>
                <a:gd name="connsiteY2" fmla="*/ 38003 h 62186"/>
                <a:gd name="connsiteX3" fmla="*/ 69003 w 100096"/>
                <a:gd name="connsiteY3" fmla="*/ 27638 h 62186"/>
                <a:gd name="connsiteX4" fmla="*/ 86277 w 100096"/>
                <a:gd name="connsiteY4" fmla="*/ 10365 h 62186"/>
                <a:gd name="connsiteX5" fmla="*/ 96641 w 100096"/>
                <a:gd name="connsiteY5" fmla="*/ 0 h 62186"/>
                <a:gd name="connsiteX6" fmla="*/ 100096 w 100096"/>
                <a:gd name="connsiteY6" fmla="*/ 17274 h 62186"/>
                <a:gd name="connsiteX7" fmla="*/ 93186 w 100096"/>
                <a:gd name="connsiteY7" fmla="*/ 31093 h 62186"/>
                <a:gd name="connsiteX8" fmla="*/ 79367 w 100096"/>
                <a:gd name="connsiteY8" fmla="*/ 38003 h 62186"/>
                <a:gd name="connsiteX9" fmla="*/ 65548 w 100096"/>
                <a:gd name="connsiteY9" fmla="*/ 48367 h 62186"/>
                <a:gd name="connsiteX10" fmla="*/ 55184 w 100096"/>
                <a:gd name="connsiteY10" fmla="*/ 58732 h 62186"/>
                <a:gd name="connsiteX11" fmla="*/ 34455 w 100096"/>
                <a:gd name="connsiteY11" fmla="*/ 62187 h 62186"/>
                <a:gd name="connsiteX12" fmla="*/ 10364 w 100096"/>
                <a:gd name="connsiteY12" fmla="*/ 55277 h 62186"/>
                <a:gd name="connsiteX13" fmla="*/ 0 w 100096"/>
                <a:gd name="connsiteY13" fmla="*/ 48367 h 62186"/>
                <a:gd name="connsiteX14" fmla="*/ 0 w 100096"/>
                <a:gd name="connsiteY14" fmla="*/ 38003 h 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96" h="62186">
                  <a:moveTo>
                    <a:pt x="0" y="38003"/>
                  </a:moveTo>
                  <a:lnTo>
                    <a:pt x="24184" y="38003"/>
                  </a:lnTo>
                  <a:lnTo>
                    <a:pt x="58639" y="38003"/>
                  </a:lnTo>
                  <a:lnTo>
                    <a:pt x="69003" y="27638"/>
                  </a:lnTo>
                  <a:lnTo>
                    <a:pt x="86277" y="10365"/>
                  </a:lnTo>
                  <a:lnTo>
                    <a:pt x="96641" y="0"/>
                  </a:lnTo>
                  <a:lnTo>
                    <a:pt x="100096" y="17274"/>
                  </a:lnTo>
                  <a:lnTo>
                    <a:pt x="93186" y="31093"/>
                  </a:lnTo>
                  <a:lnTo>
                    <a:pt x="79367" y="38003"/>
                  </a:lnTo>
                  <a:lnTo>
                    <a:pt x="65548" y="48367"/>
                  </a:lnTo>
                  <a:lnTo>
                    <a:pt x="55184" y="58732"/>
                  </a:lnTo>
                  <a:lnTo>
                    <a:pt x="34455" y="62187"/>
                  </a:lnTo>
                  <a:lnTo>
                    <a:pt x="10364" y="55277"/>
                  </a:lnTo>
                  <a:lnTo>
                    <a:pt x="0" y="48367"/>
                  </a:lnTo>
                  <a:lnTo>
                    <a:pt x="0" y="38003"/>
                  </a:lnTo>
                  <a:close/>
                </a:path>
              </a:pathLst>
            </a:custGeom>
            <a:solidFill>
              <a:srgbClr val="CEE3BF"/>
            </a:solidFill>
            <a:ln w="9334" cap="flat">
              <a:noFill/>
              <a:prstDash val="solid"/>
              <a:miter/>
            </a:ln>
          </p:spPr>
          <p:txBody>
            <a:bodyPr rtlCol="0" anchor="ctr"/>
            <a:lstStyle/>
            <a:p>
              <a:endParaRPr lang="en-GB" dirty="0"/>
            </a:p>
          </p:txBody>
        </p:sp>
        <p:sp>
          <p:nvSpPr>
            <p:cNvPr id="1187" name="Freeform: Shape 1186">
              <a:extLst>
                <a:ext uri="{FF2B5EF4-FFF2-40B4-BE49-F238E27FC236}">
                  <a16:creationId xmlns:a16="http://schemas.microsoft.com/office/drawing/2014/main" id="{8890590F-C5B6-4CA8-BF48-E65BD28F2B7B}"/>
                </a:ext>
              </a:extLst>
            </p:cNvPr>
            <p:cNvSpPr/>
            <p:nvPr/>
          </p:nvSpPr>
          <p:spPr>
            <a:xfrm>
              <a:off x="10074562" y="4671403"/>
              <a:ext cx="37909" cy="48460"/>
            </a:xfrm>
            <a:custGeom>
              <a:avLst/>
              <a:gdLst>
                <a:gd name="connsiteX0" fmla="*/ 0 w 37909"/>
                <a:gd name="connsiteY0" fmla="*/ 0 h 48460"/>
                <a:gd name="connsiteX1" fmla="*/ 17180 w 37909"/>
                <a:gd name="connsiteY1" fmla="*/ 10364 h 48460"/>
                <a:gd name="connsiteX2" fmla="*/ 34455 w 37909"/>
                <a:gd name="connsiteY2" fmla="*/ 27638 h 48460"/>
                <a:gd name="connsiteX3" fmla="*/ 37909 w 37909"/>
                <a:gd name="connsiteY3" fmla="*/ 48461 h 48460"/>
                <a:gd name="connsiteX4" fmla="*/ 20636 w 37909"/>
                <a:gd name="connsiteY4" fmla="*/ 38003 h 48460"/>
                <a:gd name="connsiteX5" fmla="*/ 13726 w 37909"/>
                <a:gd name="connsiteY5" fmla="*/ 24184 h 48460"/>
                <a:gd name="connsiteX6" fmla="*/ 3361 w 37909"/>
                <a:gd name="connsiteY6" fmla="*/ 13819 h 48460"/>
                <a:gd name="connsiteX7" fmla="*/ 0 w 37909"/>
                <a:gd name="connsiteY7" fmla="*/ 0 h 4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09" h="48460">
                  <a:moveTo>
                    <a:pt x="0" y="0"/>
                  </a:moveTo>
                  <a:lnTo>
                    <a:pt x="17180" y="10364"/>
                  </a:lnTo>
                  <a:lnTo>
                    <a:pt x="34455" y="27638"/>
                  </a:lnTo>
                  <a:lnTo>
                    <a:pt x="37909" y="48461"/>
                  </a:lnTo>
                  <a:lnTo>
                    <a:pt x="20636" y="38003"/>
                  </a:lnTo>
                  <a:lnTo>
                    <a:pt x="13726" y="24184"/>
                  </a:lnTo>
                  <a:lnTo>
                    <a:pt x="3361" y="13819"/>
                  </a:lnTo>
                  <a:lnTo>
                    <a:pt x="0" y="0"/>
                  </a:lnTo>
                  <a:close/>
                </a:path>
              </a:pathLst>
            </a:custGeom>
            <a:solidFill>
              <a:srgbClr val="CEE3BF"/>
            </a:solidFill>
            <a:ln w="9334" cap="flat">
              <a:noFill/>
              <a:prstDash val="solid"/>
              <a:miter/>
            </a:ln>
          </p:spPr>
          <p:txBody>
            <a:bodyPr rtlCol="0" anchor="ctr"/>
            <a:lstStyle/>
            <a:p>
              <a:endParaRPr lang="en-GB" dirty="0"/>
            </a:p>
          </p:txBody>
        </p:sp>
        <p:sp>
          <p:nvSpPr>
            <p:cNvPr id="1188" name="Freeform: Shape 1187">
              <a:extLst>
                <a:ext uri="{FF2B5EF4-FFF2-40B4-BE49-F238E27FC236}">
                  <a16:creationId xmlns:a16="http://schemas.microsoft.com/office/drawing/2014/main" id="{216A4246-D032-44FE-9E57-AAD1D212120E}"/>
                </a:ext>
              </a:extLst>
            </p:cNvPr>
            <p:cNvSpPr/>
            <p:nvPr/>
          </p:nvSpPr>
          <p:spPr>
            <a:xfrm>
              <a:off x="10209112" y="4782050"/>
              <a:ext cx="34548" cy="20728"/>
            </a:xfrm>
            <a:custGeom>
              <a:avLst/>
              <a:gdLst>
                <a:gd name="connsiteX0" fmla="*/ 6910 w 34548"/>
                <a:gd name="connsiteY0" fmla="*/ 0 h 20728"/>
                <a:gd name="connsiteX1" fmla="*/ 17274 w 34548"/>
                <a:gd name="connsiteY1" fmla="*/ 0 h 20728"/>
                <a:gd name="connsiteX2" fmla="*/ 34548 w 34548"/>
                <a:gd name="connsiteY2" fmla="*/ 13819 h 20728"/>
                <a:gd name="connsiteX3" fmla="*/ 34548 w 34548"/>
                <a:gd name="connsiteY3" fmla="*/ 17274 h 20728"/>
                <a:gd name="connsiteX4" fmla="*/ 34548 w 34548"/>
                <a:gd name="connsiteY4" fmla="*/ 20729 h 20728"/>
                <a:gd name="connsiteX5" fmla="*/ 31093 w 34548"/>
                <a:gd name="connsiteY5" fmla="*/ 20729 h 20728"/>
                <a:gd name="connsiteX6" fmla="*/ 6910 w 34548"/>
                <a:gd name="connsiteY6" fmla="*/ 17274 h 20728"/>
                <a:gd name="connsiteX7" fmla="*/ 0 w 34548"/>
                <a:gd name="connsiteY7" fmla="*/ 6910 h 20728"/>
                <a:gd name="connsiteX8" fmla="*/ 6910 w 34548"/>
                <a:gd name="connsiteY8" fmla="*/ 0 h 2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48" h="20728">
                  <a:moveTo>
                    <a:pt x="6910" y="0"/>
                  </a:moveTo>
                  <a:lnTo>
                    <a:pt x="17274" y="0"/>
                  </a:lnTo>
                  <a:lnTo>
                    <a:pt x="34548" y="13819"/>
                  </a:lnTo>
                  <a:lnTo>
                    <a:pt x="34548" y="17274"/>
                  </a:lnTo>
                  <a:lnTo>
                    <a:pt x="34548" y="20729"/>
                  </a:lnTo>
                  <a:lnTo>
                    <a:pt x="31093" y="20729"/>
                  </a:lnTo>
                  <a:lnTo>
                    <a:pt x="6910" y="17274"/>
                  </a:lnTo>
                  <a:lnTo>
                    <a:pt x="0" y="6910"/>
                  </a:lnTo>
                  <a:lnTo>
                    <a:pt x="6910" y="0"/>
                  </a:lnTo>
                  <a:close/>
                </a:path>
              </a:pathLst>
            </a:custGeom>
            <a:solidFill>
              <a:srgbClr val="CEE3BF"/>
            </a:solidFill>
            <a:ln w="9334" cap="flat">
              <a:noFill/>
              <a:prstDash val="solid"/>
              <a:miter/>
            </a:ln>
          </p:spPr>
          <p:txBody>
            <a:bodyPr rtlCol="0" anchor="ctr"/>
            <a:lstStyle/>
            <a:p>
              <a:endParaRPr lang="en-GB" dirty="0"/>
            </a:p>
          </p:txBody>
        </p:sp>
        <p:sp>
          <p:nvSpPr>
            <p:cNvPr id="1189" name="Freeform: Shape 1188">
              <a:extLst>
                <a:ext uri="{FF2B5EF4-FFF2-40B4-BE49-F238E27FC236}">
                  <a16:creationId xmlns:a16="http://schemas.microsoft.com/office/drawing/2014/main" id="{16E90120-82D6-49F3-AFAB-2B14FE57E098}"/>
                </a:ext>
              </a:extLst>
            </p:cNvPr>
            <p:cNvSpPr/>
            <p:nvPr/>
          </p:nvSpPr>
          <p:spPr>
            <a:xfrm>
              <a:off x="10236751" y="4754412"/>
              <a:ext cx="27638" cy="34548"/>
            </a:xfrm>
            <a:custGeom>
              <a:avLst/>
              <a:gdLst>
                <a:gd name="connsiteX0" fmla="*/ 0 w 27638"/>
                <a:gd name="connsiteY0" fmla="*/ 0 h 34548"/>
                <a:gd name="connsiteX1" fmla="*/ 3455 w 27638"/>
                <a:gd name="connsiteY1" fmla="*/ 13819 h 34548"/>
                <a:gd name="connsiteX2" fmla="*/ 10364 w 27638"/>
                <a:gd name="connsiteY2" fmla="*/ 31093 h 34548"/>
                <a:gd name="connsiteX3" fmla="*/ 27639 w 27638"/>
                <a:gd name="connsiteY3" fmla="*/ 34548 h 34548"/>
                <a:gd name="connsiteX4" fmla="*/ 24184 w 27638"/>
                <a:gd name="connsiteY4" fmla="*/ 13819 h 34548"/>
                <a:gd name="connsiteX5" fmla="*/ 13819 w 27638"/>
                <a:gd name="connsiteY5" fmla="*/ 6910 h 34548"/>
                <a:gd name="connsiteX6" fmla="*/ 0 w 27638"/>
                <a:gd name="connsiteY6" fmla="*/ 0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8" h="34548">
                  <a:moveTo>
                    <a:pt x="0" y="0"/>
                  </a:moveTo>
                  <a:lnTo>
                    <a:pt x="3455" y="13819"/>
                  </a:lnTo>
                  <a:lnTo>
                    <a:pt x="10364" y="31093"/>
                  </a:lnTo>
                  <a:lnTo>
                    <a:pt x="27639" y="34548"/>
                  </a:lnTo>
                  <a:lnTo>
                    <a:pt x="24184" y="13819"/>
                  </a:lnTo>
                  <a:lnTo>
                    <a:pt x="13819" y="6910"/>
                  </a:lnTo>
                  <a:lnTo>
                    <a:pt x="0" y="0"/>
                  </a:lnTo>
                  <a:close/>
                </a:path>
              </a:pathLst>
            </a:custGeom>
            <a:solidFill>
              <a:srgbClr val="CEE3BF"/>
            </a:solidFill>
            <a:ln w="9334" cap="flat">
              <a:noFill/>
              <a:prstDash val="solid"/>
              <a:miter/>
            </a:ln>
          </p:spPr>
          <p:txBody>
            <a:bodyPr rtlCol="0" anchor="ctr"/>
            <a:lstStyle/>
            <a:p>
              <a:endParaRPr lang="en-GB" dirty="0"/>
            </a:p>
          </p:txBody>
        </p:sp>
        <p:sp>
          <p:nvSpPr>
            <p:cNvPr id="1190" name="Freeform: Shape 1189">
              <a:extLst>
                <a:ext uri="{FF2B5EF4-FFF2-40B4-BE49-F238E27FC236}">
                  <a16:creationId xmlns:a16="http://schemas.microsoft.com/office/drawing/2014/main" id="{6AC79558-66D7-4AF7-9F1F-D33353D2DFFE}"/>
                </a:ext>
              </a:extLst>
            </p:cNvPr>
            <p:cNvSpPr/>
            <p:nvPr/>
          </p:nvSpPr>
          <p:spPr>
            <a:xfrm>
              <a:off x="10260935" y="4809689"/>
              <a:ext cx="24183" cy="17274"/>
            </a:xfrm>
            <a:custGeom>
              <a:avLst/>
              <a:gdLst>
                <a:gd name="connsiteX0" fmla="*/ 0 w 24183"/>
                <a:gd name="connsiteY0" fmla="*/ 3455 h 17274"/>
                <a:gd name="connsiteX1" fmla="*/ 10364 w 24183"/>
                <a:gd name="connsiteY1" fmla="*/ 0 h 17274"/>
                <a:gd name="connsiteX2" fmla="*/ 24183 w 24183"/>
                <a:gd name="connsiteY2" fmla="*/ 6910 h 17274"/>
                <a:gd name="connsiteX3" fmla="*/ 24183 w 24183"/>
                <a:gd name="connsiteY3" fmla="*/ 17274 h 17274"/>
                <a:gd name="connsiteX4" fmla="*/ 10364 w 24183"/>
                <a:gd name="connsiteY4" fmla="*/ 13819 h 17274"/>
                <a:gd name="connsiteX5" fmla="*/ 0 w 24183"/>
                <a:gd name="connsiteY5" fmla="*/ 3455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83" h="17274">
                  <a:moveTo>
                    <a:pt x="0" y="3455"/>
                  </a:moveTo>
                  <a:lnTo>
                    <a:pt x="10364" y="0"/>
                  </a:lnTo>
                  <a:lnTo>
                    <a:pt x="24183" y="6910"/>
                  </a:lnTo>
                  <a:lnTo>
                    <a:pt x="24183" y="17274"/>
                  </a:lnTo>
                  <a:lnTo>
                    <a:pt x="10364" y="13819"/>
                  </a:lnTo>
                  <a:lnTo>
                    <a:pt x="0" y="3455"/>
                  </a:lnTo>
                  <a:close/>
                </a:path>
              </a:pathLst>
            </a:custGeom>
            <a:solidFill>
              <a:srgbClr val="CEE3BF"/>
            </a:solidFill>
            <a:ln w="9334" cap="flat">
              <a:noFill/>
              <a:prstDash val="solid"/>
              <a:miter/>
            </a:ln>
          </p:spPr>
          <p:txBody>
            <a:bodyPr rtlCol="0" anchor="ctr"/>
            <a:lstStyle/>
            <a:p>
              <a:endParaRPr lang="en-GB" dirty="0"/>
            </a:p>
          </p:txBody>
        </p:sp>
        <p:sp>
          <p:nvSpPr>
            <p:cNvPr id="1191" name="Freeform: Shape 1190">
              <a:extLst>
                <a:ext uri="{FF2B5EF4-FFF2-40B4-BE49-F238E27FC236}">
                  <a16:creationId xmlns:a16="http://schemas.microsoft.com/office/drawing/2014/main" id="{4B68656E-AF1B-4EA3-A1F2-BC0875320E2D}"/>
                </a:ext>
              </a:extLst>
            </p:cNvPr>
            <p:cNvSpPr/>
            <p:nvPr/>
          </p:nvSpPr>
          <p:spPr>
            <a:xfrm>
              <a:off x="10260935" y="4809689"/>
              <a:ext cx="24183" cy="17274"/>
            </a:xfrm>
            <a:custGeom>
              <a:avLst/>
              <a:gdLst>
                <a:gd name="connsiteX0" fmla="*/ 0 w 24183"/>
                <a:gd name="connsiteY0" fmla="*/ 3455 h 17274"/>
                <a:gd name="connsiteX1" fmla="*/ 10364 w 24183"/>
                <a:gd name="connsiteY1" fmla="*/ 0 h 17274"/>
                <a:gd name="connsiteX2" fmla="*/ 24183 w 24183"/>
                <a:gd name="connsiteY2" fmla="*/ 6910 h 17274"/>
                <a:gd name="connsiteX3" fmla="*/ 24183 w 24183"/>
                <a:gd name="connsiteY3" fmla="*/ 17274 h 17274"/>
                <a:gd name="connsiteX4" fmla="*/ 10364 w 24183"/>
                <a:gd name="connsiteY4" fmla="*/ 13819 h 17274"/>
                <a:gd name="connsiteX5" fmla="*/ 0 w 24183"/>
                <a:gd name="connsiteY5" fmla="*/ 3455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83" h="17274">
                  <a:moveTo>
                    <a:pt x="0" y="3455"/>
                  </a:moveTo>
                  <a:lnTo>
                    <a:pt x="10364" y="0"/>
                  </a:lnTo>
                  <a:lnTo>
                    <a:pt x="24183" y="6910"/>
                  </a:lnTo>
                  <a:lnTo>
                    <a:pt x="24183" y="17274"/>
                  </a:lnTo>
                  <a:lnTo>
                    <a:pt x="10364" y="13819"/>
                  </a:lnTo>
                  <a:lnTo>
                    <a:pt x="0" y="3455"/>
                  </a:lnTo>
                  <a:close/>
                </a:path>
              </a:pathLst>
            </a:custGeom>
            <a:solidFill>
              <a:srgbClr val="CEE3BF"/>
            </a:solidFill>
            <a:ln w="9334" cap="flat">
              <a:noFill/>
              <a:prstDash val="solid"/>
              <a:miter/>
            </a:ln>
          </p:spPr>
          <p:txBody>
            <a:bodyPr rtlCol="0" anchor="ctr"/>
            <a:lstStyle/>
            <a:p>
              <a:endParaRPr lang="en-GB" dirty="0"/>
            </a:p>
          </p:txBody>
        </p:sp>
        <p:sp>
          <p:nvSpPr>
            <p:cNvPr id="1192" name="Freeform: Shape 1191">
              <a:extLst>
                <a:ext uri="{FF2B5EF4-FFF2-40B4-BE49-F238E27FC236}">
                  <a16:creationId xmlns:a16="http://schemas.microsoft.com/office/drawing/2014/main" id="{B1A83027-F318-4174-9CA0-9E35EF13C2E6}"/>
                </a:ext>
              </a:extLst>
            </p:cNvPr>
            <p:cNvSpPr/>
            <p:nvPr/>
          </p:nvSpPr>
          <p:spPr>
            <a:xfrm>
              <a:off x="10336847" y="5089715"/>
              <a:ext cx="76005" cy="62186"/>
            </a:xfrm>
            <a:custGeom>
              <a:avLst/>
              <a:gdLst>
                <a:gd name="connsiteX0" fmla="*/ 0 w 76005"/>
                <a:gd name="connsiteY0" fmla="*/ 0 h 62186"/>
                <a:gd name="connsiteX1" fmla="*/ 24184 w 76005"/>
                <a:gd name="connsiteY1" fmla="*/ 10365 h 62186"/>
                <a:gd name="connsiteX2" fmla="*/ 41458 w 76005"/>
                <a:gd name="connsiteY2" fmla="*/ 31093 h 62186"/>
                <a:gd name="connsiteX3" fmla="*/ 58732 w 76005"/>
                <a:gd name="connsiteY3" fmla="*/ 41458 h 62186"/>
                <a:gd name="connsiteX4" fmla="*/ 76006 w 76005"/>
                <a:gd name="connsiteY4" fmla="*/ 55277 h 62186"/>
                <a:gd name="connsiteX5" fmla="*/ 72551 w 76005"/>
                <a:gd name="connsiteY5" fmla="*/ 62187 h 62186"/>
                <a:gd name="connsiteX6" fmla="*/ 51823 w 76005"/>
                <a:gd name="connsiteY6" fmla="*/ 48367 h 62186"/>
                <a:gd name="connsiteX7" fmla="*/ 34548 w 76005"/>
                <a:gd name="connsiteY7" fmla="*/ 34548 h 62186"/>
                <a:gd name="connsiteX8" fmla="*/ 17274 w 76005"/>
                <a:gd name="connsiteY8" fmla="*/ 20729 h 62186"/>
                <a:gd name="connsiteX9" fmla="*/ 3455 w 76005"/>
                <a:gd name="connsiteY9" fmla="*/ 13819 h 62186"/>
                <a:gd name="connsiteX10" fmla="*/ 0 w 76005"/>
                <a:gd name="connsiteY10" fmla="*/ 0 h 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005" h="62186">
                  <a:moveTo>
                    <a:pt x="0" y="0"/>
                  </a:moveTo>
                  <a:lnTo>
                    <a:pt x="24184" y="10365"/>
                  </a:lnTo>
                  <a:lnTo>
                    <a:pt x="41458" y="31093"/>
                  </a:lnTo>
                  <a:lnTo>
                    <a:pt x="58732" y="41458"/>
                  </a:lnTo>
                  <a:lnTo>
                    <a:pt x="76006" y="55277"/>
                  </a:lnTo>
                  <a:lnTo>
                    <a:pt x="72551" y="62187"/>
                  </a:lnTo>
                  <a:lnTo>
                    <a:pt x="51823" y="48367"/>
                  </a:lnTo>
                  <a:lnTo>
                    <a:pt x="34548" y="34548"/>
                  </a:lnTo>
                  <a:lnTo>
                    <a:pt x="17274" y="20729"/>
                  </a:lnTo>
                  <a:lnTo>
                    <a:pt x="3455" y="13819"/>
                  </a:lnTo>
                  <a:lnTo>
                    <a:pt x="0" y="0"/>
                  </a:lnTo>
                  <a:close/>
                </a:path>
              </a:pathLst>
            </a:custGeom>
            <a:solidFill>
              <a:srgbClr val="CEE3BF"/>
            </a:solidFill>
            <a:ln w="9334" cap="flat">
              <a:noFill/>
              <a:prstDash val="solid"/>
              <a:miter/>
            </a:ln>
          </p:spPr>
          <p:txBody>
            <a:bodyPr rtlCol="0" anchor="ctr"/>
            <a:lstStyle/>
            <a:p>
              <a:endParaRPr lang="en-GB" dirty="0"/>
            </a:p>
          </p:txBody>
        </p:sp>
        <p:sp>
          <p:nvSpPr>
            <p:cNvPr id="1193" name="Freeform: Shape 1192">
              <a:extLst>
                <a:ext uri="{FF2B5EF4-FFF2-40B4-BE49-F238E27FC236}">
                  <a16:creationId xmlns:a16="http://schemas.microsoft.com/office/drawing/2014/main" id="{831204D8-9960-466B-BE57-E47F1F01A192}"/>
                </a:ext>
              </a:extLst>
            </p:cNvPr>
            <p:cNvSpPr/>
            <p:nvPr/>
          </p:nvSpPr>
          <p:spPr>
            <a:xfrm>
              <a:off x="9121688" y="4014616"/>
              <a:ext cx="120824" cy="165924"/>
            </a:xfrm>
            <a:custGeom>
              <a:avLst/>
              <a:gdLst>
                <a:gd name="connsiteX0" fmla="*/ 6910 w 120824"/>
                <a:gd name="connsiteY0" fmla="*/ 100283 h 165924"/>
                <a:gd name="connsiteX1" fmla="*/ 24090 w 120824"/>
                <a:gd name="connsiteY1" fmla="*/ 110647 h 165924"/>
                <a:gd name="connsiteX2" fmla="*/ 27545 w 120824"/>
                <a:gd name="connsiteY2" fmla="*/ 131376 h 165924"/>
                <a:gd name="connsiteX3" fmla="*/ 41364 w 120824"/>
                <a:gd name="connsiteY3" fmla="*/ 134831 h 165924"/>
                <a:gd name="connsiteX4" fmla="*/ 51729 w 120824"/>
                <a:gd name="connsiteY4" fmla="*/ 124466 h 165924"/>
                <a:gd name="connsiteX5" fmla="*/ 65548 w 120824"/>
                <a:gd name="connsiteY5" fmla="*/ 127921 h 165924"/>
                <a:gd name="connsiteX6" fmla="*/ 69002 w 120824"/>
                <a:gd name="connsiteY6" fmla="*/ 141740 h 165924"/>
                <a:gd name="connsiteX7" fmla="*/ 82822 w 120824"/>
                <a:gd name="connsiteY7" fmla="*/ 138286 h 165924"/>
                <a:gd name="connsiteX8" fmla="*/ 89732 w 120824"/>
                <a:gd name="connsiteY8" fmla="*/ 145195 h 165924"/>
                <a:gd name="connsiteX9" fmla="*/ 107005 w 120824"/>
                <a:gd name="connsiteY9" fmla="*/ 155560 h 165924"/>
                <a:gd name="connsiteX10" fmla="*/ 113915 w 120824"/>
                <a:gd name="connsiteY10" fmla="*/ 165924 h 165924"/>
                <a:gd name="connsiteX11" fmla="*/ 120825 w 120824"/>
                <a:gd name="connsiteY11" fmla="*/ 155560 h 165924"/>
                <a:gd name="connsiteX12" fmla="*/ 107005 w 120824"/>
                <a:gd name="connsiteY12" fmla="*/ 145195 h 165924"/>
                <a:gd name="connsiteX13" fmla="*/ 107005 w 120824"/>
                <a:gd name="connsiteY13" fmla="*/ 134831 h 165924"/>
                <a:gd name="connsiteX14" fmla="*/ 100096 w 120824"/>
                <a:gd name="connsiteY14" fmla="*/ 124466 h 165924"/>
                <a:gd name="connsiteX15" fmla="*/ 86277 w 120824"/>
                <a:gd name="connsiteY15" fmla="*/ 124466 h 165924"/>
                <a:gd name="connsiteX16" fmla="*/ 79367 w 120824"/>
                <a:gd name="connsiteY16" fmla="*/ 117557 h 165924"/>
                <a:gd name="connsiteX17" fmla="*/ 69002 w 120824"/>
                <a:gd name="connsiteY17" fmla="*/ 121012 h 165924"/>
                <a:gd name="connsiteX18" fmla="*/ 55183 w 120824"/>
                <a:gd name="connsiteY18" fmla="*/ 114102 h 165924"/>
                <a:gd name="connsiteX19" fmla="*/ 48274 w 120824"/>
                <a:gd name="connsiteY19" fmla="*/ 107192 h 165924"/>
                <a:gd name="connsiteX20" fmla="*/ 44819 w 120824"/>
                <a:gd name="connsiteY20" fmla="*/ 93373 h 165924"/>
                <a:gd name="connsiteX21" fmla="*/ 48274 w 120824"/>
                <a:gd name="connsiteY21" fmla="*/ 72644 h 165924"/>
                <a:gd name="connsiteX22" fmla="*/ 58638 w 120824"/>
                <a:gd name="connsiteY22" fmla="*/ 69189 h 165924"/>
                <a:gd name="connsiteX23" fmla="*/ 69002 w 120824"/>
                <a:gd name="connsiteY23" fmla="*/ 45006 h 165924"/>
                <a:gd name="connsiteX24" fmla="*/ 65548 w 120824"/>
                <a:gd name="connsiteY24" fmla="*/ 24184 h 165924"/>
                <a:gd name="connsiteX25" fmla="*/ 65548 w 120824"/>
                <a:gd name="connsiteY25" fmla="*/ 6910 h 165924"/>
                <a:gd name="connsiteX26" fmla="*/ 48274 w 120824"/>
                <a:gd name="connsiteY26" fmla="*/ 3455 h 165924"/>
                <a:gd name="connsiteX27" fmla="*/ 20635 w 120824"/>
                <a:gd name="connsiteY27" fmla="*/ 0 h 165924"/>
                <a:gd name="connsiteX28" fmla="*/ 17180 w 120824"/>
                <a:gd name="connsiteY28" fmla="*/ 27638 h 165924"/>
                <a:gd name="connsiteX29" fmla="*/ 17180 w 120824"/>
                <a:gd name="connsiteY29" fmla="*/ 48460 h 165924"/>
                <a:gd name="connsiteX30" fmla="*/ 20635 w 120824"/>
                <a:gd name="connsiteY30" fmla="*/ 62280 h 165924"/>
                <a:gd name="connsiteX31" fmla="*/ 0 w 120824"/>
                <a:gd name="connsiteY31" fmla="*/ 65735 h 165924"/>
                <a:gd name="connsiteX32" fmla="*/ 3455 w 120824"/>
                <a:gd name="connsiteY32" fmla="*/ 76099 h 165924"/>
                <a:gd name="connsiteX33" fmla="*/ 6910 w 120824"/>
                <a:gd name="connsiteY33" fmla="*/ 83009 h 165924"/>
                <a:gd name="connsiteX34" fmla="*/ 6910 w 120824"/>
                <a:gd name="connsiteY34" fmla="*/ 100283 h 16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0824" h="165924">
                  <a:moveTo>
                    <a:pt x="6910" y="100283"/>
                  </a:moveTo>
                  <a:lnTo>
                    <a:pt x="24090" y="110647"/>
                  </a:lnTo>
                  <a:lnTo>
                    <a:pt x="27545" y="131376"/>
                  </a:lnTo>
                  <a:lnTo>
                    <a:pt x="41364" y="134831"/>
                  </a:lnTo>
                  <a:lnTo>
                    <a:pt x="51729" y="124466"/>
                  </a:lnTo>
                  <a:lnTo>
                    <a:pt x="65548" y="127921"/>
                  </a:lnTo>
                  <a:lnTo>
                    <a:pt x="69002" y="141740"/>
                  </a:lnTo>
                  <a:lnTo>
                    <a:pt x="82822" y="138286"/>
                  </a:lnTo>
                  <a:lnTo>
                    <a:pt x="89732" y="145195"/>
                  </a:lnTo>
                  <a:lnTo>
                    <a:pt x="107005" y="155560"/>
                  </a:lnTo>
                  <a:lnTo>
                    <a:pt x="113915" y="165924"/>
                  </a:lnTo>
                  <a:lnTo>
                    <a:pt x="120825" y="155560"/>
                  </a:lnTo>
                  <a:lnTo>
                    <a:pt x="107005" y="145195"/>
                  </a:lnTo>
                  <a:lnTo>
                    <a:pt x="107005" y="134831"/>
                  </a:lnTo>
                  <a:lnTo>
                    <a:pt x="100096" y="124466"/>
                  </a:lnTo>
                  <a:lnTo>
                    <a:pt x="86277" y="124466"/>
                  </a:lnTo>
                  <a:lnTo>
                    <a:pt x="79367" y="117557"/>
                  </a:lnTo>
                  <a:lnTo>
                    <a:pt x="69002" y="121012"/>
                  </a:lnTo>
                  <a:lnTo>
                    <a:pt x="55183" y="114102"/>
                  </a:lnTo>
                  <a:lnTo>
                    <a:pt x="48274" y="107192"/>
                  </a:lnTo>
                  <a:lnTo>
                    <a:pt x="44819" y="93373"/>
                  </a:lnTo>
                  <a:lnTo>
                    <a:pt x="48274" y="72644"/>
                  </a:lnTo>
                  <a:lnTo>
                    <a:pt x="58638" y="69189"/>
                  </a:lnTo>
                  <a:lnTo>
                    <a:pt x="69002" y="45006"/>
                  </a:lnTo>
                  <a:lnTo>
                    <a:pt x="65548" y="24184"/>
                  </a:lnTo>
                  <a:lnTo>
                    <a:pt x="65548" y="6910"/>
                  </a:lnTo>
                  <a:lnTo>
                    <a:pt x="48274" y="3455"/>
                  </a:lnTo>
                  <a:lnTo>
                    <a:pt x="20635" y="0"/>
                  </a:lnTo>
                  <a:lnTo>
                    <a:pt x="17180" y="27638"/>
                  </a:lnTo>
                  <a:lnTo>
                    <a:pt x="17180" y="48460"/>
                  </a:lnTo>
                  <a:lnTo>
                    <a:pt x="20635" y="62280"/>
                  </a:lnTo>
                  <a:lnTo>
                    <a:pt x="0" y="65735"/>
                  </a:lnTo>
                  <a:lnTo>
                    <a:pt x="3455" y="76099"/>
                  </a:lnTo>
                  <a:lnTo>
                    <a:pt x="6910" y="83009"/>
                  </a:lnTo>
                  <a:lnTo>
                    <a:pt x="6910" y="100283"/>
                  </a:lnTo>
                  <a:close/>
                </a:path>
              </a:pathLst>
            </a:custGeom>
            <a:solidFill>
              <a:srgbClr val="CEE3BF"/>
            </a:solidFill>
            <a:ln w="9334" cap="flat">
              <a:noFill/>
              <a:prstDash val="solid"/>
              <a:miter/>
            </a:ln>
          </p:spPr>
          <p:txBody>
            <a:bodyPr rtlCol="0" anchor="ctr"/>
            <a:lstStyle/>
            <a:p>
              <a:endParaRPr lang="en-GB" dirty="0"/>
            </a:p>
          </p:txBody>
        </p:sp>
        <p:sp>
          <p:nvSpPr>
            <p:cNvPr id="1194" name="Freeform: Shape 1193">
              <a:extLst>
                <a:ext uri="{FF2B5EF4-FFF2-40B4-BE49-F238E27FC236}">
                  <a16:creationId xmlns:a16="http://schemas.microsoft.com/office/drawing/2014/main" id="{13F79994-1457-463C-928A-80FA85C0182F}"/>
                </a:ext>
              </a:extLst>
            </p:cNvPr>
            <p:cNvSpPr/>
            <p:nvPr/>
          </p:nvSpPr>
          <p:spPr>
            <a:xfrm>
              <a:off x="9049137" y="4218543"/>
              <a:ext cx="72551" cy="79553"/>
            </a:xfrm>
            <a:custGeom>
              <a:avLst/>
              <a:gdLst>
                <a:gd name="connsiteX0" fmla="*/ 0 w 72551"/>
                <a:gd name="connsiteY0" fmla="*/ 79554 h 79553"/>
                <a:gd name="connsiteX1" fmla="*/ 13819 w 72551"/>
                <a:gd name="connsiteY1" fmla="*/ 58825 h 79553"/>
                <a:gd name="connsiteX2" fmla="*/ 34548 w 72551"/>
                <a:gd name="connsiteY2" fmla="*/ 34641 h 79553"/>
                <a:gd name="connsiteX3" fmla="*/ 55277 w 72551"/>
                <a:gd name="connsiteY3" fmla="*/ 17367 h 79553"/>
                <a:gd name="connsiteX4" fmla="*/ 62186 w 72551"/>
                <a:gd name="connsiteY4" fmla="*/ 0 h 79553"/>
                <a:gd name="connsiteX5" fmla="*/ 65642 w 72551"/>
                <a:gd name="connsiteY5" fmla="*/ 10364 h 79553"/>
                <a:gd name="connsiteX6" fmla="*/ 72551 w 72551"/>
                <a:gd name="connsiteY6" fmla="*/ 20822 h 79553"/>
                <a:gd name="connsiteX7" fmla="*/ 55277 w 72551"/>
                <a:gd name="connsiteY7" fmla="*/ 27732 h 79553"/>
                <a:gd name="connsiteX8" fmla="*/ 34548 w 72551"/>
                <a:gd name="connsiteY8" fmla="*/ 51915 h 79553"/>
                <a:gd name="connsiteX9" fmla="*/ 24184 w 72551"/>
                <a:gd name="connsiteY9" fmla="*/ 65735 h 79553"/>
                <a:gd name="connsiteX10" fmla="*/ 0 w 72551"/>
                <a:gd name="connsiteY10" fmla="*/ 79554 h 79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551" h="79553">
                  <a:moveTo>
                    <a:pt x="0" y="79554"/>
                  </a:moveTo>
                  <a:lnTo>
                    <a:pt x="13819" y="58825"/>
                  </a:lnTo>
                  <a:lnTo>
                    <a:pt x="34548" y="34641"/>
                  </a:lnTo>
                  <a:lnTo>
                    <a:pt x="55277" y="17367"/>
                  </a:lnTo>
                  <a:lnTo>
                    <a:pt x="62186" y="0"/>
                  </a:lnTo>
                  <a:lnTo>
                    <a:pt x="65642" y="10364"/>
                  </a:lnTo>
                  <a:lnTo>
                    <a:pt x="72551" y="20822"/>
                  </a:lnTo>
                  <a:lnTo>
                    <a:pt x="55277" y="27732"/>
                  </a:lnTo>
                  <a:lnTo>
                    <a:pt x="34548" y="51915"/>
                  </a:lnTo>
                  <a:lnTo>
                    <a:pt x="24184" y="65735"/>
                  </a:lnTo>
                  <a:lnTo>
                    <a:pt x="0" y="79554"/>
                  </a:lnTo>
                  <a:close/>
                </a:path>
              </a:pathLst>
            </a:custGeom>
            <a:solidFill>
              <a:srgbClr val="CEE3BF"/>
            </a:solidFill>
            <a:ln w="9334" cap="flat">
              <a:noFill/>
              <a:prstDash val="solid"/>
              <a:miter/>
            </a:ln>
          </p:spPr>
          <p:txBody>
            <a:bodyPr rtlCol="0" anchor="ctr"/>
            <a:lstStyle/>
            <a:p>
              <a:endParaRPr lang="en-GB" dirty="0"/>
            </a:p>
          </p:txBody>
        </p:sp>
        <p:sp>
          <p:nvSpPr>
            <p:cNvPr id="1195" name="Freeform: Shape 1194">
              <a:extLst>
                <a:ext uri="{FF2B5EF4-FFF2-40B4-BE49-F238E27FC236}">
                  <a16:creationId xmlns:a16="http://schemas.microsoft.com/office/drawing/2014/main" id="{160B71CB-1258-48FC-94B8-60E777C49E74}"/>
                </a:ext>
              </a:extLst>
            </p:cNvPr>
            <p:cNvSpPr/>
            <p:nvPr/>
          </p:nvSpPr>
          <p:spPr>
            <a:xfrm>
              <a:off x="9049137" y="4218543"/>
              <a:ext cx="72551" cy="79553"/>
            </a:xfrm>
            <a:custGeom>
              <a:avLst/>
              <a:gdLst>
                <a:gd name="connsiteX0" fmla="*/ 0 w 72551"/>
                <a:gd name="connsiteY0" fmla="*/ 79554 h 79553"/>
                <a:gd name="connsiteX1" fmla="*/ 13819 w 72551"/>
                <a:gd name="connsiteY1" fmla="*/ 58825 h 79553"/>
                <a:gd name="connsiteX2" fmla="*/ 34548 w 72551"/>
                <a:gd name="connsiteY2" fmla="*/ 34641 h 79553"/>
                <a:gd name="connsiteX3" fmla="*/ 55277 w 72551"/>
                <a:gd name="connsiteY3" fmla="*/ 17367 h 79553"/>
                <a:gd name="connsiteX4" fmla="*/ 62186 w 72551"/>
                <a:gd name="connsiteY4" fmla="*/ 0 h 79553"/>
                <a:gd name="connsiteX5" fmla="*/ 65642 w 72551"/>
                <a:gd name="connsiteY5" fmla="*/ 10364 h 79553"/>
                <a:gd name="connsiteX6" fmla="*/ 72551 w 72551"/>
                <a:gd name="connsiteY6" fmla="*/ 20822 h 79553"/>
                <a:gd name="connsiteX7" fmla="*/ 55277 w 72551"/>
                <a:gd name="connsiteY7" fmla="*/ 27732 h 79553"/>
                <a:gd name="connsiteX8" fmla="*/ 34548 w 72551"/>
                <a:gd name="connsiteY8" fmla="*/ 51915 h 79553"/>
                <a:gd name="connsiteX9" fmla="*/ 24184 w 72551"/>
                <a:gd name="connsiteY9" fmla="*/ 65735 h 79553"/>
                <a:gd name="connsiteX10" fmla="*/ 0 w 72551"/>
                <a:gd name="connsiteY10" fmla="*/ 79554 h 79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551" h="79553">
                  <a:moveTo>
                    <a:pt x="0" y="79554"/>
                  </a:moveTo>
                  <a:lnTo>
                    <a:pt x="13819" y="58825"/>
                  </a:lnTo>
                  <a:lnTo>
                    <a:pt x="34548" y="34641"/>
                  </a:lnTo>
                  <a:lnTo>
                    <a:pt x="55277" y="17367"/>
                  </a:lnTo>
                  <a:lnTo>
                    <a:pt x="62186" y="0"/>
                  </a:lnTo>
                  <a:lnTo>
                    <a:pt x="65642" y="10364"/>
                  </a:lnTo>
                  <a:lnTo>
                    <a:pt x="72551" y="20822"/>
                  </a:lnTo>
                  <a:lnTo>
                    <a:pt x="55277" y="27732"/>
                  </a:lnTo>
                  <a:lnTo>
                    <a:pt x="34548" y="51915"/>
                  </a:lnTo>
                  <a:lnTo>
                    <a:pt x="24184" y="65735"/>
                  </a:lnTo>
                  <a:lnTo>
                    <a:pt x="0" y="79554"/>
                  </a:lnTo>
                  <a:close/>
                </a:path>
              </a:pathLst>
            </a:custGeom>
            <a:solidFill>
              <a:srgbClr val="CEE3BF"/>
            </a:solidFill>
            <a:ln w="9334" cap="flat">
              <a:noFill/>
              <a:prstDash val="solid"/>
              <a:miter/>
            </a:ln>
          </p:spPr>
          <p:txBody>
            <a:bodyPr rtlCol="0" anchor="ctr"/>
            <a:lstStyle/>
            <a:p>
              <a:endParaRPr lang="en-GB" dirty="0"/>
            </a:p>
          </p:txBody>
        </p:sp>
        <p:sp>
          <p:nvSpPr>
            <p:cNvPr id="1196" name="Freeform: Shape 1195">
              <a:extLst>
                <a:ext uri="{FF2B5EF4-FFF2-40B4-BE49-F238E27FC236}">
                  <a16:creationId xmlns:a16="http://schemas.microsoft.com/office/drawing/2014/main" id="{DE37C57F-3794-420D-BF7E-EF97BD9B1D50}"/>
                </a:ext>
              </a:extLst>
            </p:cNvPr>
            <p:cNvSpPr/>
            <p:nvPr/>
          </p:nvSpPr>
          <p:spPr>
            <a:xfrm>
              <a:off x="9176872" y="4260094"/>
              <a:ext cx="127734" cy="103644"/>
            </a:xfrm>
            <a:custGeom>
              <a:avLst/>
              <a:gdLst>
                <a:gd name="connsiteX0" fmla="*/ 100096 w 127734"/>
                <a:gd name="connsiteY0" fmla="*/ 100190 h 103644"/>
                <a:gd name="connsiteX1" fmla="*/ 69096 w 127734"/>
                <a:gd name="connsiteY1" fmla="*/ 103644 h 103644"/>
                <a:gd name="connsiteX2" fmla="*/ 58732 w 127734"/>
                <a:gd name="connsiteY2" fmla="*/ 82915 h 103644"/>
                <a:gd name="connsiteX3" fmla="*/ 58732 w 127734"/>
                <a:gd name="connsiteY3" fmla="*/ 65641 h 103644"/>
                <a:gd name="connsiteX4" fmla="*/ 69096 w 127734"/>
                <a:gd name="connsiteY4" fmla="*/ 62187 h 103644"/>
                <a:gd name="connsiteX5" fmla="*/ 55277 w 127734"/>
                <a:gd name="connsiteY5" fmla="*/ 51822 h 103644"/>
                <a:gd name="connsiteX6" fmla="*/ 41458 w 127734"/>
                <a:gd name="connsiteY6" fmla="*/ 55277 h 103644"/>
                <a:gd name="connsiteX7" fmla="*/ 31093 w 127734"/>
                <a:gd name="connsiteY7" fmla="*/ 58732 h 103644"/>
                <a:gd name="connsiteX8" fmla="*/ 20729 w 127734"/>
                <a:gd name="connsiteY8" fmla="*/ 62187 h 103644"/>
                <a:gd name="connsiteX9" fmla="*/ 13819 w 127734"/>
                <a:gd name="connsiteY9" fmla="*/ 76006 h 103644"/>
                <a:gd name="connsiteX10" fmla="*/ 6910 w 127734"/>
                <a:gd name="connsiteY10" fmla="*/ 86370 h 103644"/>
                <a:gd name="connsiteX11" fmla="*/ 0 w 127734"/>
                <a:gd name="connsiteY11" fmla="*/ 65641 h 103644"/>
                <a:gd name="connsiteX12" fmla="*/ 6910 w 127734"/>
                <a:gd name="connsiteY12" fmla="*/ 48367 h 103644"/>
                <a:gd name="connsiteX13" fmla="*/ 24184 w 127734"/>
                <a:gd name="connsiteY13" fmla="*/ 41458 h 103644"/>
                <a:gd name="connsiteX14" fmla="*/ 38003 w 127734"/>
                <a:gd name="connsiteY14" fmla="*/ 34548 h 103644"/>
                <a:gd name="connsiteX15" fmla="*/ 44912 w 127734"/>
                <a:gd name="connsiteY15" fmla="*/ 24184 h 103644"/>
                <a:gd name="connsiteX16" fmla="*/ 55277 w 127734"/>
                <a:gd name="connsiteY16" fmla="*/ 38003 h 103644"/>
                <a:gd name="connsiteX17" fmla="*/ 62187 w 127734"/>
                <a:gd name="connsiteY17" fmla="*/ 41458 h 103644"/>
                <a:gd name="connsiteX18" fmla="*/ 72551 w 127734"/>
                <a:gd name="connsiteY18" fmla="*/ 31093 h 103644"/>
                <a:gd name="connsiteX19" fmla="*/ 86370 w 127734"/>
                <a:gd name="connsiteY19" fmla="*/ 13819 h 103644"/>
                <a:gd name="connsiteX20" fmla="*/ 93186 w 127734"/>
                <a:gd name="connsiteY20" fmla="*/ 17274 h 103644"/>
                <a:gd name="connsiteX21" fmla="*/ 100096 w 127734"/>
                <a:gd name="connsiteY21" fmla="*/ 17274 h 103644"/>
                <a:gd name="connsiteX22" fmla="*/ 100096 w 127734"/>
                <a:gd name="connsiteY22" fmla="*/ 6910 h 103644"/>
                <a:gd name="connsiteX23" fmla="*/ 107006 w 127734"/>
                <a:gd name="connsiteY23" fmla="*/ 0 h 103644"/>
                <a:gd name="connsiteX24" fmla="*/ 117370 w 127734"/>
                <a:gd name="connsiteY24" fmla="*/ 10365 h 103644"/>
                <a:gd name="connsiteX25" fmla="*/ 124280 w 127734"/>
                <a:gd name="connsiteY25" fmla="*/ 24184 h 103644"/>
                <a:gd name="connsiteX26" fmla="*/ 127734 w 127734"/>
                <a:gd name="connsiteY26" fmla="*/ 48367 h 103644"/>
                <a:gd name="connsiteX27" fmla="*/ 127734 w 127734"/>
                <a:gd name="connsiteY27" fmla="*/ 72551 h 103644"/>
                <a:gd name="connsiteX28" fmla="*/ 113915 w 127734"/>
                <a:gd name="connsiteY28" fmla="*/ 76006 h 103644"/>
                <a:gd name="connsiteX29" fmla="*/ 110461 w 127734"/>
                <a:gd name="connsiteY29" fmla="*/ 62187 h 103644"/>
                <a:gd name="connsiteX30" fmla="*/ 100096 w 127734"/>
                <a:gd name="connsiteY30" fmla="*/ 72551 h 103644"/>
                <a:gd name="connsiteX31" fmla="*/ 93186 w 127734"/>
                <a:gd name="connsiteY31" fmla="*/ 79461 h 103644"/>
                <a:gd name="connsiteX32" fmla="*/ 100096 w 127734"/>
                <a:gd name="connsiteY32" fmla="*/ 100190 h 10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734" h="103644">
                  <a:moveTo>
                    <a:pt x="100096" y="100190"/>
                  </a:moveTo>
                  <a:lnTo>
                    <a:pt x="69096" y="103644"/>
                  </a:lnTo>
                  <a:lnTo>
                    <a:pt x="58732" y="82915"/>
                  </a:lnTo>
                  <a:lnTo>
                    <a:pt x="58732" y="65641"/>
                  </a:lnTo>
                  <a:lnTo>
                    <a:pt x="69096" y="62187"/>
                  </a:lnTo>
                  <a:lnTo>
                    <a:pt x="55277" y="51822"/>
                  </a:lnTo>
                  <a:lnTo>
                    <a:pt x="41458" y="55277"/>
                  </a:lnTo>
                  <a:lnTo>
                    <a:pt x="31093" y="58732"/>
                  </a:lnTo>
                  <a:lnTo>
                    <a:pt x="20729" y="62187"/>
                  </a:lnTo>
                  <a:lnTo>
                    <a:pt x="13819" y="76006"/>
                  </a:lnTo>
                  <a:lnTo>
                    <a:pt x="6910" y="86370"/>
                  </a:lnTo>
                  <a:lnTo>
                    <a:pt x="0" y="65641"/>
                  </a:lnTo>
                  <a:lnTo>
                    <a:pt x="6910" y="48367"/>
                  </a:lnTo>
                  <a:lnTo>
                    <a:pt x="24184" y="41458"/>
                  </a:lnTo>
                  <a:lnTo>
                    <a:pt x="38003" y="34548"/>
                  </a:lnTo>
                  <a:lnTo>
                    <a:pt x="44912" y="24184"/>
                  </a:lnTo>
                  <a:lnTo>
                    <a:pt x="55277" y="38003"/>
                  </a:lnTo>
                  <a:lnTo>
                    <a:pt x="62187" y="41458"/>
                  </a:lnTo>
                  <a:lnTo>
                    <a:pt x="72551" y="31093"/>
                  </a:lnTo>
                  <a:lnTo>
                    <a:pt x="86370" y="13819"/>
                  </a:lnTo>
                  <a:lnTo>
                    <a:pt x="93186" y="17274"/>
                  </a:lnTo>
                  <a:lnTo>
                    <a:pt x="100096" y="17274"/>
                  </a:lnTo>
                  <a:lnTo>
                    <a:pt x="100096" y="6910"/>
                  </a:lnTo>
                  <a:lnTo>
                    <a:pt x="107006" y="0"/>
                  </a:lnTo>
                  <a:lnTo>
                    <a:pt x="117370" y="10365"/>
                  </a:lnTo>
                  <a:lnTo>
                    <a:pt x="124280" y="24184"/>
                  </a:lnTo>
                  <a:lnTo>
                    <a:pt x="127734" y="48367"/>
                  </a:lnTo>
                  <a:lnTo>
                    <a:pt x="127734" y="72551"/>
                  </a:lnTo>
                  <a:lnTo>
                    <a:pt x="113915" y="76006"/>
                  </a:lnTo>
                  <a:lnTo>
                    <a:pt x="110461" y="62187"/>
                  </a:lnTo>
                  <a:lnTo>
                    <a:pt x="100096" y="72551"/>
                  </a:lnTo>
                  <a:lnTo>
                    <a:pt x="93186" y="79461"/>
                  </a:lnTo>
                  <a:lnTo>
                    <a:pt x="100096" y="100190"/>
                  </a:lnTo>
                  <a:close/>
                </a:path>
              </a:pathLst>
            </a:custGeom>
            <a:solidFill>
              <a:srgbClr val="CEE3BF"/>
            </a:solidFill>
            <a:ln w="9334" cap="flat">
              <a:noFill/>
              <a:prstDash val="solid"/>
              <a:miter/>
            </a:ln>
          </p:spPr>
          <p:txBody>
            <a:bodyPr rtlCol="0" anchor="ctr"/>
            <a:lstStyle/>
            <a:p>
              <a:endParaRPr lang="en-GB" dirty="0"/>
            </a:p>
          </p:txBody>
        </p:sp>
        <p:sp>
          <p:nvSpPr>
            <p:cNvPr id="1197" name="Freeform: Shape 1196">
              <a:extLst>
                <a:ext uri="{FF2B5EF4-FFF2-40B4-BE49-F238E27FC236}">
                  <a16:creationId xmlns:a16="http://schemas.microsoft.com/office/drawing/2014/main" id="{87593691-183C-4A64-93B7-895855D4FDF7}"/>
                </a:ext>
              </a:extLst>
            </p:cNvPr>
            <p:cNvSpPr/>
            <p:nvPr/>
          </p:nvSpPr>
          <p:spPr>
            <a:xfrm>
              <a:off x="9245968" y="4180540"/>
              <a:ext cx="30999" cy="38002"/>
            </a:xfrm>
            <a:custGeom>
              <a:avLst/>
              <a:gdLst>
                <a:gd name="connsiteX0" fmla="*/ 0 w 30999"/>
                <a:gd name="connsiteY0" fmla="*/ 6910 h 38002"/>
                <a:gd name="connsiteX1" fmla="*/ 20729 w 30999"/>
                <a:gd name="connsiteY1" fmla="*/ 0 h 38002"/>
                <a:gd name="connsiteX2" fmla="*/ 31000 w 30999"/>
                <a:gd name="connsiteY2" fmla="*/ 3455 h 38002"/>
                <a:gd name="connsiteX3" fmla="*/ 31000 w 30999"/>
                <a:gd name="connsiteY3" fmla="*/ 27638 h 38002"/>
                <a:gd name="connsiteX4" fmla="*/ 31000 w 30999"/>
                <a:gd name="connsiteY4" fmla="*/ 38003 h 38002"/>
                <a:gd name="connsiteX5" fmla="*/ 17274 w 30999"/>
                <a:gd name="connsiteY5" fmla="*/ 31093 h 38002"/>
                <a:gd name="connsiteX6" fmla="*/ 6910 w 30999"/>
                <a:gd name="connsiteY6" fmla="*/ 20729 h 38002"/>
                <a:gd name="connsiteX7" fmla="*/ 0 w 30999"/>
                <a:gd name="connsiteY7" fmla="*/ 6910 h 3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999" h="38002">
                  <a:moveTo>
                    <a:pt x="0" y="6910"/>
                  </a:moveTo>
                  <a:lnTo>
                    <a:pt x="20729" y="0"/>
                  </a:lnTo>
                  <a:lnTo>
                    <a:pt x="31000" y="3455"/>
                  </a:lnTo>
                  <a:lnTo>
                    <a:pt x="31000" y="27638"/>
                  </a:lnTo>
                  <a:lnTo>
                    <a:pt x="31000" y="38003"/>
                  </a:lnTo>
                  <a:lnTo>
                    <a:pt x="17274" y="31093"/>
                  </a:lnTo>
                  <a:lnTo>
                    <a:pt x="6910" y="20729"/>
                  </a:lnTo>
                  <a:lnTo>
                    <a:pt x="0" y="6910"/>
                  </a:lnTo>
                  <a:close/>
                </a:path>
              </a:pathLst>
            </a:custGeom>
            <a:solidFill>
              <a:srgbClr val="CEE3BF"/>
            </a:solidFill>
            <a:ln w="9334" cap="flat">
              <a:noFill/>
              <a:prstDash val="solid"/>
              <a:miter/>
            </a:ln>
          </p:spPr>
          <p:txBody>
            <a:bodyPr rtlCol="0" anchor="ctr"/>
            <a:lstStyle/>
            <a:p>
              <a:endParaRPr lang="en-GB" dirty="0"/>
            </a:p>
          </p:txBody>
        </p:sp>
        <p:sp>
          <p:nvSpPr>
            <p:cNvPr id="1198" name="Freeform: Shape 1197">
              <a:extLst>
                <a:ext uri="{FF2B5EF4-FFF2-40B4-BE49-F238E27FC236}">
                  <a16:creationId xmlns:a16="http://schemas.microsoft.com/office/drawing/2014/main" id="{95F83AC8-DC53-4906-9EF2-FF04D09D1927}"/>
                </a:ext>
              </a:extLst>
            </p:cNvPr>
            <p:cNvSpPr/>
            <p:nvPr/>
          </p:nvSpPr>
          <p:spPr>
            <a:xfrm>
              <a:off x="9245968" y="4180540"/>
              <a:ext cx="30999" cy="38002"/>
            </a:xfrm>
            <a:custGeom>
              <a:avLst/>
              <a:gdLst>
                <a:gd name="connsiteX0" fmla="*/ 0 w 30999"/>
                <a:gd name="connsiteY0" fmla="*/ 6910 h 38002"/>
                <a:gd name="connsiteX1" fmla="*/ 20729 w 30999"/>
                <a:gd name="connsiteY1" fmla="*/ 0 h 38002"/>
                <a:gd name="connsiteX2" fmla="*/ 31000 w 30999"/>
                <a:gd name="connsiteY2" fmla="*/ 3455 h 38002"/>
                <a:gd name="connsiteX3" fmla="*/ 31000 w 30999"/>
                <a:gd name="connsiteY3" fmla="*/ 27638 h 38002"/>
                <a:gd name="connsiteX4" fmla="*/ 31000 w 30999"/>
                <a:gd name="connsiteY4" fmla="*/ 38003 h 38002"/>
                <a:gd name="connsiteX5" fmla="*/ 17274 w 30999"/>
                <a:gd name="connsiteY5" fmla="*/ 31093 h 38002"/>
                <a:gd name="connsiteX6" fmla="*/ 6910 w 30999"/>
                <a:gd name="connsiteY6" fmla="*/ 20729 h 38002"/>
                <a:gd name="connsiteX7" fmla="*/ 0 w 30999"/>
                <a:gd name="connsiteY7" fmla="*/ 6910 h 3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999" h="38002">
                  <a:moveTo>
                    <a:pt x="0" y="6910"/>
                  </a:moveTo>
                  <a:lnTo>
                    <a:pt x="20729" y="0"/>
                  </a:lnTo>
                  <a:lnTo>
                    <a:pt x="31000" y="3455"/>
                  </a:lnTo>
                  <a:lnTo>
                    <a:pt x="31000" y="27638"/>
                  </a:lnTo>
                  <a:lnTo>
                    <a:pt x="31000" y="38003"/>
                  </a:lnTo>
                  <a:lnTo>
                    <a:pt x="17274" y="31093"/>
                  </a:lnTo>
                  <a:lnTo>
                    <a:pt x="6910" y="20729"/>
                  </a:lnTo>
                  <a:lnTo>
                    <a:pt x="0" y="6910"/>
                  </a:lnTo>
                  <a:close/>
                </a:path>
              </a:pathLst>
            </a:custGeom>
            <a:solidFill>
              <a:srgbClr val="CEE3BF"/>
            </a:solidFill>
            <a:ln w="9334" cap="flat">
              <a:noFill/>
              <a:prstDash val="solid"/>
              <a:miter/>
            </a:ln>
          </p:spPr>
          <p:txBody>
            <a:bodyPr rtlCol="0" anchor="ctr"/>
            <a:lstStyle/>
            <a:p>
              <a:endParaRPr lang="en-GB" dirty="0"/>
            </a:p>
          </p:txBody>
        </p:sp>
        <p:sp>
          <p:nvSpPr>
            <p:cNvPr id="1199" name="Freeform: Shape 1198">
              <a:extLst>
                <a:ext uri="{FF2B5EF4-FFF2-40B4-BE49-F238E27FC236}">
                  <a16:creationId xmlns:a16="http://schemas.microsoft.com/office/drawing/2014/main" id="{0CA1542B-DC9E-4E14-85C5-4BAB4BC75B37}"/>
                </a:ext>
              </a:extLst>
            </p:cNvPr>
            <p:cNvSpPr/>
            <p:nvPr/>
          </p:nvSpPr>
          <p:spPr>
            <a:xfrm>
              <a:off x="9135414" y="4152902"/>
              <a:ext cx="34548" cy="41457"/>
            </a:xfrm>
            <a:custGeom>
              <a:avLst/>
              <a:gdLst>
                <a:gd name="connsiteX0" fmla="*/ 0 w 34548"/>
                <a:gd name="connsiteY0" fmla="*/ 0 h 41457"/>
                <a:gd name="connsiteX1" fmla="*/ 17274 w 34548"/>
                <a:gd name="connsiteY1" fmla="*/ 3455 h 41457"/>
                <a:gd name="connsiteX2" fmla="*/ 34548 w 34548"/>
                <a:gd name="connsiteY2" fmla="*/ 17274 h 41457"/>
                <a:gd name="connsiteX3" fmla="*/ 31093 w 34548"/>
                <a:gd name="connsiteY3" fmla="*/ 38003 h 41457"/>
                <a:gd name="connsiteX4" fmla="*/ 20729 w 34548"/>
                <a:gd name="connsiteY4" fmla="*/ 41458 h 41457"/>
                <a:gd name="connsiteX5" fmla="*/ 10364 w 34548"/>
                <a:gd name="connsiteY5" fmla="*/ 17274 h 41457"/>
                <a:gd name="connsiteX6" fmla="*/ 3455 w 34548"/>
                <a:gd name="connsiteY6" fmla="*/ 10364 h 41457"/>
                <a:gd name="connsiteX7" fmla="*/ 0 w 34548"/>
                <a:gd name="connsiteY7" fmla="*/ 0 h 4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8" h="41457">
                  <a:moveTo>
                    <a:pt x="0" y="0"/>
                  </a:moveTo>
                  <a:lnTo>
                    <a:pt x="17274" y="3455"/>
                  </a:lnTo>
                  <a:lnTo>
                    <a:pt x="34548" y="17274"/>
                  </a:lnTo>
                  <a:lnTo>
                    <a:pt x="31093" y="38003"/>
                  </a:lnTo>
                  <a:lnTo>
                    <a:pt x="20729" y="41458"/>
                  </a:lnTo>
                  <a:lnTo>
                    <a:pt x="10364" y="17274"/>
                  </a:lnTo>
                  <a:lnTo>
                    <a:pt x="3455" y="10364"/>
                  </a:lnTo>
                  <a:lnTo>
                    <a:pt x="0" y="0"/>
                  </a:lnTo>
                  <a:close/>
                </a:path>
              </a:pathLst>
            </a:custGeom>
            <a:solidFill>
              <a:srgbClr val="CEE3BF"/>
            </a:solidFill>
            <a:ln w="9334" cap="flat">
              <a:noFill/>
              <a:prstDash val="solid"/>
              <a:miter/>
            </a:ln>
          </p:spPr>
          <p:txBody>
            <a:bodyPr rtlCol="0" anchor="ctr"/>
            <a:lstStyle/>
            <a:p>
              <a:endParaRPr lang="en-GB" dirty="0"/>
            </a:p>
          </p:txBody>
        </p:sp>
        <p:sp>
          <p:nvSpPr>
            <p:cNvPr id="1200" name="Freeform: Shape 1199">
              <a:extLst>
                <a:ext uri="{FF2B5EF4-FFF2-40B4-BE49-F238E27FC236}">
                  <a16:creationId xmlns:a16="http://schemas.microsoft.com/office/drawing/2014/main" id="{34B05DEF-64F4-46FC-A8BB-562455527E16}"/>
                </a:ext>
              </a:extLst>
            </p:cNvPr>
            <p:cNvSpPr/>
            <p:nvPr/>
          </p:nvSpPr>
          <p:spPr>
            <a:xfrm>
              <a:off x="9135414" y="4152902"/>
              <a:ext cx="34548" cy="41457"/>
            </a:xfrm>
            <a:custGeom>
              <a:avLst/>
              <a:gdLst>
                <a:gd name="connsiteX0" fmla="*/ 0 w 34548"/>
                <a:gd name="connsiteY0" fmla="*/ 0 h 41457"/>
                <a:gd name="connsiteX1" fmla="*/ 17274 w 34548"/>
                <a:gd name="connsiteY1" fmla="*/ 3455 h 41457"/>
                <a:gd name="connsiteX2" fmla="*/ 34548 w 34548"/>
                <a:gd name="connsiteY2" fmla="*/ 17274 h 41457"/>
                <a:gd name="connsiteX3" fmla="*/ 31093 w 34548"/>
                <a:gd name="connsiteY3" fmla="*/ 38003 h 41457"/>
                <a:gd name="connsiteX4" fmla="*/ 20729 w 34548"/>
                <a:gd name="connsiteY4" fmla="*/ 41458 h 41457"/>
                <a:gd name="connsiteX5" fmla="*/ 10364 w 34548"/>
                <a:gd name="connsiteY5" fmla="*/ 17274 h 41457"/>
                <a:gd name="connsiteX6" fmla="*/ 3455 w 34548"/>
                <a:gd name="connsiteY6" fmla="*/ 10364 h 41457"/>
                <a:gd name="connsiteX7" fmla="*/ 0 w 34548"/>
                <a:gd name="connsiteY7" fmla="*/ 0 h 4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8" h="41457">
                  <a:moveTo>
                    <a:pt x="0" y="0"/>
                  </a:moveTo>
                  <a:lnTo>
                    <a:pt x="17274" y="3455"/>
                  </a:lnTo>
                  <a:lnTo>
                    <a:pt x="34548" y="17274"/>
                  </a:lnTo>
                  <a:lnTo>
                    <a:pt x="31093" y="38003"/>
                  </a:lnTo>
                  <a:lnTo>
                    <a:pt x="20729" y="41458"/>
                  </a:lnTo>
                  <a:lnTo>
                    <a:pt x="10364" y="17274"/>
                  </a:lnTo>
                  <a:lnTo>
                    <a:pt x="3455" y="10364"/>
                  </a:lnTo>
                  <a:lnTo>
                    <a:pt x="0" y="0"/>
                  </a:lnTo>
                  <a:close/>
                </a:path>
              </a:pathLst>
            </a:custGeom>
            <a:solidFill>
              <a:srgbClr val="CEE3BF"/>
            </a:solidFill>
            <a:ln w="9334" cap="flat">
              <a:noFill/>
              <a:prstDash val="solid"/>
              <a:miter/>
            </a:ln>
          </p:spPr>
          <p:txBody>
            <a:bodyPr rtlCol="0" anchor="ctr"/>
            <a:lstStyle/>
            <a:p>
              <a:endParaRPr lang="en-GB" dirty="0"/>
            </a:p>
          </p:txBody>
        </p:sp>
        <p:sp>
          <p:nvSpPr>
            <p:cNvPr id="1201" name="Freeform: Shape 1200">
              <a:extLst>
                <a:ext uri="{FF2B5EF4-FFF2-40B4-BE49-F238E27FC236}">
                  <a16:creationId xmlns:a16="http://schemas.microsoft.com/office/drawing/2014/main" id="{96CB2197-FF43-4AA2-BFE6-F8BEE94F3BA2}"/>
                </a:ext>
              </a:extLst>
            </p:cNvPr>
            <p:cNvSpPr/>
            <p:nvPr/>
          </p:nvSpPr>
          <p:spPr>
            <a:xfrm>
              <a:off x="9180326" y="4204724"/>
              <a:ext cx="38002" cy="34641"/>
            </a:xfrm>
            <a:custGeom>
              <a:avLst/>
              <a:gdLst>
                <a:gd name="connsiteX0" fmla="*/ 0 w 38002"/>
                <a:gd name="connsiteY0" fmla="*/ 0 h 34641"/>
                <a:gd name="connsiteX1" fmla="*/ 0 w 38002"/>
                <a:gd name="connsiteY1" fmla="*/ 17274 h 34641"/>
                <a:gd name="connsiteX2" fmla="*/ 0 w 38002"/>
                <a:gd name="connsiteY2" fmla="*/ 34641 h 34641"/>
                <a:gd name="connsiteX3" fmla="*/ 10364 w 38002"/>
                <a:gd name="connsiteY3" fmla="*/ 27638 h 34641"/>
                <a:gd name="connsiteX4" fmla="*/ 31093 w 38002"/>
                <a:gd name="connsiteY4" fmla="*/ 13819 h 34641"/>
                <a:gd name="connsiteX5" fmla="*/ 38003 w 38002"/>
                <a:gd name="connsiteY5" fmla="*/ 3455 h 34641"/>
                <a:gd name="connsiteX6" fmla="*/ 24184 w 38002"/>
                <a:gd name="connsiteY6" fmla="*/ 0 h 34641"/>
                <a:gd name="connsiteX7" fmla="*/ 13820 w 38002"/>
                <a:gd name="connsiteY7" fmla="*/ 3455 h 34641"/>
                <a:gd name="connsiteX8" fmla="*/ 0 w 38002"/>
                <a:gd name="connsiteY8" fmla="*/ 0 h 3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02" h="34641">
                  <a:moveTo>
                    <a:pt x="0" y="0"/>
                  </a:moveTo>
                  <a:lnTo>
                    <a:pt x="0" y="17274"/>
                  </a:lnTo>
                  <a:lnTo>
                    <a:pt x="0" y="34641"/>
                  </a:lnTo>
                  <a:lnTo>
                    <a:pt x="10364" y="27638"/>
                  </a:lnTo>
                  <a:lnTo>
                    <a:pt x="31093" y="13819"/>
                  </a:lnTo>
                  <a:lnTo>
                    <a:pt x="38003" y="3455"/>
                  </a:lnTo>
                  <a:lnTo>
                    <a:pt x="24184" y="0"/>
                  </a:lnTo>
                  <a:lnTo>
                    <a:pt x="13820" y="3455"/>
                  </a:lnTo>
                  <a:lnTo>
                    <a:pt x="0" y="0"/>
                  </a:lnTo>
                  <a:close/>
                </a:path>
              </a:pathLst>
            </a:custGeom>
            <a:solidFill>
              <a:srgbClr val="CEE3BF"/>
            </a:solidFill>
            <a:ln w="9334" cap="flat">
              <a:noFill/>
              <a:prstDash val="solid"/>
              <a:miter/>
            </a:ln>
          </p:spPr>
          <p:txBody>
            <a:bodyPr rtlCol="0" anchor="ctr"/>
            <a:lstStyle/>
            <a:p>
              <a:endParaRPr lang="en-GB" dirty="0"/>
            </a:p>
          </p:txBody>
        </p:sp>
        <p:sp>
          <p:nvSpPr>
            <p:cNvPr id="1202" name="Freeform: Shape 1201">
              <a:extLst>
                <a:ext uri="{FF2B5EF4-FFF2-40B4-BE49-F238E27FC236}">
                  <a16:creationId xmlns:a16="http://schemas.microsoft.com/office/drawing/2014/main" id="{2D823809-41EB-4571-AF11-9560FF419F73}"/>
                </a:ext>
              </a:extLst>
            </p:cNvPr>
            <p:cNvSpPr/>
            <p:nvPr/>
          </p:nvSpPr>
          <p:spPr>
            <a:xfrm>
              <a:off x="9180326" y="4204724"/>
              <a:ext cx="38002" cy="34641"/>
            </a:xfrm>
            <a:custGeom>
              <a:avLst/>
              <a:gdLst>
                <a:gd name="connsiteX0" fmla="*/ 0 w 38002"/>
                <a:gd name="connsiteY0" fmla="*/ 0 h 34641"/>
                <a:gd name="connsiteX1" fmla="*/ 0 w 38002"/>
                <a:gd name="connsiteY1" fmla="*/ 17274 h 34641"/>
                <a:gd name="connsiteX2" fmla="*/ 0 w 38002"/>
                <a:gd name="connsiteY2" fmla="*/ 34641 h 34641"/>
                <a:gd name="connsiteX3" fmla="*/ 10364 w 38002"/>
                <a:gd name="connsiteY3" fmla="*/ 27638 h 34641"/>
                <a:gd name="connsiteX4" fmla="*/ 31093 w 38002"/>
                <a:gd name="connsiteY4" fmla="*/ 13819 h 34641"/>
                <a:gd name="connsiteX5" fmla="*/ 38003 w 38002"/>
                <a:gd name="connsiteY5" fmla="*/ 3455 h 34641"/>
                <a:gd name="connsiteX6" fmla="*/ 24184 w 38002"/>
                <a:gd name="connsiteY6" fmla="*/ 0 h 34641"/>
                <a:gd name="connsiteX7" fmla="*/ 13820 w 38002"/>
                <a:gd name="connsiteY7" fmla="*/ 3455 h 34641"/>
                <a:gd name="connsiteX8" fmla="*/ 0 w 38002"/>
                <a:gd name="connsiteY8" fmla="*/ 0 h 3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002" h="34641">
                  <a:moveTo>
                    <a:pt x="0" y="0"/>
                  </a:moveTo>
                  <a:lnTo>
                    <a:pt x="0" y="17274"/>
                  </a:lnTo>
                  <a:lnTo>
                    <a:pt x="0" y="34641"/>
                  </a:lnTo>
                  <a:lnTo>
                    <a:pt x="10364" y="27638"/>
                  </a:lnTo>
                  <a:lnTo>
                    <a:pt x="31093" y="13819"/>
                  </a:lnTo>
                  <a:lnTo>
                    <a:pt x="38003" y="3455"/>
                  </a:lnTo>
                  <a:lnTo>
                    <a:pt x="24184" y="0"/>
                  </a:lnTo>
                  <a:lnTo>
                    <a:pt x="13820" y="3455"/>
                  </a:lnTo>
                  <a:lnTo>
                    <a:pt x="0" y="0"/>
                  </a:lnTo>
                  <a:close/>
                </a:path>
              </a:pathLst>
            </a:custGeom>
            <a:solidFill>
              <a:srgbClr val="CEE3BF"/>
            </a:solidFill>
            <a:ln w="9334" cap="flat">
              <a:noFill/>
              <a:prstDash val="solid"/>
              <a:miter/>
            </a:ln>
          </p:spPr>
          <p:txBody>
            <a:bodyPr rtlCol="0" anchor="ctr"/>
            <a:lstStyle/>
            <a:p>
              <a:endParaRPr lang="en-GB" dirty="0"/>
            </a:p>
          </p:txBody>
        </p:sp>
        <p:sp>
          <p:nvSpPr>
            <p:cNvPr id="1203" name="Freeform: Shape 1202">
              <a:extLst>
                <a:ext uri="{FF2B5EF4-FFF2-40B4-BE49-F238E27FC236}">
                  <a16:creationId xmlns:a16="http://schemas.microsoft.com/office/drawing/2014/main" id="{8660A9B3-CA2B-4DAE-B241-FC2B6D48F58D}"/>
                </a:ext>
              </a:extLst>
            </p:cNvPr>
            <p:cNvSpPr/>
            <p:nvPr/>
          </p:nvSpPr>
          <p:spPr>
            <a:xfrm>
              <a:off x="9190691" y="4225453"/>
              <a:ext cx="41457" cy="48460"/>
            </a:xfrm>
            <a:custGeom>
              <a:avLst/>
              <a:gdLst>
                <a:gd name="connsiteX0" fmla="*/ 0 w 41457"/>
                <a:gd name="connsiteY0" fmla="*/ 31187 h 48460"/>
                <a:gd name="connsiteX1" fmla="*/ 10365 w 41457"/>
                <a:gd name="connsiteY1" fmla="*/ 45006 h 48460"/>
                <a:gd name="connsiteX2" fmla="*/ 24184 w 41457"/>
                <a:gd name="connsiteY2" fmla="*/ 48461 h 48460"/>
                <a:gd name="connsiteX3" fmla="*/ 24184 w 41457"/>
                <a:gd name="connsiteY3" fmla="*/ 27732 h 48460"/>
                <a:gd name="connsiteX4" fmla="*/ 31093 w 41457"/>
                <a:gd name="connsiteY4" fmla="*/ 20822 h 48460"/>
                <a:gd name="connsiteX5" fmla="*/ 41458 w 41457"/>
                <a:gd name="connsiteY5" fmla="*/ 13913 h 48460"/>
                <a:gd name="connsiteX6" fmla="*/ 38003 w 41457"/>
                <a:gd name="connsiteY6" fmla="*/ 6910 h 48460"/>
                <a:gd name="connsiteX7" fmla="*/ 27639 w 41457"/>
                <a:gd name="connsiteY7" fmla="*/ 0 h 48460"/>
                <a:gd name="connsiteX8" fmla="*/ 17274 w 41457"/>
                <a:gd name="connsiteY8" fmla="*/ 3455 h 48460"/>
                <a:gd name="connsiteX9" fmla="*/ 13820 w 41457"/>
                <a:gd name="connsiteY9" fmla="*/ 17367 h 48460"/>
                <a:gd name="connsiteX10" fmla="*/ 6910 w 41457"/>
                <a:gd name="connsiteY10" fmla="*/ 27732 h 48460"/>
                <a:gd name="connsiteX11" fmla="*/ 0 w 41457"/>
                <a:gd name="connsiteY11" fmla="*/ 31187 h 4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57" h="48460">
                  <a:moveTo>
                    <a:pt x="0" y="31187"/>
                  </a:moveTo>
                  <a:lnTo>
                    <a:pt x="10365" y="45006"/>
                  </a:lnTo>
                  <a:lnTo>
                    <a:pt x="24184" y="48461"/>
                  </a:lnTo>
                  <a:lnTo>
                    <a:pt x="24184" y="27732"/>
                  </a:lnTo>
                  <a:lnTo>
                    <a:pt x="31093" y="20822"/>
                  </a:lnTo>
                  <a:lnTo>
                    <a:pt x="41458" y="13913"/>
                  </a:lnTo>
                  <a:lnTo>
                    <a:pt x="38003" y="6910"/>
                  </a:lnTo>
                  <a:lnTo>
                    <a:pt x="27639" y="0"/>
                  </a:lnTo>
                  <a:lnTo>
                    <a:pt x="17274" y="3455"/>
                  </a:lnTo>
                  <a:lnTo>
                    <a:pt x="13820" y="17367"/>
                  </a:lnTo>
                  <a:lnTo>
                    <a:pt x="6910" y="27732"/>
                  </a:lnTo>
                  <a:lnTo>
                    <a:pt x="0" y="31187"/>
                  </a:lnTo>
                  <a:close/>
                </a:path>
              </a:pathLst>
            </a:custGeom>
            <a:solidFill>
              <a:srgbClr val="CEE3BF"/>
            </a:solidFill>
            <a:ln w="9334" cap="flat">
              <a:noFill/>
              <a:prstDash val="solid"/>
              <a:miter/>
            </a:ln>
          </p:spPr>
          <p:txBody>
            <a:bodyPr rtlCol="0" anchor="ctr"/>
            <a:lstStyle/>
            <a:p>
              <a:endParaRPr lang="en-GB" dirty="0"/>
            </a:p>
          </p:txBody>
        </p:sp>
        <p:sp>
          <p:nvSpPr>
            <p:cNvPr id="1204" name="Freeform: Shape 1203">
              <a:extLst>
                <a:ext uri="{FF2B5EF4-FFF2-40B4-BE49-F238E27FC236}">
                  <a16:creationId xmlns:a16="http://schemas.microsoft.com/office/drawing/2014/main" id="{E3674709-583F-4A86-800B-946B1FC8814B}"/>
                </a:ext>
              </a:extLst>
            </p:cNvPr>
            <p:cNvSpPr/>
            <p:nvPr/>
          </p:nvSpPr>
          <p:spPr>
            <a:xfrm>
              <a:off x="9190691" y="4225453"/>
              <a:ext cx="41457" cy="48460"/>
            </a:xfrm>
            <a:custGeom>
              <a:avLst/>
              <a:gdLst>
                <a:gd name="connsiteX0" fmla="*/ 0 w 41457"/>
                <a:gd name="connsiteY0" fmla="*/ 31187 h 48460"/>
                <a:gd name="connsiteX1" fmla="*/ 10365 w 41457"/>
                <a:gd name="connsiteY1" fmla="*/ 45006 h 48460"/>
                <a:gd name="connsiteX2" fmla="*/ 24184 w 41457"/>
                <a:gd name="connsiteY2" fmla="*/ 48461 h 48460"/>
                <a:gd name="connsiteX3" fmla="*/ 24184 w 41457"/>
                <a:gd name="connsiteY3" fmla="*/ 27732 h 48460"/>
                <a:gd name="connsiteX4" fmla="*/ 31093 w 41457"/>
                <a:gd name="connsiteY4" fmla="*/ 20822 h 48460"/>
                <a:gd name="connsiteX5" fmla="*/ 41458 w 41457"/>
                <a:gd name="connsiteY5" fmla="*/ 13913 h 48460"/>
                <a:gd name="connsiteX6" fmla="*/ 38003 w 41457"/>
                <a:gd name="connsiteY6" fmla="*/ 6910 h 48460"/>
                <a:gd name="connsiteX7" fmla="*/ 27639 w 41457"/>
                <a:gd name="connsiteY7" fmla="*/ 0 h 48460"/>
                <a:gd name="connsiteX8" fmla="*/ 17274 w 41457"/>
                <a:gd name="connsiteY8" fmla="*/ 3455 h 48460"/>
                <a:gd name="connsiteX9" fmla="*/ 13820 w 41457"/>
                <a:gd name="connsiteY9" fmla="*/ 17367 h 48460"/>
                <a:gd name="connsiteX10" fmla="*/ 6910 w 41457"/>
                <a:gd name="connsiteY10" fmla="*/ 27732 h 48460"/>
                <a:gd name="connsiteX11" fmla="*/ 0 w 41457"/>
                <a:gd name="connsiteY11" fmla="*/ 31187 h 4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57" h="48460">
                  <a:moveTo>
                    <a:pt x="0" y="31187"/>
                  </a:moveTo>
                  <a:lnTo>
                    <a:pt x="10365" y="45006"/>
                  </a:lnTo>
                  <a:lnTo>
                    <a:pt x="24184" y="48461"/>
                  </a:lnTo>
                  <a:lnTo>
                    <a:pt x="24184" y="27732"/>
                  </a:lnTo>
                  <a:lnTo>
                    <a:pt x="31093" y="20822"/>
                  </a:lnTo>
                  <a:lnTo>
                    <a:pt x="41458" y="13913"/>
                  </a:lnTo>
                  <a:lnTo>
                    <a:pt x="38003" y="6910"/>
                  </a:lnTo>
                  <a:lnTo>
                    <a:pt x="27639" y="0"/>
                  </a:lnTo>
                  <a:lnTo>
                    <a:pt x="17274" y="3455"/>
                  </a:lnTo>
                  <a:lnTo>
                    <a:pt x="13820" y="17367"/>
                  </a:lnTo>
                  <a:lnTo>
                    <a:pt x="6910" y="27732"/>
                  </a:lnTo>
                  <a:lnTo>
                    <a:pt x="0" y="31187"/>
                  </a:lnTo>
                  <a:close/>
                </a:path>
              </a:pathLst>
            </a:custGeom>
            <a:solidFill>
              <a:srgbClr val="CEE3BF"/>
            </a:solidFill>
            <a:ln w="9334" cap="flat">
              <a:noFill/>
              <a:prstDash val="solid"/>
              <a:miter/>
            </a:ln>
          </p:spPr>
          <p:txBody>
            <a:bodyPr rtlCol="0" anchor="ctr"/>
            <a:lstStyle/>
            <a:p>
              <a:endParaRPr lang="en-GB" dirty="0"/>
            </a:p>
          </p:txBody>
        </p:sp>
        <p:sp>
          <p:nvSpPr>
            <p:cNvPr id="1205" name="Freeform: Shape 1204">
              <a:extLst>
                <a:ext uri="{FF2B5EF4-FFF2-40B4-BE49-F238E27FC236}">
                  <a16:creationId xmlns:a16="http://schemas.microsoft.com/office/drawing/2014/main" id="{D3D3DF46-EDA4-478A-B4DD-281BB3C65894}"/>
                </a:ext>
              </a:extLst>
            </p:cNvPr>
            <p:cNvSpPr/>
            <p:nvPr/>
          </p:nvSpPr>
          <p:spPr>
            <a:xfrm>
              <a:off x="9128598" y="3821053"/>
              <a:ext cx="51728" cy="93373"/>
            </a:xfrm>
            <a:custGeom>
              <a:avLst/>
              <a:gdLst>
                <a:gd name="connsiteX0" fmla="*/ 51729 w 51728"/>
                <a:gd name="connsiteY0" fmla="*/ 6910 h 93373"/>
                <a:gd name="connsiteX1" fmla="*/ 44819 w 51728"/>
                <a:gd name="connsiteY1" fmla="*/ 31093 h 93373"/>
                <a:gd name="connsiteX2" fmla="*/ 37909 w 51728"/>
                <a:gd name="connsiteY2" fmla="*/ 48367 h 93373"/>
                <a:gd name="connsiteX3" fmla="*/ 34455 w 51728"/>
                <a:gd name="connsiteY3" fmla="*/ 62187 h 93373"/>
                <a:gd name="connsiteX4" fmla="*/ 27545 w 51728"/>
                <a:gd name="connsiteY4" fmla="*/ 83009 h 93373"/>
                <a:gd name="connsiteX5" fmla="*/ 17180 w 51728"/>
                <a:gd name="connsiteY5" fmla="*/ 93373 h 93373"/>
                <a:gd name="connsiteX6" fmla="*/ 6816 w 51728"/>
                <a:gd name="connsiteY6" fmla="*/ 72551 h 93373"/>
                <a:gd name="connsiteX7" fmla="*/ 0 w 51728"/>
                <a:gd name="connsiteY7" fmla="*/ 44912 h 93373"/>
                <a:gd name="connsiteX8" fmla="*/ 13726 w 51728"/>
                <a:gd name="connsiteY8" fmla="*/ 20729 h 93373"/>
                <a:gd name="connsiteX9" fmla="*/ 31000 w 51728"/>
                <a:gd name="connsiteY9" fmla="*/ 6910 h 93373"/>
                <a:gd name="connsiteX10" fmla="*/ 37909 w 51728"/>
                <a:gd name="connsiteY10" fmla="*/ 0 h 93373"/>
                <a:gd name="connsiteX11" fmla="*/ 51729 w 51728"/>
                <a:gd name="connsiteY11" fmla="*/ 6910 h 9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728" h="93373">
                  <a:moveTo>
                    <a:pt x="51729" y="6910"/>
                  </a:moveTo>
                  <a:lnTo>
                    <a:pt x="44819" y="31093"/>
                  </a:lnTo>
                  <a:lnTo>
                    <a:pt x="37909" y="48367"/>
                  </a:lnTo>
                  <a:lnTo>
                    <a:pt x="34455" y="62187"/>
                  </a:lnTo>
                  <a:lnTo>
                    <a:pt x="27545" y="83009"/>
                  </a:lnTo>
                  <a:lnTo>
                    <a:pt x="17180" y="93373"/>
                  </a:lnTo>
                  <a:lnTo>
                    <a:pt x="6816" y="72551"/>
                  </a:lnTo>
                  <a:lnTo>
                    <a:pt x="0" y="44912"/>
                  </a:lnTo>
                  <a:lnTo>
                    <a:pt x="13726" y="20729"/>
                  </a:lnTo>
                  <a:lnTo>
                    <a:pt x="31000" y="6910"/>
                  </a:lnTo>
                  <a:lnTo>
                    <a:pt x="37909" y="0"/>
                  </a:lnTo>
                  <a:lnTo>
                    <a:pt x="51729" y="6910"/>
                  </a:lnTo>
                  <a:close/>
                </a:path>
              </a:pathLst>
            </a:custGeom>
            <a:solidFill>
              <a:srgbClr val="CEE3BF"/>
            </a:solidFill>
            <a:ln w="9334" cap="flat">
              <a:noFill/>
              <a:prstDash val="solid"/>
              <a:miter/>
            </a:ln>
          </p:spPr>
          <p:txBody>
            <a:bodyPr rtlCol="0" anchor="ctr"/>
            <a:lstStyle/>
            <a:p>
              <a:endParaRPr lang="en-GB" dirty="0"/>
            </a:p>
          </p:txBody>
        </p:sp>
        <p:sp>
          <p:nvSpPr>
            <p:cNvPr id="1206" name="Freeform: Shape 1205">
              <a:extLst>
                <a:ext uri="{FF2B5EF4-FFF2-40B4-BE49-F238E27FC236}">
                  <a16:creationId xmlns:a16="http://schemas.microsoft.com/office/drawing/2014/main" id="{E2D2B246-C871-4DEE-802D-98DBAD787ABF}"/>
                </a:ext>
              </a:extLst>
            </p:cNvPr>
            <p:cNvSpPr/>
            <p:nvPr/>
          </p:nvSpPr>
          <p:spPr>
            <a:xfrm>
              <a:off x="9670536" y="3188450"/>
              <a:ext cx="158827" cy="134830"/>
            </a:xfrm>
            <a:custGeom>
              <a:avLst/>
              <a:gdLst>
                <a:gd name="connsiteX0" fmla="*/ 51822 w 158827"/>
                <a:gd name="connsiteY0" fmla="*/ 0 h 134830"/>
                <a:gd name="connsiteX1" fmla="*/ 65642 w 158827"/>
                <a:gd name="connsiteY1" fmla="*/ 10364 h 134830"/>
                <a:gd name="connsiteX2" fmla="*/ 82915 w 158827"/>
                <a:gd name="connsiteY2" fmla="*/ 27638 h 134830"/>
                <a:gd name="connsiteX3" fmla="*/ 114009 w 158827"/>
                <a:gd name="connsiteY3" fmla="*/ 44912 h 134830"/>
                <a:gd name="connsiteX4" fmla="*/ 131283 w 158827"/>
                <a:gd name="connsiteY4" fmla="*/ 51822 h 134830"/>
                <a:gd name="connsiteX5" fmla="*/ 145009 w 158827"/>
                <a:gd name="connsiteY5" fmla="*/ 41458 h 134830"/>
                <a:gd name="connsiteX6" fmla="*/ 155373 w 158827"/>
                <a:gd name="connsiteY6" fmla="*/ 41458 h 134830"/>
                <a:gd name="connsiteX7" fmla="*/ 145009 w 158827"/>
                <a:gd name="connsiteY7" fmla="*/ 51822 h 134830"/>
                <a:gd name="connsiteX8" fmla="*/ 151918 w 158827"/>
                <a:gd name="connsiteY8" fmla="*/ 62187 h 134830"/>
                <a:gd name="connsiteX9" fmla="*/ 158828 w 158827"/>
                <a:gd name="connsiteY9" fmla="*/ 69096 h 134830"/>
                <a:gd name="connsiteX10" fmla="*/ 145009 w 158827"/>
                <a:gd name="connsiteY10" fmla="*/ 79554 h 134830"/>
                <a:gd name="connsiteX11" fmla="*/ 138099 w 158827"/>
                <a:gd name="connsiteY11" fmla="*/ 83009 h 134830"/>
                <a:gd name="connsiteX12" fmla="*/ 127734 w 158827"/>
                <a:gd name="connsiteY12" fmla="*/ 79554 h 134830"/>
                <a:gd name="connsiteX13" fmla="*/ 117464 w 158827"/>
                <a:gd name="connsiteY13" fmla="*/ 83009 h 134830"/>
                <a:gd name="connsiteX14" fmla="*/ 100190 w 158827"/>
                <a:gd name="connsiteY14" fmla="*/ 89918 h 134830"/>
                <a:gd name="connsiteX15" fmla="*/ 89825 w 158827"/>
                <a:gd name="connsiteY15" fmla="*/ 103738 h 134830"/>
                <a:gd name="connsiteX16" fmla="*/ 89825 w 158827"/>
                <a:gd name="connsiteY16" fmla="*/ 114102 h 134830"/>
                <a:gd name="connsiteX17" fmla="*/ 76006 w 158827"/>
                <a:gd name="connsiteY17" fmla="*/ 107192 h 134830"/>
                <a:gd name="connsiteX18" fmla="*/ 62187 w 158827"/>
                <a:gd name="connsiteY18" fmla="*/ 96828 h 134830"/>
                <a:gd name="connsiteX19" fmla="*/ 48367 w 158827"/>
                <a:gd name="connsiteY19" fmla="*/ 93373 h 134830"/>
                <a:gd name="connsiteX20" fmla="*/ 41458 w 158827"/>
                <a:gd name="connsiteY20" fmla="*/ 96828 h 134830"/>
                <a:gd name="connsiteX21" fmla="*/ 38003 w 158827"/>
                <a:gd name="connsiteY21" fmla="*/ 103738 h 134830"/>
                <a:gd name="connsiteX22" fmla="*/ 27639 w 158827"/>
                <a:gd name="connsiteY22" fmla="*/ 96828 h 134830"/>
                <a:gd name="connsiteX23" fmla="*/ 17274 w 158827"/>
                <a:gd name="connsiteY23" fmla="*/ 93373 h 134830"/>
                <a:gd name="connsiteX24" fmla="*/ 13820 w 158827"/>
                <a:gd name="connsiteY24" fmla="*/ 100283 h 134830"/>
                <a:gd name="connsiteX25" fmla="*/ 17274 w 158827"/>
                <a:gd name="connsiteY25" fmla="*/ 110647 h 134830"/>
                <a:gd name="connsiteX26" fmla="*/ 27639 w 158827"/>
                <a:gd name="connsiteY26" fmla="*/ 114102 h 134830"/>
                <a:gd name="connsiteX27" fmla="*/ 24184 w 158827"/>
                <a:gd name="connsiteY27" fmla="*/ 124466 h 134830"/>
                <a:gd name="connsiteX28" fmla="*/ 13820 w 158827"/>
                <a:gd name="connsiteY28" fmla="*/ 127921 h 134830"/>
                <a:gd name="connsiteX29" fmla="*/ 3455 w 158827"/>
                <a:gd name="connsiteY29" fmla="*/ 134831 h 134830"/>
                <a:gd name="connsiteX30" fmla="*/ 3455 w 158827"/>
                <a:gd name="connsiteY30" fmla="*/ 117557 h 134830"/>
                <a:gd name="connsiteX31" fmla="*/ 0 w 158827"/>
                <a:gd name="connsiteY31" fmla="*/ 103738 h 134830"/>
                <a:gd name="connsiteX32" fmla="*/ 0 w 158827"/>
                <a:gd name="connsiteY32" fmla="*/ 89918 h 134830"/>
                <a:gd name="connsiteX33" fmla="*/ 10364 w 158827"/>
                <a:gd name="connsiteY33" fmla="*/ 86464 h 134830"/>
                <a:gd name="connsiteX34" fmla="*/ 17274 w 158827"/>
                <a:gd name="connsiteY34" fmla="*/ 76099 h 134830"/>
                <a:gd name="connsiteX35" fmla="*/ 17274 w 158827"/>
                <a:gd name="connsiteY35" fmla="*/ 65735 h 134830"/>
                <a:gd name="connsiteX36" fmla="*/ 27639 w 158827"/>
                <a:gd name="connsiteY36" fmla="*/ 65735 h 134830"/>
                <a:gd name="connsiteX37" fmla="*/ 38003 w 158827"/>
                <a:gd name="connsiteY37" fmla="*/ 72644 h 134830"/>
                <a:gd name="connsiteX38" fmla="*/ 48367 w 158827"/>
                <a:gd name="connsiteY38" fmla="*/ 69096 h 134830"/>
                <a:gd name="connsiteX39" fmla="*/ 51822 w 158827"/>
                <a:gd name="connsiteY39" fmla="*/ 27638 h 134830"/>
                <a:gd name="connsiteX40" fmla="*/ 51822 w 158827"/>
                <a:gd name="connsiteY40" fmla="*/ 0 h 13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8827" h="134830">
                  <a:moveTo>
                    <a:pt x="51822" y="0"/>
                  </a:moveTo>
                  <a:lnTo>
                    <a:pt x="65642" y="10364"/>
                  </a:lnTo>
                  <a:lnTo>
                    <a:pt x="82915" y="27638"/>
                  </a:lnTo>
                  <a:lnTo>
                    <a:pt x="114009" y="44912"/>
                  </a:lnTo>
                  <a:lnTo>
                    <a:pt x="131283" y="51822"/>
                  </a:lnTo>
                  <a:lnTo>
                    <a:pt x="145009" y="41458"/>
                  </a:lnTo>
                  <a:lnTo>
                    <a:pt x="155373" y="41458"/>
                  </a:lnTo>
                  <a:lnTo>
                    <a:pt x="145009" y="51822"/>
                  </a:lnTo>
                  <a:lnTo>
                    <a:pt x="151918" y="62187"/>
                  </a:lnTo>
                  <a:lnTo>
                    <a:pt x="158828" y="69096"/>
                  </a:lnTo>
                  <a:lnTo>
                    <a:pt x="145009" y="79554"/>
                  </a:lnTo>
                  <a:lnTo>
                    <a:pt x="138099" y="83009"/>
                  </a:lnTo>
                  <a:lnTo>
                    <a:pt x="127734" y="79554"/>
                  </a:lnTo>
                  <a:lnTo>
                    <a:pt x="117464" y="83009"/>
                  </a:lnTo>
                  <a:lnTo>
                    <a:pt x="100190" y="89918"/>
                  </a:lnTo>
                  <a:lnTo>
                    <a:pt x="89825" y="103738"/>
                  </a:lnTo>
                  <a:lnTo>
                    <a:pt x="89825" y="114102"/>
                  </a:lnTo>
                  <a:lnTo>
                    <a:pt x="76006" y="107192"/>
                  </a:lnTo>
                  <a:lnTo>
                    <a:pt x="62187" y="96828"/>
                  </a:lnTo>
                  <a:lnTo>
                    <a:pt x="48367" y="93373"/>
                  </a:lnTo>
                  <a:lnTo>
                    <a:pt x="41458" y="96828"/>
                  </a:lnTo>
                  <a:lnTo>
                    <a:pt x="38003" y="103738"/>
                  </a:lnTo>
                  <a:lnTo>
                    <a:pt x="27639" y="96828"/>
                  </a:lnTo>
                  <a:lnTo>
                    <a:pt x="17274" y="93373"/>
                  </a:lnTo>
                  <a:lnTo>
                    <a:pt x="13820" y="100283"/>
                  </a:lnTo>
                  <a:lnTo>
                    <a:pt x="17274" y="110647"/>
                  </a:lnTo>
                  <a:lnTo>
                    <a:pt x="27639" y="114102"/>
                  </a:lnTo>
                  <a:lnTo>
                    <a:pt x="24184" y="124466"/>
                  </a:lnTo>
                  <a:lnTo>
                    <a:pt x="13820" y="127921"/>
                  </a:lnTo>
                  <a:lnTo>
                    <a:pt x="3455" y="134831"/>
                  </a:lnTo>
                  <a:lnTo>
                    <a:pt x="3455" y="117557"/>
                  </a:lnTo>
                  <a:lnTo>
                    <a:pt x="0" y="103738"/>
                  </a:lnTo>
                  <a:lnTo>
                    <a:pt x="0" y="89918"/>
                  </a:lnTo>
                  <a:lnTo>
                    <a:pt x="10364" y="86464"/>
                  </a:lnTo>
                  <a:lnTo>
                    <a:pt x="17274" y="76099"/>
                  </a:lnTo>
                  <a:lnTo>
                    <a:pt x="17274" y="65735"/>
                  </a:lnTo>
                  <a:lnTo>
                    <a:pt x="27639" y="65735"/>
                  </a:lnTo>
                  <a:lnTo>
                    <a:pt x="38003" y="72644"/>
                  </a:lnTo>
                  <a:lnTo>
                    <a:pt x="48367" y="69096"/>
                  </a:lnTo>
                  <a:lnTo>
                    <a:pt x="51822" y="27638"/>
                  </a:lnTo>
                  <a:lnTo>
                    <a:pt x="51822" y="0"/>
                  </a:lnTo>
                  <a:close/>
                </a:path>
              </a:pathLst>
            </a:custGeom>
            <a:solidFill>
              <a:srgbClr val="CEE3BF"/>
            </a:solidFill>
            <a:ln w="9334" cap="flat">
              <a:noFill/>
              <a:prstDash val="solid"/>
              <a:miter/>
            </a:ln>
          </p:spPr>
          <p:txBody>
            <a:bodyPr rtlCol="0" anchor="ctr"/>
            <a:lstStyle/>
            <a:p>
              <a:endParaRPr lang="en-GB" dirty="0"/>
            </a:p>
          </p:txBody>
        </p:sp>
        <p:sp>
          <p:nvSpPr>
            <p:cNvPr id="1207" name="Freeform: Shape 1206">
              <a:extLst>
                <a:ext uri="{FF2B5EF4-FFF2-40B4-BE49-F238E27FC236}">
                  <a16:creationId xmlns:a16="http://schemas.microsoft.com/office/drawing/2014/main" id="{3542A83E-DCC8-4C24-BB94-65A1DD496494}"/>
                </a:ext>
              </a:extLst>
            </p:cNvPr>
            <p:cNvSpPr/>
            <p:nvPr/>
          </p:nvSpPr>
          <p:spPr>
            <a:xfrm>
              <a:off x="9459979" y="3547937"/>
              <a:ext cx="69096" cy="45005"/>
            </a:xfrm>
            <a:custGeom>
              <a:avLst/>
              <a:gdLst>
                <a:gd name="connsiteX0" fmla="*/ 51822 w 69096"/>
                <a:gd name="connsiteY0" fmla="*/ 27638 h 45005"/>
                <a:gd name="connsiteX1" fmla="*/ 41458 w 69096"/>
                <a:gd name="connsiteY1" fmla="*/ 24184 h 45005"/>
                <a:gd name="connsiteX2" fmla="*/ 31093 w 69096"/>
                <a:gd name="connsiteY2" fmla="*/ 31187 h 45005"/>
                <a:gd name="connsiteX3" fmla="*/ 24184 w 69096"/>
                <a:gd name="connsiteY3" fmla="*/ 45006 h 45005"/>
                <a:gd name="connsiteX4" fmla="*/ 10364 w 69096"/>
                <a:gd name="connsiteY4" fmla="*/ 41551 h 45005"/>
                <a:gd name="connsiteX5" fmla="*/ 10364 w 69096"/>
                <a:gd name="connsiteY5" fmla="*/ 31187 h 45005"/>
                <a:gd name="connsiteX6" fmla="*/ 0 w 69096"/>
                <a:gd name="connsiteY6" fmla="*/ 24184 h 45005"/>
                <a:gd name="connsiteX7" fmla="*/ 13819 w 69096"/>
                <a:gd name="connsiteY7" fmla="*/ 13819 h 45005"/>
                <a:gd name="connsiteX8" fmla="*/ 27639 w 69096"/>
                <a:gd name="connsiteY8" fmla="*/ 13819 h 45005"/>
                <a:gd name="connsiteX9" fmla="*/ 41458 w 69096"/>
                <a:gd name="connsiteY9" fmla="*/ 10364 h 45005"/>
                <a:gd name="connsiteX10" fmla="*/ 48367 w 69096"/>
                <a:gd name="connsiteY10" fmla="*/ 0 h 45005"/>
                <a:gd name="connsiteX11" fmla="*/ 62186 w 69096"/>
                <a:gd name="connsiteY11" fmla="*/ 0 h 45005"/>
                <a:gd name="connsiteX12" fmla="*/ 69096 w 69096"/>
                <a:gd name="connsiteY12" fmla="*/ 10364 h 45005"/>
                <a:gd name="connsiteX13" fmla="*/ 65642 w 69096"/>
                <a:gd name="connsiteY13" fmla="*/ 13819 h 45005"/>
                <a:gd name="connsiteX14" fmla="*/ 58732 w 69096"/>
                <a:gd name="connsiteY14" fmla="*/ 24184 h 45005"/>
                <a:gd name="connsiteX15" fmla="*/ 51822 w 69096"/>
                <a:gd name="connsiteY15" fmla="*/ 27638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096" h="45005">
                  <a:moveTo>
                    <a:pt x="51822" y="27638"/>
                  </a:moveTo>
                  <a:lnTo>
                    <a:pt x="41458" y="24184"/>
                  </a:lnTo>
                  <a:lnTo>
                    <a:pt x="31093" y="31187"/>
                  </a:lnTo>
                  <a:lnTo>
                    <a:pt x="24184" y="45006"/>
                  </a:lnTo>
                  <a:lnTo>
                    <a:pt x="10364" y="41551"/>
                  </a:lnTo>
                  <a:lnTo>
                    <a:pt x="10364" y="31187"/>
                  </a:lnTo>
                  <a:lnTo>
                    <a:pt x="0" y="24184"/>
                  </a:lnTo>
                  <a:lnTo>
                    <a:pt x="13819" y="13819"/>
                  </a:lnTo>
                  <a:lnTo>
                    <a:pt x="27639" y="13819"/>
                  </a:lnTo>
                  <a:lnTo>
                    <a:pt x="41458" y="10364"/>
                  </a:lnTo>
                  <a:lnTo>
                    <a:pt x="48367" y="0"/>
                  </a:lnTo>
                  <a:lnTo>
                    <a:pt x="62186" y="0"/>
                  </a:lnTo>
                  <a:lnTo>
                    <a:pt x="69096" y="10364"/>
                  </a:lnTo>
                  <a:lnTo>
                    <a:pt x="65642" y="13819"/>
                  </a:lnTo>
                  <a:lnTo>
                    <a:pt x="58732" y="24184"/>
                  </a:lnTo>
                  <a:lnTo>
                    <a:pt x="51822" y="27638"/>
                  </a:lnTo>
                  <a:close/>
                </a:path>
              </a:pathLst>
            </a:custGeom>
            <a:solidFill>
              <a:srgbClr val="CEE3BF"/>
            </a:solidFill>
            <a:ln w="9334" cap="flat">
              <a:noFill/>
              <a:prstDash val="solid"/>
              <a:miter/>
            </a:ln>
          </p:spPr>
          <p:txBody>
            <a:bodyPr rtlCol="0" anchor="ctr"/>
            <a:lstStyle/>
            <a:p>
              <a:endParaRPr lang="en-GB" dirty="0"/>
            </a:p>
          </p:txBody>
        </p:sp>
        <p:sp>
          <p:nvSpPr>
            <p:cNvPr id="1208" name="Freeform: Shape 1207">
              <a:extLst>
                <a:ext uri="{FF2B5EF4-FFF2-40B4-BE49-F238E27FC236}">
                  <a16:creationId xmlns:a16="http://schemas.microsoft.com/office/drawing/2014/main" id="{E89F98C8-2674-402C-B4B6-2DF0DBE242CF}"/>
                </a:ext>
              </a:extLst>
            </p:cNvPr>
            <p:cNvSpPr/>
            <p:nvPr/>
          </p:nvSpPr>
          <p:spPr>
            <a:xfrm>
              <a:off x="9387522" y="3558301"/>
              <a:ext cx="65548" cy="86463"/>
            </a:xfrm>
            <a:custGeom>
              <a:avLst/>
              <a:gdLst>
                <a:gd name="connsiteX0" fmla="*/ 6910 w 65548"/>
                <a:gd name="connsiteY0" fmla="*/ 20822 h 86463"/>
                <a:gd name="connsiteX1" fmla="*/ 17181 w 65548"/>
                <a:gd name="connsiteY1" fmla="*/ 13819 h 86463"/>
                <a:gd name="connsiteX2" fmla="*/ 27545 w 65548"/>
                <a:gd name="connsiteY2" fmla="*/ 0 h 86463"/>
                <a:gd name="connsiteX3" fmla="*/ 41364 w 65548"/>
                <a:gd name="connsiteY3" fmla="*/ 0 h 86463"/>
                <a:gd name="connsiteX4" fmla="*/ 48274 w 65548"/>
                <a:gd name="connsiteY4" fmla="*/ 10364 h 86463"/>
                <a:gd name="connsiteX5" fmla="*/ 58639 w 65548"/>
                <a:gd name="connsiteY5" fmla="*/ 17274 h 86463"/>
                <a:gd name="connsiteX6" fmla="*/ 65548 w 65548"/>
                <a:gd name="connsiteY6" fmla="*/ 27732 h 86463"/>
                <a:gd name="connsiteX7" fmla="*/ 62093 w 65548"/>
                <a:gd name="connsiteY7" fmla="*/ 41551 h 86463"/>
                <a:gd name="connsiteX8" fmla="*/ 55184 w 65548"/>
                <a:gd name="connsiteY8" fmla="*/ 45006 h 86463"/>
                <a:gd name="connsiteX9" fmla="*/ 51729 w 65548"/>
                <a:gd name="connsiteY9" fmla="*/ 55370 h 86463"/>
                <a:gd name="connsiteX10" fmla="*/ 51729 w 65548"/>
                <a:gd name="connsiteY10" fmla="*/ 69189 h 86463"/>
                <a:gd name="connsiteX11" fmla="*/ 44819 w 65548"/>
                <a:gd name="connsiteY11" fmla="*/ 86464 h 86463"/>
                <a:gd name="connsiteX12" fmla="*/ 31000 w 65548"/>
                <a:gd name="connsiteY12" fmla="*/ 83009 h 86463"/>
                <a:gd name="connsiteX13" fmla="*/ 31000 w 65548"/>
                <a:gd name="connsiteY13" fmla="*/ 76099 h 86463"/>
                <a:gd name="connsiteX14" fmla="*/ 34455 w 65548"/>
                <a:gd name="connsiteY14" fmla="*/ 62280 h 86463"/>
                <a:gd name="connsiteX15" fmla="*/ 20636 w 65548"/>
                <a:gd name="connsiteY15" fmla="*/ 62280 h 86463"/>
                <a:gd name="connsiteX16" fmla="*/ 24090 w 65548"/>
                <a:gd name="connsiteY16" fmla="*/ 51915 h 86463"/>
                <a:gd name="connsiteX17" fmla="*/ 31000 w 65548"/>
                <a:gd name="connsiteY17" fmla="*/ 41551 h 86463"/>
                <a:gd name="connsiteX18" fmla="*/ 31000 w 65548"/>
                <a:gd name="connsiteY18" fmla="*/ 34641 h 86463"/>
                <a:gd name="connsiteX19" fmla="*/ 27545 w 65548"/>
                <a:gd name="connsiteY19" fmla="*/ 24277 h 86463"/>
                <a:gd name="connsiteX20" fmla="*/ 13726 w 65548"/>
                <a:gd name="connsiteY20" fmla="*/ 27732 h 86463"/>
                <a:gd name="connsiteX21" fmla="*/ 0 w 65548"/>
                <a:gd name="connsiteY21" fmla="*/ 31187 h 86463"/>
                <a:gd name="connsiteX22" fmla="*/ 6910 w 65548"/>
                <a:gd name="connsiteY22" fmla="*/ 20822 h 8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548" h="86463">
                  <a:moveTo>
                    <a:pt x="6910" y="20822"/>
                  </a:moveTo>
                  <a:lnTo>
                    <a:pt x="17181" y="13819"/>
                  </a:lnTo>
                  <a:lnTo>
                    <a:pt x="27545" y="0"/>
                  </a:lnTo>
                  <a:lnTo>
                    <a:pt x="41364" y="0"/>
                  </a:lnTo>
                  <a:lnTo>
                    <a:pt x="48274" y="10364"/>
                  </a:lnTo>
                  <a:lnTo>
                    <a:pt x="58639" y="17274"/>
                  </a:lnTo>
                  <a:lnTo>
                    <a:pt x="65548" y="27732"/>
                  </a:lnTo>
                  <a:lnTo>
                    <a:pt x="62093" y="41551"/>
                  </a:lnTo>
                  <a:lnTo>
                    <a:pt x="55184" y="45006"/>
                  </a:lnTo>
                  <a:lnTo>
                    <a:pt x="51729" y="55370"/>
                  </a:lnTo>
                  <a:lnTo>
                    <a:pt x="51729" y="69189"/>
                  </a:lnTo>
                  <a:lnTo>
                    <a:pt x="44819" y="86464"/>
                  </a:lnTo>
                  <a:lnTo>
                    <a:pt x="31000" y="83009"/>
                  </a:lnTo>
                  <a:lnTo>
                    <a:pt x="31000" y="76099"/>
                  </a:lnTo>
                  <a:lnTo>
                    <a:pt x="34455" y="62280"/>
                  </a:lnTo>
                  <a:lnTo>
                    <a:pt x="20636" y="62280"/>
                  </a:lnTo>
                  <a:lnTo>
                    <a:pt x="24090" y="51915"/>
                  </a:lnTo>
                  <a:lnTo>
                    <a:pt x="31000" y="41551"/>
                  </a:lnTo>
                  <a:lnTo>
                    <a:pt x="31000" y="34641"/>
                  </a:lnTo>
                  <a:lnTo>
                    <a:pt x="27545" y="24277"/>
                  </a:lnTo>
                  <a:lnTo>
                    <a:pt x="13726" y="27732"/>
                  </a:lnTo>
                  <a:lnTo>
                    <a:pt x="0" y="31187"/>
                  </a:lnTo>
                  <a:lnTo>
                    <a:pt x="6910" y="20822"/>
                  </a:lnTo>
                  <a:close/>
                </a:path>
              </a:pathLst>
            </a:custGeom>
            <a:solidFill>
              <a:srgbClr val="CEE3BF"/>
            </a:solidFill>
            <a:ln w="9334" cap="flat">
              <a:noFill/>
              <a:prstDash val="solid"/>
              <a:miter/>
            </a:ln>
          </p:spPr>
          <p:txBody>
            <a:bodyPr rtlCol="0" anchor="ctr"/>
            <a:lstStyle/>
            <a:p>
              <a:endParaRPr lang="en-GB" dirty="0"/>
            </a:p>
          </p:txBody>
        </p:sp>
        <p:sp>
          <p:nvSpPr>
            <p:cNvPr id="1209" name="Freeform: Shape 1208">
              <a:extLst>
                <a:ext uri="{FF2B5EF4-FFF2-40B4-BE49-F238E27FC236}">
                  <a16:creationId xmlns:a16="http://schemas.microsoft.com/office/drawing/2014/main" id="{BECBB8C0-3621-426A-8EDF-7756C7709140}"/>
                </a:ext>
              </a:extLst>
            </p:cNvPr>
            <p:cNvSpPr/>
            <p:nvPr/>
          </p:nvSpPr>
          <p:spPr>
            <a:xfrm>
              <a:off x="9428886" y="3316371"/>
              <a:ext cx="300382" cy="255749"/>
            </a:xfrm>
            <a:custGeom>
              <a:avLst/>
              <a:gdLst>
                <a:gd name="connsiteX0" fmla="*/ 0 w 300382"/>
                <a:gd name="connsiteY0" fmla="*/ 231566 h 255749"/>
                <a:gd name="connsiteX1" fmla="*/ 20729 w 300382"/>
                <a:gd name="connsiteY1" fmla="*/ 221201 h 255749"/>
                <a:gd name="connsiteX2" fmla="*/ 44912 w 300382"/>
                <a:gd name="connsiteY2" fmla="*/ 203927 h 255749"/>
                <a:gd name="connsiteX3" fmla="*/ 55277 w 300382"/>
                <a:gd name="connsiteY3" fmla="*/ 193563 h 255749"/>
                <a:gd name="connsiteX4" fmla="*/ 76006 w 300382"/>
                <a:gd name="connsiteY4" fmla="*/ 190108 h 255749"/>
                <a:gd name="connsiteX5" fmla="*/ 103645 w 300382"/>
                <a:gd name="connsiteY5" fmla="*/ 190108 h 255749"/>
                <a:gd name="connsiteX6" fmla="*/ 131190 w 300382"/>
                <a:gd name="connsiteY6" fmla="*/ 190108 h 255749"/>
                <a:gd name="connsiteX7" fmla="*/ 138099 w 300382"/>
                <a:gd name="connsiteY7" fmla="*/ 172834 h 255749"/>
                <a:gd name="connsiteX8" fmla="*/ 151918 w 300382"/>
                <a:gd name="connsiteY8" fmla="*/ 155560 h 255749"/>
                <a:gd name="connsiteX9" fmla="*/ 158828 w 300382"/>
                <a:gd name="connsiteY9" fmla="*/ 141740 h 255749"/>
                <a:gd name="connsiteX10" fmla="*/ 169192 w 300382"/>
                <a:gd name="connsiteY10" fmla="*/ 127921 h 255749"/>
                <a:gd name="connsiteX11" fmla="*/ 172647 w 300382"/>
                <a:gd name="connsiteY11" fmla="*/ 138286 h 255749"/>
                <a:gd name="connsiteX12" fmla="*/ 172647 w 300382"/>
                <a:gd name="connsiteY12" fmla="*/ 148650 h 255749"/>
                <a:gd name="connsiteX13" fmla="*/ 189921 w 300382"/>
                <a:gd name="connsiteY13" fmla="*/ 141740 h 255749"/>
                <a:gd name="connsiteX14" fmla="*/ 217560 w 300382"/>
                <a:gd name="connsiteY14" fmla="*/ 124466 h 255749"/>
                <a:gd name="connsiteX15" fmla="*/ 241650 w 300382"/>
                <a:gd name="connsiteY15" fmla="*/ 89825 h 255749"/>
                <a:gd name="connsiteX16" fmla="*/ 252014 w 300382"/>
                <a:gd name="connsiteY16" fmla="*/ 62187 h 255749"/>
                <a:gd name="connsiteX17" fmla="*/ 248559 w 300382"/>
                <a:gd name="connsiteY17" fmla="*/ 51822 h 255749"/>
                <a:gd name="connsiteX18" fmla="*/ 245105 w 300382"/>
                <a:gd name="connsiteY18" fmla="*/ 31093 h 255749"/>
                <a:gd name="connsiteX19" fmla="*/ 252014 w 300382"/>
                <a:gd name="connsiteY19" fmla="*/ 17274 h 255749"/>
                <a:gd name="connsiteX20" fmla="*/ 258924 w 300382"/>
                <a:gd name="connsiteY20" fmla="*/ 13819 h 255749"/>
                <a:gd name="connsiteX21" fmla="*/ 276198 w 300382"/>
                <a:gd name="connsiteY21" fmla="*/ 20729 h 255749"/>
                <a:gd name="connsiteX22" fmla="*/ 279653 w 300382"/>
                <a:gd name="connsiteY22" fmla="*/ 10364 h 255749"/>
                <a:gd name="connsiteX23" fmla="*/ 272743 w 300382"/>
                <a:gd name="connsiteY23" fmla="*/ 3455 h 255749"/>
                <a:gd name="connsiteX24" fmla="*/ 283108 w 300382"/>
                <a:gd name="connsiteY24" fmla="*/ 0 h 255749"/>
                <a:gd name="connsiteX25" fmla="*/ 286562 w 300382"/>
                <a:gd name="connsiteY25" fmla="*/ 17274 h 255749"/>
                <a:gd name="connsiteX26" fmla="*/ 286562 w 300382"/>
                <a:gd name="connsiteY26" fmla="*/ 31093 h 255749"/>
                <a:gd name="connsiteX27" fmla="*/ 296927 w 300382"/>
                <a:gd name="connsiteY27" fmla="*/ 48367 h 255749"/>
                <a:gd name="connsiteX28" fmla="*/ 300382 w 300382"/>
                <a:gd name="connsiteY28" fmla="*/ 62187 h 255749"/>
                <a:gd name="connsiteX29" fmla="*/ 290017 w 300382"/>
                <a:gd name="connsiteY29" fmla="*/ 82915 h 255749"/>
                <a:gd name="connsiteX30" fmla="*/ 276198 w 300382"/>
                <a:gd name="connsiteY30" fmla="*/ 100189 h 255749"/>
                <a:gd name="connsiteX31" fmla="*/ 272743 w 300382"/>
                <a:gd name="connsiteY31" fmla="*/ 114102 h 255749"/>
                <a:gd name="connsiteX32" fmla="*/ 272743 w 300382"/>
                <a:gd name="connsiteY32" fmla="*/ 138286 h 255749"/>
                <a:gd name="connsiteX33" fmla="*/ 265834 w 300382"/>
                <a:gd name="connsiteY33" fmla="*/ 148650 h 255749"/>
                <a:gd name="connsiteX34" fmla="*/ 262379 w 300382"/>
                <a:gd name="connsiteY34" fmla="*/ 165924 h 255749"/>
                <a:gd name="connsiteX35" fmla="*/ 262379 w 300382"/>
                <a:gd name="connsiteY35" fmla="*/ 169379 h 255749"/>
                <a:gd name="connsiteX36" fmla="*/ 262379 w 300382"/>
                <a:gd name="connsiteY36" fmla="*/ 176289 h 255749"/>
                <a:gd name="connsiteX37" fmla="*/ 262379 w 300382"/>
                <a:gd name="connsiteY37" fmla="*/ 186653 h 255749"/>
                <a:gd name="connsiteX38" fmla="*/ 262379 w 300382"/>
                <a:gd name="connsiteY38" fmla="*/ 190108 h 255749"/>
                <a:gd name="connsiteX39" fmla="*/ 255470 w 300382"/>
                <a:gd name="connsiteY39" fmla="*/ 203927 h 255749"/>
                <a:gd name="connsiteX40" fmla="*/ 245105 w 300382"/>
                <a:gd name="connsiteY40" fmla="*/ 210837 h 255749"/>
                <a:gd name="connsiteX41" fmla="*/ 238289 w 300382"/>
                <a:gd name="connsiteY41" fmla="*/ 200472 h 255749"/>
                <a:gd name="connsiteX42" fmla="*/ 227924 w 300382"/>
                <a:gd name="connsiteY42" fmla="*/ 197018 h 255749"/>
                <a:gd name="connsiteX43" fmla="*/ 217560 w 300382"/>
                <a:gd name="connsiteY43" fmla="*/ 200472 h 255749"/>
                <a:gd name="connsiteX44" fmla="*/ 221015 w 300382"/>
                <a:gd name="connsiteY44" fmla="*/ 214291 h 255749"/>
                <a:gd name="connsiteX45" fmla="*/ 217560 w 300382"/>
                <a:gd name="connsiteY45" fmla="*/ 221201 h 255749"/>
                <a:gd name="connsiteX46" fmla="*/ 203740 w 300382"/>
                <a:gd name="connsiteY46" fmla="*/ 210837 h 255749"/>
                <a:gd name="connsiteX47" fmla="*/ 200286 w 300382"/>
                <a:gd name="connsiteY47" fmla="*/ 217746 h 255749"/>
                <a:gd name="connsiteX48" fmla="*/ 189921 w 300382"/>
                <a:gd name="connsiteY48" fmla="*/ 217746 h 255749"/>
                <a:gd name="connsiteX49" fmla="*/ 176102 w 300382"/>
                <a:gd name="connsiteY49" fmla="*/ 217746 h 255749"/>
                <a:gd name="connsiteX50" fmla="*/ 158828 w 300382"/>
                <a:gd name="connsiteY50" fmla="*/ 217746 h 255749"/>
                <a:gd name="connsiteX51" fmla="*/ 155373 w 300382"/>
                <a:gd name="connsiteY51" fmla="*/ 210837 h 255749"/>
                <a:gd name="connsiteX52" fmla="*/ 151918 w 300382"/>
                <a:gd name="connsiteY52" fmla="*/ 217746 h 255749"/>
                <a:gd name="connsiteX53" fmla="*/ 158828 w 300382"/>
                <a:gd name="connsiteY53" fmla="*/ 228111 h 255749"/>
                <a:gd name="connsiteX54" fmla="*/ 145009 w 300382"/>
                <a:gd name="connsiteY54" fmla="*/ 235020 h 255749"/>
                <a:gd name="connsiteX55" fmla="*/ 138099 w 300382"/>
                <a:gd name="connsiteY55" fmla="*/ 248840 h 255749"/>
                <a:gd name="connsiteX56" fmla="*/ 127734 w 300382"/>
                <a:gd name="connsiteY56" fmla="*/ 255749 h 255749"/>
                <a:gd name="connsiteX57" fmla="*/ 117370 w 300382"/>
                <a:gd name="connsiteY57" fmla="*/ 241930 h 255749"/>
                <a:gd name="connsiteX58" fmla="*/ 107099 w 300382"/>
                <a:gd name="connsiteY58" fmla="*/ 235020 h 255749"/>
                <a:gd name="connsiteX59" fmla="*/ 120825 w 300382"/>
                <a:gd name="connsiteY59" fmla="*/ 224656 h 255749"/>
                <a:gd name="connsiteX60" fmla="*/ 124280 w 300382"/>
                <a:gd name="connsiteY60" fmla="*/ 214291 h 255749"/>
                <a:gd name="connsiteX61" fmla="*/ 96735 w 300382"/>
                <a:gd name="connsiteY61" fmla="*/ 214291 h 255749"/>
                <a:gd name="connsiteX62" fmla="*/ 86370 w 300382"/>
                <a:gd name="connsiteY62" fmla="*/ 221201 h 255749"/>
                <a:gd name="connsiteX63" fmla="*/ 65642 w 300382"/>
                <a:gd name="connsiteY63" fmla="*/ 224656 h 255749"/>
                <a:gd name="connsiteX64" fmla="*/ 48367 w 300382"/>
                <a:gd name="connsiteY64" fmla="*/ 231566 h 255749"/>
                <a:gd name="connsiteX65" fmla="*/ 31093 w 300382"/>
                <a:gd name="connsiteY65" fmla="*/ 231566 h 255749"/>
                <a:gd name="connsiteX66" fmla="*/ 17274 w 300382"/>
                <a:gd name="connsiteY66" fmla="*/ 241930 h 255749"/>
                <a:gd name="connsiteX67" fmla="*/ 3455 w 300382"/>
                <a:gd name="connsiteY67" fmla="*/ 238475 h 255749"/>
                <a:gd name="connsiteX68" fmla="*/ 0 w 300382"/>
                <a:gd name="connsiteY68" fmla="*/ 231566 h 25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00382" h="255749">
                  <a:moveTo>
                    <a:pt x="0" y="231566"/>
                  </a:moveTo>
                  <a:lnTo>
                    <a:pt x="20729" y="221201"/>
                  </a:lnTo>
                  <a:lnTo>
                    <a:pt x="44912" y="203927"/>
                  </a:lnTo>
                  <a:lnTo>
                    <a:pt x="55277" y="193563"/>
                  </a:lnTo>
                  <a:lnTo>
                    <a:pt x="76006" y="190108"/>
                  </a:lnTo>
                  <a:lnTo>
                    <a:pt x="103645" y="190108"/>
                  </a:lnTo>
                  <a:lnTo>
                    <a:pt x="131190" y="190108"/>
                  </a:lnTo>
                  <a:lnTo>
                    <a:pt x="138099" y="172834"/>
                  </a:lnTo>
                  <a:lnTo>
                    <a:pt x="151918" y="155560"/>
                  </a:lnTo>
                  <a:lnTo>
                    <a:pt x="158828" y="141740"/>
                  </a:lnTo>
                  <a:lnTo>
                    <a:pt x="169192" y="127921"/>
                  </a:lnTo>
                  <a:lnTo>
                    <a:pt x="172647" y="138286"/>
                  </a:lnTo>
                  <a:lnTo>
                    <a:pt x="172647" y="148650"/>
                  </a:lnTo>
                  <a:lnTo>
                    <a:pt x="189921" y="141740"/>
                  </a:lnTo>
                  <a:lnTo>
                    <a:pt x="217560" y="124466"/>
                  </a:lnTo>
                  <a:lnTo>
                    <a:pt x="241650" y="89825"/>
                  </a:lnTo>
                  <a:lnTo>
                    <a:pt x="252014" y="62187"/>
                  </a:lnTo>
                  <a:lnTo>
                    <a:pt x="248559" y="51822"/>
                  </a:lnTo>
                  <a:lnTo>
                    <a:pt x="245105" y="31093"/>
                  </a:lnTo>
                  <a:lnTo>
                    <a:pt x="252014" y="17274"/>
                  </a:lnTo>
                  <a:lnTo>
                    <a:pt x="258924" y="13819"/>
                  </a:lnTo>
                  <a:lnTo>
                    <a:pt x="276198" y="20729"/>
                  </a:lnTo>
                  <a:lnTo>
                    <a:pt x="279653" y="10364"/>
                  </a:lnTo>
                  <a:lnTo>
                    <a:pt x="272743" y="3455"/>
                  </a:lnTo>
                  <a:lnTo>
                    <a:pt x="283108" y="0"/>
                  </a:lnTo>
                  <a:lnTo>
                    <a:pt x="286562" y="17274"/>
                  </a:lnTo>
                  <a:lnTo>
                    <a:pt x="286562" y="31093"/>
                  </a:lnTo>
                  <a:lnTo>
                    <a:pt x="296927" y="48367"/>
                  </a:lnTo>
                  <a:lnTo>
                    <a:pt x="300382" y="62187"/>
                  </a:lnTo>
                  <a:lnTo>
                    <a:pt x="290017" y="82915"/>
                  </a:lnTo>
                  <a:lnTo>
                    <a:pt x="276198" y="100189"/>
                  </a:lnTo>
                  <a:lnTo>
                    <a:pt x="272743" y="114102"/>
                  </a:lnTo>
                  <a:lnTo>
                    <a:pt x="272743" y="138286"/>
                  </a:lnTo>
                  <a:lnTo>
                    <a:pt x="265834" y="148650"/>
                  </a:lnTo>
                  <a:lnTo>
                    <a:pt x="262379" y="165924"/>
                  </a:lnTo>
                  <a:lnTo>
                    <a:pt x="262379" y="169379"/>
                  </a:lnTo>
                  <a:lnTo>
                    <a:pt x="262379" y="176289"/>
                  </a:lnTo>
                  <a:lnTo>
                    <a:pt x="262379" y="186653"/>
                  </a:lnTo>
                  <a:lnTo>
                    <a:pt x="262379" y="190108"/>
                  </a:lnTo>
                  <a:lnTo>
                    <a:pt x="255470" y="203927"/>
                  </a:lnTo>
                  <a:lnTo>
                    <a:pt x="245105" y="210837"/>
                  </a:lnTo>
                  <a:lnTo>
                    <a:pt x="238289" y="200472"/>
                  </a:lnTo>
                  <a:lnTo>
                    <a:pt x="227924" y="197018"/>
                  </a:lnTo>
                  <a:lnTo>
                    <a:pt x="217560" y="200472"/>
                  </a:lnTo>
                  <a:lnTo>
                    <a:pt x="221015" y="214291"/>
                  </a:lnTo>
                  <a:lnTo>
                    <a:pt x="217560" y="221201"/>
                  </a:lnTo>
                  <a:lnTo>
                    <a:pt x="203740" y="210837"/>
                  </a:lnTo>
                  <a:lnTo>
                    <a:pt x="200286" y="217746"/>
                  </a:lnTo>
                  <a:lnTo>
                    <a:pt x="189921" y="217746"/>
                  </a:lnTo>
                  <a:lnTo>
                    <a:pt x="176102" y="217746"/>
                  </a:lnTo>
                  <a:lnTo>
                    <a:pt x="158828" y="217746"/>
                  </a:lnTo>
                  <a:lnTo>
                    <a:pt x="155373" y="210837"/>
                  </a:lnTo>
                  <a:lnTo>
                    <a:pt x="151918" y="217746"/>
                  </a:lnTo>
                  <a:lnTo>
                    <a:pt x="158828" y="228111"/>
                  </a:lnTo>
                  <a:lnTo>
                    <a:pt x="145009" y="235020"/>
                  </a:lnTo>
                  <a:lnTo>
                    <a:pt x="138099" y="248840"/>
                  </a:lnTo>
                  <a:lnTo>
                    <a:pt x="127734" y="255749"/>
                  </a:lnTo>
                  <a:lnTo>
                    <a:pt x="117370" y="241930"/>
                  </a:lnTo>
                  <a:lnTo>
                    <a:pt x="107099" y="235020"/>
                  </a:lnTo>
                  <a:lnTo>
                    <a:pt x="120825" y="224656"/>
                  </a:lnTo>
                  <a:lnTo>
                    <a:pt x="124280" y="214291"/>
                  </a:lnTo>
                  <a:lnTo>
                    <a:pt x="96735" y="214291"/>
                  </a:lnTo>
                  <a:lnTo>
                    <a:pt x="86370" y="221201"/>
                  </a:lnTo>
                  <a:lnTo>
                    <a:pt x="65642" y="224656"/>
                  </a:lnTo>
                  <a:lnTo>
                    <a:pt x="48367" y="231566"/>
                  </a:lnTo>
                  <a:lnTo>
                    <a:pt x="31093" y="231566"/>
                  </a:lnTo>
                  <a:lnTo>
                    <a:pt x="17274" y="241930"/>
                  </a:lnTo>
                  <a:lnTo>
                    <a:pt x="3455" y="238475"/>
                  </a:lnTo>
                  <a:lnTo>
                    <a:pt x="0" y="231566"/>
                  </a:lnTo>
                  <a:close/>
                </a:path>
              </a:pathLst>
            </a:custGeom>
            <a:solidFill>
              <a:srgbClr val="CEE3BF"/>
            </a:solidFill>
            <a:ln w="9334" cap="flat">
              <a:noFill/>
              <a:prstDash val="solid"/>
              <a:miter/>
            </a:ln>
          </p:spPr>
          <p:txBody>
            <a:bodyPr rtlCol="0" anchor="ctr"/>
            <a:lstStyle/>
            <a:p>
              <a:endParaRPr lang="en-GB" dirty="0"/>
            </a:p>
          </p:txBody>
        </p:sp>
        <p:sp>
          <p:nvSpPr>
            <p:cNvPr id="1210" name="Freeform: Shape 1209">
              <a:extLst>
                <a:ext uri="{FF2B5EF4-FFF2-40B4-BE49-F238E27FC236}">
                  <a16:creationId xmlns:a16="http://schemas.microsoft.com/office/drawing/2014/main" id="{428CCB04-8AFD-436B-9072-36DD836ED518}"/>
                </a:ext>
              </a:extLst>
            </p:cNvPr>
            <p:cNvSpPr/>
            <p:nvPr/>
          </p:nvSpPr>
          <p:spPr>
            <a:xfrm>
              <a:off x="9301151" y="3416561"/>
              <a:ext cx="86370" cy="124466"/>
            </a:xfrm>
            <a:custGeom>
              <a:avLst/>
              <a:gdLst>
                <a:gd name="connsiteX0" fmla="*/ 3455 w 86370"/>
                <a:gd name="connsiteY0" fmla="*/ 55370 h 124466"/>
                <a:gd name="connsiteX1" fmla="*/ 3455 w 86370"/>
                <a:gd name="connsiteY1" fmla="*/ 48461 h 124466"/>
                <a:gd name="connsiteX2" fmla="*/ 13820 w 86370"/>
                <a:gd name="connsiteY2" fmla="*/ 51915 h 124466"/>
                <a:gd name="connsiteX3" fmla="*/ 20729 w 86370"/>
                <a:gd name="connsiteY3" fmla="*/ 48461 h 124466"/>
                <a:gd name="connsiteX4" fmla="*/ 17274 w 86370"/>
                <a:gd name="connsiteY4" fmla="*/ 38096 h 124466"/>
                <a:gd name="connsiteX5" fmla="*/ 10364 w 86370"/>
                <a:gd name="connsiteY5" fmla="*/ 34642 h 124466"/>
                <a:gd name="connsiteX6" fmla="*/ 17274 w 86370"/>
                <a:gd name="connsiteY6" fmla="*/ 10458 h 124466"/>
                <a:gd name="connsiteX7" fmla="*/ 34548 w 86370"/>
                <a:gd name="connsiteY7" fmla="*/ 3455 h 124466"/>
                <a:gd name="connsiteX8" fmla="*/ 51822 w 86370"/>
                <a:gd name="connsiteY8" fmla="*/ 0 h 124466"/>
                <a:gd name="connsiteX9" fmla="*/ 65642 w 86370"/>
                <a:gd name="connsiteY9" fmla="*/ 13913 h 124466"/>
                <a:gd name="connsiteX10" fmla="*/ 76006 w 86370"/>
                <a:gd name="connsiteY10" fmla="*/ 31187 h 124466"/>
                <a:gd name="connsiteX11" fmla="*/ 82915 w 86370"/>
                <a:gd name="connsiteY11" fmla="*/ 51915 h 124466"/>
                <a:gd name="connsiteX12" fmla="*/ 86370 w 86370"/>
                <a:gd name="connsiteY12" fmla="*/ 69190 h 124466"/>
                <a:gd name="connsiteX13" fmla="*/ 82915 w 86370"/>
                <a:gd name="connsiteY13" fmla="*/ 93373 h 124466"/>
                <a:gd name="connsiteX14" fmla="*/ 86370 w 86370"/>
                <a:gd name="connsiteY14" fmla="*/ 93373 h 124466"/>
                <a:gd name="connsiteX15" fmla="*/ 86370 w 86370"/>
                <a:gd name="connsiteY15" fmla="*/ 96828 h 124466"/>
                <a:gd name="connsiteX16" fmla="*/ 79461 w 86370"/>
                <a:gd name="connsiteY16" fmla="*/ 100283 h 124466"/>
                <a:gd name="connsiteX17" fmla="*/ 65642 w 86370"/>
                <a:gd name="connsiteY17" fmla="*/ 107193 h 124466"/>
                <a:gd name="connsiteX18" fmla="*/ 58732 w 86370"/>
                <a:gd name="connsiteY18" fmla="*/ 110647 h 124466"/>
                <a:gd name="connsiteX19" fmla="*/ 48367 w 86370"/>
                <a:gd name="connsiteY19" fmla="*/ 103738 h 124466"/>
                <a:gd name="connsiteX20" fmla="*/ 41458 w 86370"/>
                <a:gd name="connsiteY20" fmla="*/ 110647 h 124466"/>
                <a:gd name="connsiteX21" fmla="*/ 27639 w 86370"/>
                <a:gd name="connsiteY21" fmla="*/ 121012 h 124466"/>
                <a:gd name="connsiteX22" fmla="*/ 20729 w 86370"/>
                <a:gd name="connsiteY22" fmla="*/ 117557 h 124466"/>
                <a:gd name="connsiteX23" fmla="*/ 3455 w 86370"/>
                <a:gd name="connsiteY23" fmla="*/ 124466 h 124466"/>
                <a:gd name="connsiteX24" fmla="*/ 0 w 86370"/>
                <a:gd name="connsiteY24" fmla="*/ 114102 h 124466"/>
                <a:gd name="connsiteX25" fmla="*/ 3455 w 86370"/>
                <a:gd name="connsiteY25" fmla="*/ 100283 h 124466"/>
                <a:gd name="connsiteX26" fmla="*/ 3455 w 86370"/>
                <a:gd name="connsiteY26" fmla="*/ 83009 h 124466"/>
                <a:gd name="connsiteX27" fmla="*/ 10364 w 86370"/>
                <a:gd name="connsiteY27" fmla="*/ 79554 h 124466"/>
                <a:gd name="connsiteX28" fmla="*/ 10364 w 86370"/>
                <a:gd name="connsiteY28" fmla="*/ 65735 h 124466"/>
                <a:gd name="connsiteX29" fmla="*/ 3455 w 86370"/>
                <a:gd name="connsiteY29" fmla="*/ 55370 h 1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370" h="124466">
                  <a:moveTo>
                    <a:pt x="3455" y="55370"/>
                  </a:moveTo>
                  <a:lnTo>
                    <a:pt x="3455" y="48461"/>
                  </a:lnTo>
                  <a:lnTo>
                    <a:pt x="13820" y="51915"/>
                  </a:lnTo>
                  <a:lnTo>
                    <a:pt x="20729" y="48461"/>
                  </a:lnTo>
                  <a:lnTo>
                    <a:pt x="17274" y="38096"/>
                  </a:lnTo>
                  <a:lnTo>
                    <a:pt x="10364" y="34642"/>
                  </a:lnTo>
                  <a:lnTo>
                    <a:pt x="17274" y="10458"/>
                  </a:lnTo>
                  <a:lnTo>
                    <a:pt x="34548" y="3455"/>
                  </a:lnTo>
                  <a:lnTo>
                    <a:pt x="51822" y="0"/>
                  </a:lnTo>
                  <a:lnTo>
                    <a:pt x="65642" y="13913"/>
                  </a:lnTo>
                  <a:lnTo>
                    <a:pt x="76006" y="31187"/>
                  </a:lnTo>
                  <a:lnTo>
                    <a:pt x="82915" y="51915"/>
                  </a:lnTo>
                  <a:lnTo>
                    <a:pt x="86370" y="69190"/>
                  </a:lnTo>
                  <a:lnTo>
                    <a:pt x="82915" y="93373"/>
                  </a:lnTo>
                  <a:lnTo>
                    <a:pt x="86370" y="93373"/>
                  </a:lnTo>
                  <a:lnTo>
                    <a:pt x="86370" y="96828"/>
                  </a:lnTo>
                  <a:lnTo>
                    <a:pt x="79461" y="100283"/>
                  </a:lnTo>
                  <a:lnTo>
                    <a:pt x="65642" y="107193"/>
                  </a:lnTo>
                  <a:lnTo>
                    <a:pt x="58732" y="110647"/>
                  </a:lnTo>
                  <a:lnTo>
                    <a:pt x="48367" y="103738"/>
                  </a:lnTo>
                  <a:lnTo>
                    <a:pt x="41458" y="110647"/>
                  </a:lnTo>
                  <a:lnTo>
                    <a:pt x="27639" y="121012"/>
                  </a:lnTo>
                  <a:lnTo>
                    <a:pt x="20729" y="117557"/>
                  </a:lnTo>
                  <a:lnTo>
                    <a:pt x="3455" y="124466"/>
                  </a:lnTo>
                  <a:lnTo>
                    <a:pt x="0" y="114102"/>
                  </a:lnTo>
                  <a:lnTo>
                    <a:pt x="3455" y="100283"/>
                  </a:lnTo>
                  <a:lnTo>
                    <a:pt x="3455" y="83009"/>
                  </a:lnTo>
                  <a:lnTo>
                    <a:pt x="10364" y="79554"/>
                  </a:lnTo>
                  <a:lnTo>
                    <a:pt x="10364" y="65735"/>
                  </a:lnTo>
                  <a:lnTo>
                    <a:pt x="3455" y="55370"/>
                  </a:lnTo>
                  <a:close/>
                </a:path>
              </a:pathLst>
            </a:custGeom>
            <a:solidFill>
              <a:srgbClr val="CEE3BF"/>
            </a:solidFill>
            <a:ln w="9334" cap="flat">
              <a:noFill/>
              <a:prstDash val="solid"/>
              <a:miter/>
            </a:ln>
          </p:spPr>
          <p:txBody>
            <a:bodyPr rtlCol="0" anchor="ctr"/>
            <a:lstStyle/>
            <a:p>
              <a:endParaRPr lang="en-GB" dirty="0"/>
            </a:p>
          </p:txBody>
        </p:sp>
        <p:sp>
          <p:nvSpPr>
            <p:cNvPr id="1211" name="Freeform: Shape 1210">
              <a:extLst>
                <a:ext uri="{FF2B5EF4-FFF2-40B4-BE49-F238E27FC236}">
                  <a16:creationId xmlns:a16="http://schemas.microsoft.com/office/drawing/2014/main" id="{B4CB4308-1A01-466B-ADD2-43AACBF2178A}"/>
                </a:ext>
              </a:extLst>
            </p:cNvPr>
            <p:cNvSpPr/>
            <p:nvPr/>
          </p:nvSpPr>
          <p:spPr>
            <a:xfrm>
              <a:off x="9249423" y="3271459"/>
              <a:ext cx="169098" cy="165924"/>
            </a:xfrm>
            <a:custGeom>
              <a:avLst/>
              <a:gdLst>
                <a:gd name="connsiteX0" fmla="*/ 41364 w 169098"/>
                <a:gd name="connsiteY0" fmla="*/ 159015 h 165924"/>
                <a:gd name="connsiteX1" fmla="*/ 20635 w 169098"/>
                <a:gd name="connsiteY1" fmla="*/ 162469 h 165924"/>
                <a:gd name="connsiteX2" fmla="*/ 13819 w 169098"/>
                <a:gd name="connsiteY2" fmla="*/ 152012 h 165924"/>
                <a:gd name="connsiteX3" fmla="*/ 20635 w 169098"/>
                <a:gd name="connsiteY3" fmla="*/ 138192 h 165924"/>
                <a:gd name="connsiteX4" fmla="*/ 20635 w 169098"/>
                <a:gd name="connsiteY4" fmla="*/ 120918 h 165924"/>
                <a:gd name="connsiteX5" fmla="*/ 27545 w 169098"/>
                <a:gd name="connsiteY5" fmla="*/ 103644 h 165924"/>
                <a:gd name="connsiteX6" fmla="*/ 10364 w 169098"/>
                <a:gd name="connsiteY6" fmla="*/ 103644 h 165924"/>
                <a:gd name="connsiteX7" fmla="*/ 0 w 169098"/>
                <a:gd name="connsiteY7" fmla="*/ 96735 h 165924"/>
                <a:gd name="connsiteX8" fmla="*/ 10364 w 169098"/>
                <a:gd name="connsiteY8" fmla="*/ 82915 h 165924"/>
                <a:gd name="connsiteX9" fmla="*/ 37909 w 169098"/>
                <a:gd name="connsiteY9" fmla="*/ 65641 h 165924"/>
                <a:gd name="connsiteX10" fmla="*/ 48274 w 169098"/>
                <a:gd name="connsiteY10" fmla="*/ 55277 h 165924"/>
                <a:gd name="connsiteX11" fmla="*/ 62093 w 169098"/>
                <a:gd name="connsiteY11" fmla="*/ 41458 h 165924"/>
                <a:gd name="connsiteX12" fmla="*/ 69003 w 169098"/>
                <a:gd name="connsiteY12" fmla="*/ 38003 h 165924"/>
                <a:gd name="connsiteX13" fmla="*/ 86277 w 169098"/>
                <a:gd name="connsiteY13" fmla="*/ 44912 h 165924"/>
                <a:gd name="connsiteX14" fmla="*/ 103551 w 169098"/>
                <a:gd name="connsiteY14" fmla="*/ 41458 h 165924"/>
                <a:gd name="connsiteX15" fmla="*/ 107005 w 169098"/>
                <a:gd name="connsiteY15" fmla="*/ 27638 h 165924"/>
                <a:gd name="connsiteX16" fmla="*/ 124280 w 169098"/>
                <a:gd name="connsiteY16" fmla="*/ 27638 h 165924"/>
                <a:gd name="connsiteX17" fmla="*/ 138099 w 169098"/>
                <a:gd name="connsiteY17" fmla="*/ 17274 h 165924"/>
                <a:gd name="connsiteX18" fmla="*/ 141554 w 169098"/>
                <a:gd name="connsiteY18" fmla="*/ 6910 h 165924"/>
                <a:gd name="connsiteX19" fmla="*/ 151825 w 169098"/>
                <a:gd name="connsiteY19" fmla="*/ 0 h 165924"/>
                <a:gd name="connsiteX20" fmla="*/ 169099 w 169098"/>
                <a:gd name="connsiteY20" fmla="*/ 13819 h 165924"/>
                <a:gd name="connsiteX21" fmla="*/ 158734 w 169098"/>
                <a:gd name="connsiteY21" fmla="*/ 20729 h 165924"/>
                <a:gd name="connsiteX22" fmla="*/ 145008 w 169098"/>
                <a:gd name="connsiteY22" fmla="*/ 31093 h 165924"/>
                <a:gd name="connsiteX23" fmla="*/ 138099 w 169098"/>
                <a:gd name="connsiteY23" fmla="*/ 48367 h 165924"/>
                <a:gd name="connsiteX24" fmla="*/ 134644 w 169098"/>
                <a:gd name="connsiteY24" fmla="*/ 65641 h 165924"/>
                <a:gd name="connsiteX25" fmla="*/ 131189 w 169098"/>
                <a:gd name="connsiteY25" fmla="*/ 72551 h 165924"/>
                <a:gd name="connsiteX26" fmla="*/ 117370 w 169098"/>
                <a:gd name="connsiteY26" fmla="*/ 79461 h 165924"/>
                <a:gd name="connsiteX27" fmla="*/ 89732 w 169098"/>
                <a:gd name="connsiteY27" fmla="*/ 89825 h 165924"/>
                <a:gd name="connsiteX28" fmla="*/ 82822 w 169098"/>
                <a:gd name="connsiteY28" fmla="*/ 100189 h 165924"/>
                <a:gd name="connsiteX29" fmla="*/ 82822 w 169098"/>
                <a:gd name="connsiteY29" fmla="*/ 114009 h 165924"/>
                <a:gd name="connsiteX30" fmla="*/ 89732 w 169098"/>
                <a:gd name="connsiteY30" fmla="*/ 131283 h 165924"/>
                <a:gd name="connsiteX31" fmla="*/ 96641 w 169098"/>
                <a:gd name="connsiteY31" fmla="*/ 138192 h 165924"/>
                <a:gd name="connsiteX32" fmla="*/ 103551 w 169098"/>
                <a:gd name="connsiteY32" fmla="*/ 145102 h 165924"/>
                <a:gd name="connsiteX33" fmla="*/ 86277 w 169098"/>
                <a:gd name="connsiteY33" fmla="*/ 148557 h 165924"/>
                <a:gd name="connsiteX34" fmla="*/ 69003 w 169098"/>
                <a:gd name="connsiteY34" fmla="*/ 155560 h 165924"/>
                <a:gd name="connsiteX35" fmla="*/ 62093 w 169098"/>
                <a:gd name="connsiteY35" fmla="*/ 165924 h 165924"/>
                <a:gd name="connsiteX36" fmla="*/ 41364 w 169098"/>
                <a:gd name="connsiteY36" fmla="*/ 159015 h 165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9098" h="165924">
                  <a:moveTo>
                    <a:pt x="41364" y="159015"/>
                  </a:moveTo>
                  <a:lnTo>
                    <a:pt x="20635" y="162469"/>
                  </a:lnTo>
                  <a:lnTo>
                    <a:pt x="13819" y="152012"/>
                  </a:lnTo>
                  <a:lnTo>
                    <a:pt x="20635" y="138192"/>
                  </a:lnTo>
                  <a:lnTo>
                    <a:pt x="20635" y="120918"/>
                  </a:lnTo>
                  <a:lnTo>
                    <a:pt x="27545" y="103644"/>
                  </a:lnTo>
                  <a:lnTo>
                    <a:pt x="10364" y="103644"/>
                  </a:lnTo>
                  <a:lnTo>
                    <a:pt x="0" y="96735"/>
                  </a:lnTo>
                  <a:lnTo>
                    <a:pt x="10364" y="82915"/>
                  </a:lnTo>
                  <a:lnTo>
                    <a:pt x="37909" y="65641"/>
                  </a:lnTo>
                  <a:lnTo>
                    <a:pt x="48274" y="55277"/>
                  </a:lnTo>
                  <a:lnTo>
                    <a:pt x="62093" y="41458"/>
                  </a:lnTo>
                  <a:lnTo>
                    <a:pt x="69003" y="38003"/>
                  </a:lnTo>
                  <a:lnTo>
                    <a:pt x="86277" y="44912"/>
                  </a:lnTo>
                  <a:lnTo>
                    <a:pt x="103551" y="41458"/>
                  </a:lnTo>
                  <a:lnTo>
                    <a:pt x="107005" y="27638"/>
                  </a:lnTo>
                  <a:lnTo>
                    <a:pt x="124280" y="27638"/>
                  </a:lnTo>
                  <a:lnTo>
                    <a:pt x="138099" y="17274"/>
                  </a:lnTo>
                  <a:lnTo>
                    <a:pt x="141554" y="6910"/>
                  </a:lnTo>
                  <a:lnTo>
                    <a:pt x="151825" y="0"/>
                  </a:lnTo>
                  <a:lnTo>
                    <a:pt x="169099" y="13819"/>
                  </a:lnTo>
                  <a:lnTo>
                    <a:pt x="158734" y="20729"/>
                  </a:lnTo>
                  <a:lnTo>
                    <a:pt x="145008" y="31093"/>
                  </a:lnTo>
                  <a:lnTo>
                    <a:pt x="138099" y="48367"/>
                  </a:lnTo>
                  <a:lnTo>
                    <a:pt x="134644" y="65641"/>
                  </a:lnTo>
                  <a:lnTo>
                    <a:pt x="131189" y="72551"/>
                  </a:lnTo>
                  <a:lnTo>
                    <a:pt x="117370" y="79461"/>
                  </a:lnTo>
                  <a:lnTo>
                    <a:pt x="89732" y="89825"/>
                  </a:lnTo>
                  <a:lnTo>
                    <a:pt x="82822" y="100189"/>
                  </a:lnTo>
                  <a:lnTo>
                    <a:pt x="82822" y="114009"/>
                  </a:lnTo>
                  <a:lnTo>
                    <a:pt x="89732" y="131283"/>
                  </a:lnTo>
                  <a:lnTo>
                    <a:pt x="96641" y="138192"/>
                  </a:lnTo>
                  <a:lnTo>
                    <a:pt x="103551" y="145102"/>
                  </a:lnTo>
                  <a:lnTo>
                    <a:pt x="86277" y="148557"/>
                  </a:lnTo>
                  <a:lnTo>
                    <a:pt x="69003" y="155560"/>
                  </a:lnTo>
                  <a:lnTo>
                    <a:pt x="62093" y="165924"/>
                  </a:lnTo>
                  <a:lnTo>
                    <a:pt x="41364" y="159015"/>
                  </a:lnTo>
                  <a:close/>
                </a:path>
              </a:pathLst>
            </a:custGeom>
            <a:solidFill>
              <a:srgbClr val="CEE3BF"/>
            </a:solidFill>
            <a:ln w="9334" cap="flat">
              <a:noFill/>
              <a:prstDash val="solid"/>
              <a:miter/>
            </a:ln>
          </p:spPr>
          <p:txBody>
            <a:bodyPr rtlCol="0" anchor="ctr"/>
            <a:lstStyle/>
            <a:p>
              <a:endParaRPr lang="en-GB" dirty="0"/>
            </a:p>
          </p:txBody>
        </p:sp>
        <p:sp>
          <p:nvSpPr>
            <p:cNvPr id="1212" name="Freeform: Shape 1211">
              <a:extLst>
                <a:ext uri="{FF2B5EF4-FFF2-40B4-BE49-F238E27FC236}">
                  <a16:creationId xmlns:a16="http://schemas.microsoft.com/office/drawing/2014/main" id="{35C55E26-CB85-4FC6-8E44-8B0FA98F2759}"/>
                </a:ext>
              </a:extLst>
            </p:cNvPr>
            <p:cNvSpPr/>
            <p:nvPr/>
          </p:nvSpPr>
          <p:spPr>
            <a:xfrm>
              <a:off x="8572747" y="3900514"/>
              <a:ext cx="214011" cy="235113"/>
            </a:xfrm>
            <a:custGeom>
              <a:avLst/>
              <a:gdLst>
                <a:gd name="connsiteX0" fmla="*/ 20636 w 214011"/>
                <a:gd name="connsiteY0" fmla="*/ 24277 h 235113"/>
                <a:gd name="connsiteX1" fmla="*/ 34455 w 214011"/>
                <a:gd name="connsiteY1" fmla="*/ 24277 h 235113"/>
                <a:gd name="connsiteX2" fmla="*/ 41364 w 214011"/>
                <a:gd name="connsiteY2" fmla="*/ 31187 h 235113"/>
                <a:gd name="connsiteX3" fmla="*/ 55184 w 214011"/>
                <a:gd name="connsiteY3" fmla="*/ 31187 h 235113"/>
                <a:gd name="connsiteX4" fmla="*/ 58639 w 214011"/>
                <a:gd name="connsiteY4" fmla="*/ 17367 h 235113"/>
                <a:gd name="connsiteX5" fmla="*/ 48274 w 214011"/>
                <a:gd name="connsiteY5" fmla="*/ 13913 h 235113"/>
                <a:gd name="connsiteX6" fmla="*/ 48274 w 214011"/>
                <a:gd name="connsiteY6" fmla="*/ 0 h 235113"/>
                <a:gd name="connsiteX7" fmla="*/ 69003 w 214011"/>
                <a:gd name="connsiteY7" fmla="*/ 0 h 235113"/>
                <a:gd name="connsiteX8" fmla="*/ 69003 w 214011"/>
                <a:gd name="connsiteY8" fmla="*/ 7003 h 235113"/>
                <a:gd name="connsiteX9" fmla="*/ 86277 w 214011"/>
                <a:gd name="connsiteY9" fmla="*/ 24277 h 235113"/>
                <a:gd name="connsiteX10" fmla="*/ 89732 w 214011"/>
                <a:gd name="connsiteY10" fmla="*/ 41551 h 235113"/>
                <a:gd name="connsiteX11" fmla="*/ 89732 w 214011"/>
                <a:gd name="connsiteY11" fmla="*/ 48460 h 235113"/>
                <a:gd name="connsiteX12" fmla="*/ 127734 w 214011"/>
                <a:gd name="connsiteY12" fmla="*/ 45006 h 235113"/>
                <a:gd name="connsiteX13" fmla="*/ 138099 w 214011"/>
                <a:gd name="connsiteY13" fmla="*/ 62280 h 235113"/>
                <a:gd name="connsiteX14" fmla="*/ 141554 w 214011"/>
                <a:gd name="connsiteY14" fmla="*/ 79554 h 235113"/>
                <a:gd name="connsiteX15" fmla="*/ 117370 w 214011"/>
                <a:gd name="connsiteY15" fmla="*/ 79554 h 235113"/>
                <a:gd name="connsiteX16" fmla="*/ 117370 w 214011"/>
                <a:gd name="connsiteY16" fmla="*/ 96828 h 235113"/>
                <a:gd name="connsiteX17" fmla="*/ 131190 w 214011"/>
                <a:gd name="connsiteY17" fmla="*/ 103737 h 235113"/>
                <a:gd name="connsiteX18" fmla="*/ 172554 w 214011"/>
                <a:gd name="connsiteY18" fmla="*/ 145195 h 235113"/>
                <a:gd name="connsiteX19" fmla="*/ 207102 w 214011"/>
                <a:gd name="connsiteY19" fmla="*/ 183291 h 235113"/>
                <a:gd name="connsiteX20" fmla="*/ 214012 w 214011"/>
                <a:gd name="connsiteY20" fmla="*/ 207475 h 235113"/>
                <a:gd name="connsiteX21" fmla="*/ 210557 w 214011"/>
                <a:gd name="connsiteY21" fmla="*/ 231659 h 235113"/>
                <a:gd name="connsiteX22" fmla="*/ 193283 w 214011"/>
                <a:gd name="connsiteY22" fmla="*/ 231659 h 235113"/>
                <a:gd name="connsiteX23" fmla="*/ 189828 w 214011"/>
                <a:gd name="connsiteY23" fmla="*/ 221294 h 235113"/>
                <a:gd name="connsiteX24" fmla="*/ 179464 w 214011"/>
                <a:gd name="connsiteY24" fmla="*/ 221294 h 235113"/>
                <a:gd name="connsiteX25" fmla="*/ 176009 w 214011"/>
                <a:gd name="connsiteY25" fmla="*/ 235114 h 235113"/>
                <a:gd name="connsiteX26" fmla="*/ 155280 w 214011"/>
                <a:gd name="connsiteY26" fmla="*/ 235114 h 235113"/>
                <a:gd name="connsiteX27" fmla="*/ 155280 w 214011"/>
                <a:gd name="connsiteY27" fmla="*/ 224749 h 235113"/>
                <a:gd name="connsiteX28" fmla="*/ 162283 w 214011"/>
                <a:gd name="connsiteY28" fmla="*/ 204020 h 235113"/>
                <a:gd name="connsiteX29" fmla="*/ 162283 w 214011"/>
                <a:gd name="connsiteY29" fmla="*/ 186746 h 235113"/>
                <a:gd name="connsiteX30" fmla="*/ 145009 w 214011"/>
                <a:gd name="connsiteY30" fmla="*/ 169472 h 235113"/>
                <a:gd name="connsiteX31" fmla="*/ 138099 w 214011"/>
                <a:gd name="connsiteY31" fmla="*/ 141740 h 235113"/>
                <a:gd name="connsiteX32" fmla="*/ 110461 w 214011"/>
                <a:gd name="connsiteY32" fmla="*/ 110647 h 235113"/>
                <a:gd name="connsiteX33" fmla="*/ 89732 w 214011"/>
                <a:gd name="connsiteY33" fmla="*/ 124466 h 235113"/>
                <a:gd name="connsiteX34" fmla="*/ 69003 w 214011"/>
                <a:gd name="connsiteY34" fmla="*/ 117557 h 235113"/>
                <a:gd name="connsiteX35" fmla="*/ 34455 w 214011"/>
                <a:gd name="connsiteY35" fmla="*/ 138286 h 235113"/>
                <a:gd name="connsiteX36" fmla="*/ 34455 w 214011"/>
                <a:gd name="connsiteY36" fmla="*/ 114102 h 235113"/>
                <a:gd name="connsiteX37" fmla="*/ 41364 w 214011"/>
                <a:gd name="connsiteY37" fmla="*/ 107192 h 235113"/>
                <a:gd name="connsiteX38" fmla="*/ 34455 w 214011"/>
                <a:gd name="connsiteY38" fmla="*/ 83009 h 235113"/>
                <a:gd name="connsiteX39" fmla="*/ 20636 w 214011"/>
                <a:gd name="connsiteY39" fmla="*/ 79554 h 235113"/>
                <a:gd name="connsiteX40" fmla="*/ 20636 w 214011"/>
                <a:gd name="connsiteY40" fmla="*/ 65735 h 235113"/>
                <a:gd name="connsiteX41" fmla="*/ 0 w 214011"/>
                <a:gd name="connsiteY41" fmla="*/ 55370 h 235113"/>
                <a:gd name="connsiteX42" fmla="*/ 24184 w 214011"/>
                <a:gd name="connsiteY42" fmla="*/ 41551 h 235113"/>
                <a:gd name="connsiteX43" fmla="*/ 20636 w 214011"/>
                <a:gd name="connsiteY43" fmla="*/ 24277 h 23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14011" h="235113">
                  <a:moveTo>
                    <a:pt x="20636" y="24277"/>
                  </a:moveTo>
                  <a:lnTo>
                    <a:pt x="34455" y="24277"/>
                  </a:lnTo>
                  <a:lnTo>
                    <a:pt x="41364" y="31187"/>
                  </a:lnTo>
                  <a:lnTo>
                    <a:pt x="55184" y="31187"/>
                  </a:lnTo>
                  <a:lnTo>
                    <a:pt x="58639" y="17367"/>
                  </a:lnTo>
                  <a:lnTo>
                    <a:pt x="48274" y="13913"/>
                  </a:lnTo>
                  <a:lnTo>
                    <a:pt x="48274" y="0"/>
                  </a:lnTo>
                  <a:lnTo>
                    <a:pt x="69003" y="0"/>
                  </a:lnTo>
                  <a:lnTo>
                    <a:pt x="69003" y="7003"/>
                  </a:lnTo>
                  <a:lnTo>
                    <a:pt x="86277" y="24277"/>
                  </a:lnTo>
                  <a:lnTo>
                    <a:pt x="89732" y="41551"/>
                  </a:lnTo>
                  <a:lnTo>
                    <a:pt x="89732" y="48460"/>
                  </a:lnTo>
                  <a:lnTo>
                    <a:pt x="127734" y="45006"/>
                  </a:lnTo>
                  <a:lnTo>
                    <a:pt x="138099" y="62280"/>
                  </a:lnTo>
                  <a:lnTo>
                    <a:pt x="141554" y="79554"/>
                  </a:lnTo>
                  <a:lnTo>
                    <a:pt x="117370" y="79554"/>
                  </a:lnTo>
                  <a:lnTo>
                    <a:pt x="117370" y="96828"/>
                  </a:lnTo>
                  <a:lnTo>
                    <a:pt x="131190" y="103737"/>
                  </a:lnTo>
                  <a:lnTo>
                    <a:pt x="172554" y="145195"/>
                  </a:lnTo>
                  <a:lnTo>
                    <a:pt x="207102" y="183291"/>
                  </a:lnTo>
                  <a:lnTo>
                    <a:pt x="214012" y="207475"/>
                  </a:lnTo>
                  <a:lnTo>
                    <a:pt x="210557" y="231659"/>
                  </a:lnTo>
                  <a:lnTo>
                    <a:pt x="193283" y="231659"/>
                  </a:lnTo>
                  <a:lnTo>
                    <a:pt x="189828" y="221294"/>
                  </a:lnTo>
                  <a:lnTo>
                    <a:pt x="179464" y="221294"/>
                  </a:lnTo>
                  <a:lnTo>
                    <a:pt x="176009" y="235114"/>
                  </a:lnTo>
                  <a:lnTo>
                    <a:pt x="155280" y="235114"/>
                  </a:lnTo>
                  <a:lnTo>
                    <a:pt x="155280" y="224749"/>
                  </a:lnTo>
                  <a:lnTo>
                    <a:pt x="162283" y="204020"/>
                  </a:lnTo>
                  <a:lnTo>
                    <a:pt x="162283" y="186746"/>
                  </a:lnTo>
                  <a:lnTo>
                    <a:pt x="145009" y="169472"/>
                  </a:lnTo>
                  <a:lnTo>
                    <a:pt x="138099" y="141740"/>
                  </a:lnTo>
                  <a:lnTo>
                    <a:pt x="110461" y="110647"/>
                  </a:lnTo>
                  <a:lnTo>
                    <a:pt x="89732" y="124466"/>
                  </a:lnTo>
                  <a:lnTo>
                    <a:pt x="69003" y="117557"/>
                  </a:lnTo>
                  <a:lnTo>
                    <a:pt x="34455" y="138286"/>
                  </a:lnTo>
                  <a:lnTo>
                    <a:pt x="34455" y="114102"/>
                  </a:lnTo>
                  <a:lnTo>
                    <a:pt x="41364" y="107192"/>
                  </a:lnTo>
                  <a:lnTo>
                    <a:pt x="34455" y="83009"/>
                  </a:lnTo>
                  <a:lnTo>
                    <a:pt x="20636" y="79554"/>
                  </a:lnTo>
                  <a:lnTo>
                    <a:pt x="20636" y="65735"/>
                  </a:lnTo>
                  <a:lnTo>
                    <a:pt x="0" y="55370"/>
                  </a:lnTo>
                  <a:lnTo>
                    <a:pt x="24184" y="41551"/>
                  </a:lnTo>
                  <a:lnTo>
                    <a:pt x="20636" y="24277"/>
                  </a:lnTo>
                  <a:close/>
                </a:path>
              </a:pathLst>
            </a:custGeom>
            <a:solidFill>
              <a:srgbClr val="CEE3BF"/>
            </a:solidFill>
            <a:ln w="9334" cap="flat">
              <a:noFill/>
              <a:prstDash val="solid"/>
              <a:miter/>
            </a:ln>
          </p:spPr>
          <p:txBody>
            <a:bodyPr rtlCol="0" anchor="ctr"/>
            <a:lstStyle/>
            <a:p>
              <a:endParaRPr lang="en-GB" dirty="0"/>
            </a:p>
          </p:txBody>
        </p:sp>
        <p:sp>
          <p:nvSpPr>
            <p:cNvPr id="1213" name="Freeform: Shape 1212">
              <a:extLst>
                <a:ext uri="{FF2B5EF4-FFF2-40B4-BE49-F238E27FC236}">
                  <a16:creationId xmlns:a16="http://schemas.microsoft.com/office/drawing/2014/main" id="{05770208-8479-4936-B8EE-B1A86274A2C4}"/>
                </a:ext>
              </a:extLst>
            </p:cNvPr>
            <p:cNvSpPr/>
            <p:nvPr/>
          </p:nvSpPr>
          <p:spPr>
            <a:xfrm>
              <a:off x="8248182" y="2953430"/>
              <a:ext cx="876960" cy="359486"/>
            </a:xfrm>
            <a:custGeom>
              <a:avLst/>
              <a:gdLst>
                <a:gd name="connsiteX0" fmla="*/ 0 w 876960"/>
                <a:gd name="connsiteY0" fmla="*/ 107099 h 359486"/>
                <a:gd name="connsiteX1" fmla="*/ 13819 w 876960"/>
                <a:gd name="connsiteY1" fmla="*/ 93280 h 359486"/>
                <a:gd name="connsiteX2" fmla="*/ 38002 w 876960"/>
                <a:gd name="connsiteY2" fmla="*/ 89825 h 359486"/>
                <a:gd name="connsiteX3" fmla="*/ 51822 w 876960"/>
                <a:gd name="connsiteY3" fmla="*/ 76006 h 359486"/>
                <a:gd name="connsiteX4" fmla="*/ 110460 w 876960"/>
                <a:gd name="connsiteY4" fmla="*/ 44912 h 359486"/>
                <a:gd name="connsiteX5" fmla="*/ 138099 w 876960"/>
                <a:gd name="connsiteY5" fmla="*/ 48367 h 359486"/>
                <a:gd name="connsiteX6" fmla="*/ 176102 w 876960"/>
                <a:gd name="connsiteY6" fmla="*/ 55277 h 359486"/>
                <a:gd name="connsiteX7" fmla="*/ 193376 w 876960"/>
                <a:gd name="connsiteY7" fmla="*/ 76006 h 359486"/>
                <a:gd name="connsiteX8" fmla="*/ 248559 w 876960"/>
                <a:gd name="connsiteY8" fmla="*/ 76006 h 359486"/>
                <a:gd name="connsiteX9" fmla="*/ 262378 w 876960"/>
                <a:gd name="connsiteY9" fmla="*/ 86370 h 359486"/>
                <a:gd name="connsiteX10" fmla="*/ 283107 w 876960"/>
                <a:gd name="connsiteY10" fmla="*/ 69096 h 359486"/>
                <a:gd name="connsiteX11" fmla="*/ 286562 w 876960"/>
                <a:gd name="connsiteY11" fmla="*/ 55277 h 359486"/>
                <a:gd name="connsiteX12" fmla="*/ 265833 w 876960"/>
                <a:gd name="connsiteY12" fmla="*/ 31093 h 359486"/>
                <a:gd name="connsiteX13" fmla="*/ 290017 w 876960"/>
                <a:gd name="connsiteY13" fmla="*/ 6910 h 359486"/>
                <a:gd name="connsiteX14" fmla="*/ 296927 w 876960"/>
                <a:gd name="connsiteY14" fmla="*/ 0 h 359486"/>
                <a:gd name="connsiteX15" fmla="*/ 321110 w 876960"/>
                <a:gd name="connsiteY15" fmla="*/ 3455 h 359486"/>
                <a:gd name="connsiteX16" fmla="*/ 345200 w 876960"/>
                <a:gd name="connsiteY16" fmla="*/ 10364 h 359486"/>
                <a:gd name="connsiteX17" fmla="*/ 386658 w 876960"/>
                <a:gd name="connsiteY17" fmla="*/ 24184 h 359486"/>
                <a:gd name="connsiteX18" fmla="*/ 390113 w 876960"/>
                <a:gd name="connsiteY18" fmla="*/ 41458 h 359486"/>
                <a:gd name="connsiteX19" fmla="*/ 407387 w 876960"/>
                <a:gd name="connsiteY19" fmla="*/ 62186 h 359486"/>
                <a:gd name="connsiteX20" fmla="*/ 452299 w 876960"/>
                <a:gd name="connsiteY20" fmla="*/ 69096 h 359486"/>
                <a:gd name="connsiteX21" fmla="*/ 476483 w 876960"/>
                <a:gd name="connsiteY21" fmla="*/ 55277 h 359486"/>
                <a:gd name="connsiteX22" fmla="*/ 517847 w 876960"/>
                <a:gd name="connsiteY22" fmla="*/ 62186 h 359486"/>
                <a:gd name="connsiteX23" fmla="*/ 528212 w 876960"/>
                <a:gd name="connsiteY23" fmla="*/ 72551 h 359486"/>
                <a:gd name="connsiteX24" fmla="*/ 545486 w 876960"/>
                <a:gd name="connsiteY24" fmla="*/ 76006 h 359486"/>
                <a:gd name="connsiteX25" fmla="*/ 555850 w 876960"/>
                <a:gd name="connsiteY25" fmla="*/ 89825 h 359486"/>
                <a:gd name="connsiteX26" fmla="*/ 566215 w 876960"/>
                <a:gd name="connsiteY26" fmla="*/ 100189 h 359486"/>
                <a:gd name="connsiteX27" fmla="*/ 604218 w 876960"/>
                <a:gd name="connsiteY27" fmla="*/ 103644 h 359486"/>
                <a:gd name="connsiteX28" fmla="*/ 635218 w 876960"/>
                <a:gd name="connsiteY28" fmla="*/ 100189 h 359486"/>
                <a:gd name="connsiteX29" fmla="*/ 687040 w 876960"/>
                <a:gd name="connsiteY29" fmla="*/ 89825 h 359486"/>
                <a:gd name="connsiteX30" fmla="*/ 704314 w 876960"/>
                <a:gd name="connsiteY30" fmla="*/ 76006 h 359486"/>
                <a:gd name="connsiteX31" fmla="*/ 718133 w 876960"/>
                <a:gd name="connsiteY31" fmla="*/ 65641 h 359486"/>
                <a:gd name="connsiteX32" fmla="*/ 735407 w 876960"/>
                <a:gd name="connsiteY32" fmla="*/ 62186 h 359486"/>
                <a:gd name="connsiteX33" fmla="*/ 749133 w 876960"/>
                <a:gd name="connsiteY33" fmla="*/ 72551 h 359486"/>
                <a:gd name="connsiteX34" fmla="*/ 762952 w 876960"/>
                <a:gd name="connsiteY34" fmla="*/ 72551 h 359486"/>
                <a:gd name="connsiteX35" fmla="*/ 790591 w 876960"/>
                <a:gd name="connsiteY35" fmla="*/ 76006 h 359486"/>
                <a:gd name="connsiteX36" fmla="*/ 780226 w 876960"/>
                <a:gd name="connsiteY36" fmla="*/ 89825 h 359486"/>
                <a:gd name="connsiteX37" fmla="*/ 773316 w 876960"/>
                <a:gd name="connsiteY37" fmla="*/ 103644 h 359486"/>
                <a:gd name="connsiteX38" fmla="*/ 759497 w 876960"/>
                <a:gd name="connsiteY38" fmla="*/ 145195 h 359486"/>
                <a:gd name="connsiteX39" fmla="*/ 807865 w 876960"/>
                <a:gd name="connsiteY39" fmla="*/ 148650 h 359486"/>
                <a:gd name="connsiteX40" fmla="*/ 821684 w 876960"/>
                <a:gd name="connsiteY40" fmla="*/ 138286 h 359486"/>
                <a:gd name="connsiteX41" fmla="*/ 838958 w 876960"/>
                <a:gd name="connsiteY41" fmla="*/ 141740 h 359486"/>
                <a:gd name="connsiteX42" fmla="*/ 873506 w 876960"/>
                <a:gd name="connsiteY42" fmla="*/ 176289 h 359486"/>
                <a:gd name="connsiteX43" fmla="*/ 876961 w 876960"/>
                <a:gd name="connsiteY43" fmla="*/ 193563 h 359486"/>
                <a:gd name="connsiteX44" fmla="*/ 852777 w 876960"/>
                <a:gd name="connsiteY44" fmla="*/ 190108 h 359486"/>
                <a:gd name="connsiteX45" fmla="*/ 828594 w 876960"/>
                <a:gd name="connsiteY45" fmla="*/ 190108 h 359486"/>
                <a:gd name="connsiteX46" fmla="*/ 794046 w 876960"/>
                <a:gd name="connsiteY46" fmla="*/ 203927 h 359486"/>
                <a:gd name="connsiteX47" fmla="*/ 762952 w 876960"/>
                <a:gd name="connsiteY47" fmla="*/ 228111 h 359486"/>
                <a:gd name="connsiteX48" fmla="*/ 735407 w 876960"/>
                <a:gd name="connsiteY48" fmla="*/ 228111 h 359486"/>
                <a:gd name="connsiteX49" fmla="*/ 711224 w 876960"/>
                <a:gd name="connsiteY49" fmla="*/ 252294 h 359486"/>
                <a:gd name="connsiteX50" fmla="*/ 680130 w 876960"/>
                <a:gd name="connsiteY50" fmla="*/ 248840 h 359486"/>
                <a:gd name="connsiteX51" fmla="*/ 655947 w 876960"/>
                <a:gd name="connsiteY51" fmla="*/ 248840 h 359486"/>
                <a:gd name="connsiteX52" fmla="*/ 645582 w 876960"/>
                <a:gd name="connsiteY52" fmla="*/ 269568 h 359486"/>
                <a:gd name="connsiteX53" fmla="*/ 655947 w 876960"/>
                <a:gd name="connsiteY53" fmla="*/ 290297 h 359486"/>
                <a:gd name="connsiteX54" fmla="*/ 624853 w 876960"/>
                <a:gd name="connsiteY54" fmla="*/ 307665 h 359486"/>
                <a:gd name="connsiteX55" fmla="*/ 624853 w 876960"/>
                <a:gd name="connsiteY55" fmla="*/ 318029 h 359486"/>
                <a:gd name="connsiteX56" fmla="*/ 593853 w 876960"/>
                <a:gd name="connsiteY56" fmla="*/ 335303 h 359486"/>
                <a:gd name="connsiteX57" fmla="*/ 517847 w 876960"/>
                <a:gd name="connsiteY57" fmla="*/ 335303 h 359486"/>
                <a:gd name="connsiteX58" fmla="*/ 479844 w 876960"/>
                <a:gd name="connsiteY58" fmla="*/ 359487 h 359486"/>
                <a:gd name="connsiteX59" fmla="*/ 417752 w 876960"/>
                <a:gd name="connsiteY59" fmla="*/ 352577 h 359486"/>
                <a:gd name="connsiteX60" fmla="*/ 376294 w 876960"/>
                <a:gd name="connsiteY60" fmla="*/ 331848 h 359486"/>
                <a:gd name="connsiteX61" fmla="*/ 328020 w 876960"/>
                <a:gd name="connsiteY61" fmla="*/ 328394 h 359486"/>
                <a:gd name="connsiteX62" fmla="*/ 234740 w 876960"/>
                <a:gd name="connsiteY62" fmla="*/ 324939 h 359486"/>
                <a:gd name="connsiteX63" fmla="*/ 224376 w 876960"/>
                <a:gd name="connsiteY63" fmla="*/ 307665 h 359486"/>
                <a:gd name="connsiteX64" fmla="*/ 214105 w 876960"/>
                <a:gd name="connsiteY64" fmla="*/ 286842 h 359486"/>
                <a:gd name="connsiteX65" fmla="*/ 176102 w 876960"/>
                <a:gd name="connsiteY65" fmla="*/ 266114 h 359486"/>
                <a:gd name="connsiteX66" fmla="*/ 158827 w 876960"/>
                <a:gd name="connsiteY66" fmla="*/ 248840 h 359486"/>
                <a:gd name="connsiteX67" fmla="*/ 100096 w 876960"/>
                <a:gd name="connsiteY67" fmla="*/ 245385 h 359486"/>
                <a:gd name="connsiteX68" fmla="*/ 86277 w 876960"/>
                <a:gd name="connsiteY68" fmla="*/ 238475 h 359486"/>
                <a:gd name="connsiteX69" fmla="*/ 79460 w 876960"/>
                <a:gd name="connsiteY69" fmla="*/ 217746 h 359486"/>
                <a:gd name="connsiteX70" fmla="*/ 89732 w 876960"/>
                <a:gd name="connsiteY70" fmla="*/ 203927 h 359486"/>
                <a:gd name="connsiteX71" fmla="*/ 89732 w 876960"/>
                <a:gd name="connsiteY71" fmla="*/ 190108 h 359486"/>
                <a:gd name="connsiteX72" fmla="*/ 76005 w 876960"/>
                <a:gd name="connsiteY72" fmla="*/ 169379 h 359486"/>
                <a:gd name="connsiteX73" fmla="*/ 51822 w 876960"/>
                <a:gd name="connsiteY73" fmla="*/ 145195 h 359486"/>
                <a:gd name="connsiteX74" fmla="*/ 24183 w 876960"/>
                <a:gd name="connsiteY74" fmla="*/ 141740 h 359486"/>
                <a:gd name="connsiteX75" fmla="*/ 6910 w 876960"/>
                <a:gd name="connsiteY75" fmla="*/ 124373 h 359486"/>
                <a:gd name="connsiteX76" fmla="*/ 0 w 876960"/>
                <a:gd name="connsiteY76" fmla="*/ 107099 h 35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876960" h="359486">
                  <a:moveTo>
                    <a:pt x="0" y="107099"/>
                  </a:moveTo>
                  <a:lnTo>
                    <a:pt x="13819" y="93280"/>
                  </a:lnTo>
                  <a:lnTo>
                    <a:pt x="38002" y="89825"/>
                  </a:lnTo>
                  <a:lnTo>
                    <a:pt x="51822" y="76006"/>
                  </a:lnTo>
                  <a:lnTo>
                    <a:pt x="110460" y="44912"/>
                  </a:lnTo>
                  <a:lnTo>
                    <a:pt x="138099" y="48367"/>
                  </a:lnTo>
                  <a:lnTo>
                    <a:pt x="176102" y="55277"/>
                  </a:lnTo>
                  <a:lnTo>
                    <a:pt x="193376" y="76006"/>
                  </a:lnTo>
                  <a:lnTo>
                    <a:pt x="248559" y="76006"/>
                  </a:lnTo>
                  <a:lnTo>
                    <a:pt x="262378" y="86370"/>
                  </a:lnTo>
                  <a:lnTo>
                    <a:pt x="283107" y="69096"/>
                  </a:lnTo>
                  <a:lnTo>
                    <a:pt x="286562" y="55277"/>
                  </a:lnTo>
                  <a:lnTo>
                    <a:pt x="265833" y="31093"/>
                  </a:lnTo>
                  <a:lnTo>
                    <a:pt x="290017" y="6910"/>
                  </a:lnTo>
                  <a:lnTo>
                    <a:pt x="296927" y="0"/>
                  </a:lnTo>
                  <a:lnTo>
                    <a:pt x="321110" y="3455"/>
                  </a:lnTo>
                  <a:lnTo>
                    <a:pt x="345200" y="10364"/>
                  </a:lnTo>
                  <a:lnTo>
                    <a:pt x="386658" y="24184"/>
                  </a:lnTo>
                  <a:lnTo>
                    <a:pt x="390113" y="41458"/>
                  </a:lnTo>
                  <a:lnTo>
                    <a:pt x="407387" y="62186"/>
                  </a:lnTo>
                  <a:lnTo>
                    <a:pt x="452299" y="69096"/>
                  </a:lnTo>
                  <a:lnTo>
                    <a:pt x="476483" y="55277"/>
                  </a:lnTo>
                  <a:lnTo>
                    <a:pt x="517847" y="62186"/>
                  </a:lnTo>
                  <a:lnTo>
                    <a:pt x="528212" y="72551"/>
                  </a:lnTo>
                  <a:lnTo>
                    <a:pt x="545486" y="76006"/>
                  </a:lnTo>
                  <a:lnTo>
                    <a:pt x="555850" y="89825"/>
                  </a:lnTo>
                  <a:lnTo>
                    <a:pt x="566215" y="100189"/>
                  </a:lnTo>
                  <a:lnTo>
                    <a:pt x="604218" y="103644"/>
                  </a:lnTo>
                  <a:lnTo>
                    <a:pt x="635218" y="100189"/>
                  </a:lnTo>
                  <a:lnTo>
                    <a:pt x="687040" y="89825"/>
                  </a:lnTo>
                  <a:lnTo>
                    <a:pt x="704314" y="76006"/>
                  </a:lnTo>
                  <a:lnTo>
                    <a:pt x="718133" y="65641"/>
                  </a:lnTo>
                  <a:lnTo>
                    <a:pt x="735407" y="62186"/>
                  </a:lnTo>
                  <a:lnTo>
                    <a:pt x="749133" y="72551"/>
                  </a:lnTo>
                  <a:lnTo>
                    <a:pt x="762952" y="72551"/>
                  </a:lnTo>
                  <a:lnTo>
                    <a:pt x="790591" y="76006"/>
                  </a:lnTo>
                  <a:lnTo>
                    <a:pt x="780226" y="89825"/>
                  </a:lnTo>
                  <a:lnTo>
                    <a:pt x="773316" y="103644"/>
                  </a:lnTo>
                  <a:lnTo>
                    <a:pt x="759497" y="145195"/>
                  </a:lnTo>
                  <a:lnTo>
                    <a:pt x="807865" y="148650"/>
                  </a:lnTo>
                  <a:lnTo>
                    <a:pt x="821684" y="138286"/>
                  </a:lnTo>
                  <a:lnTo>
                    <a:pt x="838958" y="141740"/>
                  </a:lnTo>
                  <a:lnTo>
                    <a:pt x="873506" y="176289"/>
                  </a:lnTo>
                  <a:lnTo>
                    <a:pt x="876961" y="193563"/>
                  </a:lnTo>
                  <a:lnTo>
                    <a:pt x="852777" y="190108"/>
                  </a:lnTo>
                  <a:lnTo>
                    <a:pt x="828594" y="190108"/>
                  </a:lnTo>
                  <a:lnTo>
                    <a:pt x="794046" y="203927"/>
                  </a:lnTo>
                  <a:lnTo>
                    <a:pt x="762952" y="228111"/>
                  </a:lnTo>
                  <a:lnTo>
                    <a:pt x="735407" y="228111"/>
                  </a:lnTo>
                  <a:lnTo>
                    <a:pt x="711224" y="252294"/>
                  </a:lnTo>
                  <a:lnTo>
                    <a:pt x="680130" y="248840"/>
                  </a:lnTo>
                  <a:lnTo>
                    <a:pt x="655947" y="248840"/>
                  </a:lnTo>
                  <a:lnTo>
                    <a:pt x="645582" y="269568"/>
                  </a:lnTo>
                  <a:lnTo>
                    <a:pt x="655947" y="290297"/>
                  </a:lnTo>
                  <a:lnTo>
                    <a:pt x="624853" y="307665"/>
                  </a:lnTo>
                  <a:lnTo>
                    <a:pt x="624853" y="318029"/>
                  </a:lnTo>
                  <a:lnTo>
                    <a:pt x="593853" y="335303"/>
                  </a:lnTo>
                  <a:lnTo>
                    <a:pt x="517847" y="335303"/>
                  </a:lnTo>
                  <a:lnTo>
                    <a:pt x="479844" y="359487"/>
                  </a:lnTo>
                  <a:lnTo>
                    <a:pt x="417752" y="352577"/>
                  </a:lnTo>
                  <a:lnTo>
                    <a:pt x="376294" y="331848"/>
                  </a:lnTo>
                  <a:lnTo>
                    <a:pt x="328020" y="328394"/>
                  </a:lnTo>
                  <a:lnTo>
                    <a:pt x="234740" y="324939"/>
                  </a:lnTo>
                  <a:lnTo>
                    <a:pt x="224376" y="307665"/>
                  </a:lnTo>
                  <a:lnTo>
                    <a:pt x="214105" y="286842"/>
                  </a:lnTo>
                  <a:lnTo>
                    <a:pt x="176102" y="266114"/>
                  </a:lnTo>
                  <a:lnTo>
                    <a:pt x="158827" y="248840"/>
                  </a:lnTo>
                  <a:lnTo>
                    <a:pt x="100096" y="245385"/>
                  </a:lnTo>
                  <a:lnTo>
                    <a:pt x="86277" y="238475"/>
                  </a:lnTo>
                  <a:lnTo>
                    <a:pt x="79460" y="217746"/>
                  </a:lnTo>
                  <a:lnTo>
                    <a:pt x="89732" y="203927"/>
                  </a:lnTo>
                  <a:lnTo>
                    <a:pt x="89732" y="190108"/>
                  </a:lnTo>
                  <a:lnTo>
                    <a:pt x="76005" y="169379"/>
                  </a:lnTo>
                  <a:lnTo>
                    <a:pt x="51822" y="145195"/>
                  </a:lnTo>
                  <a:lnTo>
                    <a:pt x="24183" y="141740"/>
                  </a:lnTo>
                  <a:lnTo>
                    <a:pt x="6910" y="124373"/>
                  </a:lnTo>
                  <a:lnTo>
                    <a:pt x="0" y="107099"/>
                  </a:lnTo>
                  <a:close/>
                </a:path>
              </a:pathLst>
            </a:custGeom>
            <a:solidFill>
              <a:srgbClr val="CEE3BF"/>
            </a:solidFill>
            <a:ln w="9334" cap="flat">
              <a:noFill/>
              <a:prstDash val="solid"/>
              <a:miter/>
            </a:ln>
          </p:spPr>
          <p:txBody>
            <a:bodyPr rtlCol="0" anchor="ctr"/>
            <a:lstStyle/>
            <a:p>
              <a:endParaRPr lang="en-GB" dirty="0"/>
            </a:p>
          </p:txBody>
        </p:sp>
        <p:sp>
          <p:nvSpPr>
            <p:cNvPr id="1214" name="Freeform: Shape 1213">
              <a:extLst>
                <a:ext uri="{FF2B5EF4-FFF2-40B4-BE49-F238E27FC236}">
                  <a16:creationId xmlns:a16="http://schemas.microsoft.com/office/drawing/2014/main" id="{B10989F8-13D1-42C5-98C4-532E2D99BAAB}"/>
                </a:ext>
              </a:extLst>
            </p:cNvPr>
            <p:cNvSpPr/>
            <p:nvPr/>
          </p:nvSpPr>
          <p:spPr>
            <a:xfrm>
              <a:off x="7233215" y="3796870"/>
              <a:ext cx="17273" cy="44912"/>
            </a:xfrm>
            <a:custGeom>
              <a:avLst/>
              <a:gdLst>
                <a:gd name="connsiteX0" fmla="*/ 0 w 17273"/>
                <a:gd name="connsiteY0" fmla="*/ 38003 h 44912"/>
                <a:gd name="connsiteX1" fmla="*/ 0 w 17273"/>
                <a:gd name="connsiteY1" fmla="*/ 17274 h 44912"/>
                <a:gd name="connsiteX2" fmla="*/ 6910 w 17273"/>
                <a:gd name="connsiteY2" fmla="*/ 0 h 44912"/>
                <a:gd name="connsiteX3" fmla="*/ 13819 w 17273"/>
                <a:gd name="connsiteY3" fmla="*/ 0 h 44912"/>
                <a:gd name="connsiteX4" fmla="*/ 17274 w 17273"/>
                <a:gd name="connsiteY4" fmla="*/ 13819 h 44912"/>
                <a:gd name="connsiteX5" fmla="*/ 17274 w 17273"/>
                <a:gd name="connsiteY5" fmla="*/ 24184 h 44912"/>
                <a:gd name="connsiteX6" fmla="*/ 13819 w 17273"/>
                <a:gd name="connsiteY6" fmla="*/ 38003 h 44912"/>
                <a:gd name="connsiteX7" fmla="*/ 6910 w 17273"/>
                <a:gd name="connsiteY7" fmla="*/ 44912 h 44912"/>
                <a:gd name="connsiteX8" fmla="*/ 0 w 17273"/>
                <a:gd name="connsiteY8" fmla="*/ 38003 h 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73" h="44912">
                  <a:moveTo>
                    <a:pt x="0" y="38003"/>
                  </a:moveTo>
                  <a:lnTo>
                    <a:pt x="0" y="17274"/>
                  </a:lnTo>
                  <a:lnTo>
                    <a:pt x="6910" y="0"/>
                  </a:lnTo>
                  <a:lnTo>
                    <a:pt x="13819" y="0"/>
                  </a:lnTo>
                  <a:lnTo>
                    <a:pt x="17274" y="13819"/>
                  </a:lnTo>
                  <a:lnTo>
                    <a:pt x="17274" y="24184"/>
                  </a:lnTo>
                  <a:lnTo>
                    <a:pt x="13819" y="38003"/>
                  </a:lnTo>
                  <a:lnTo>
                    <a:pt x="6910" y="44912"/>
                  </a:lnTo>
                  <a:lnTo>
                    <a:pt x="0" y="38003"/>
                  </a:lnTo>
                  <a:close/>
                </a:path>
              </a:pathLst>
            </a:custGeom>
            <a:solidFill>
              <a:srgbClr val="CEE3BF"/>
            </a:solidFill>
            <a:ln w="9334" cap="flat">
              <a:noFill/>
              <a:prstDash val="solid"/>
              <a:miter/>
            </a:ln>
          </p:spPr>
          <p:txBody>
            <a:bodyPr rtlCol="0" anchor="ctr"/>
            <a:lstStyle/>
            <a:p>
              <a:endParaRPr lang="en-GB" dirty="0"/>
            </a:p>
          </p:txBody>
        </p:sp>
        <p:sp>
          <p:nvSpPr>
            <p:cNvPr id="1215" name="Freeform: Shape 1214">
              <a:extLst>
                <a:ext uri="{FF2B5EF4-FFF2-40B4-BE49-F238E27FC236}">
                  <a16:creationId xmlns:a16="http://schemas.microsoft.com/office/drawing/2014/main" id="{912B162B-3605-42FB-BA39-ED8B6D9F6F8A}"/>
                </a:ext>
              </a:extLst>
            </p:cNvPr>
            <p:cNvSpPr/>
            <p:nvPr/>
          </p:nvSpPr>
          <p:spPr>
            <a:xfrm>
              <a:off x="6404622" y="3088167"/>
              <a:ext cx="245104" cy="155559"/>
            </a:xfrm>
            <a:custGeom>
              <a:avLst/>
              <a:gdLst>
                <a:gd name="connsiteX0" fmla="*/ 55183 w 245104"/>
                <a:gd name="connsiteY0" fmla="*/ 17367 h 155559"/>
                <a:gd name="connsiteX1" fmla="*/ 79367 w 245104"/>
                <a:gd name="connsiteY1" fmla="*/ 7003 h 155559"/>
                <a:gd name="connsiteX2" fmla="*/ 93186 w 245104"/>
                <a:gd name="connsiteY2" fmla="*/ 3548 h 155559"/>
                <a:gd name="connsiteX3" fmla="*/ 113915 w 245104"/>
                <a:gd name="connsiteY3" fmla="*/ 13913 h 155559"/>
                <a:gd name="connsiteX4" fmla="*/ 148463 w 245104"/>
                <a:gd name="connsiteY4" fmla="*/ 13913 h 155559"/>
                <a:gd name="connsiteX5" fmla="*/ 155373 w 245104"/>
                <a:gd name="connsiteY5" fmla="*/ 0 h 155559"/>
                <a:gd name="connsiteX6" fmla="*/ 176102 w 245104"/>
                <a:gd name="connsiteY6" fmla="*/ 0 h 155559"/>
                <a:gd name="connsiteX7" fmla="*/ 183011 w 245104"/>
                <a:gd name="connsiteY7" fmla="*/ 17367 h 155559"/>
                <a:gd name="connsiteX8" fmla="*/ 186373 w 245104"/>
                <a:gd name="connsiteY8" fmla="*/ 27732 h 155559"/>
                <a:gd name="connsiteX9" fmla="*/ 207102 w 245104"/>
                <a:gd name="connsiteY9" fmla="*/ 48461 h 155559"/>
                <a:gd name="connsiteX10" fmla="*/ 210556 w 245104"/>
                <a:gd name="connsiteY10" fmla="*/ 55370 h 155559"/>
                <a:gd name="connsiteX11" fmla="*/ 203647 w 245104"/>
                <a:gd name="connsiteY11" fmla="*/ 72644 h 155559"/>
                <a:gd name="connsiteX12" fmla="*/ 207102 w 245104"/>
                <a:gd name="connsiteY12" fmla="*/ 89918 h 155559"/>
                <a:gd name="connsiteX13" fmla="*/ 210556 w 245104"/>
                <a:gd name="connsiteY13" fmla="*/ 100283 h 155559"/>
                <a:gd name="connsiteX14" fmla="*/ 227830 w 245104"/>
                <a:gd name="connsiteY14" fmla="*/ 103738 h 155559"/>
                <a:gd name="connsiteX15" fmla="*/ 234740 w 245104"/>
                <a:gd name="connsiteY15" fmla="*/ 96828 h 155559"/>
                <a:gd name="connsiteX16" fmla="*/ 245105 w 245104"/>
                <a:gd name="connsiteY16" fmla="*/ 107192 h 155559"/>
                <a:gd name="connsiteX17" fmla="*/ 238195 w 245104"/>
                <a:gd name="connsiteY17" fmla="*/ 117557 h 155559"/>
                <a:gd name="connsiteX18" fmla="*/ 224376 w 245104"/>
                <a:gd name="connsiteY18" fmla="*/ 124466 h 155559"/>
                <a:gd name="connsiteX19" fmla="*/ 217466 w 245104"/>
                <a:gd name="connsiteY19" fmla="*/ 134831 h 155559"/>
                <a:gd name="connsiteX20" fmla="*/ 214011 w 245104"/>
                <a:gd name="connsiteY20" fmla="*/ 155560 h 155559"/>
                <a:gd name="connsiteX21" fmla="*/ 203647 w 245104"/>
                <a:gd name="connsiteY21" fmla="*/ 155560 h 155559"/>
                <a:gd name="connsiteX22" fmla="*/ 183011 w 245104"/>
                <a:gd name="connsiteY22" fmla="*/ 145195 h 155559"/>
                <a:gd name="connsiteX23" fmla="*/ 158827 w 245104"/>
                <a:gd name="connsiteY23" fmla="*/ 138286 h 155559"/>
                <a:gd name="connsiteX24" fmla="*/ 145008 w 245104"/>
                <a:gd name="connsiteY24" fmla="*/ 152105 h 155559"/>
                <a:gd name="connsiteX25" fmla="*/ 124280 w 245104"/>
                <a:gd name="connsiteY25" fmla="*/ 152105 h 155559"/>
                <a:gd name="connsiteX26" fmla="*/ 75912 w 245104"/>
                <a:gd name="connsiteY26" fmla="*/ 152105 h 155559"/>
                <a:gd name="connsiteX27" fmla="*/ 55183 w 245104"/>
                <a:gd name="connsiteY27" fmla="*/ 145195 h 155559"/>
                <a:gd name="connsiteX28" fmla="*/ 55183 w 245104"/>
                <a:gd name="connsiteY28" fmla="*/ 127921 h 155559"/>
                <a:gd name="connsiteX29" fmla="*/ 27638 w 245104"/>
                <a:gd name="connsiteY29" fmla="*/ 124466 h 155559"/>
                <a:gd name="connsiteX30" fmla="*/ 13819 w 245104"/>
                <a:gd name="connsiteY30" fmla="*/ 103738 h 155559"/>
                <a:gd name="connsiteX31" fmla="*/ 3455 w 245104"/>
                <a:gd name="connsiteY31" fmla="*/ 89918 h 155559"/>
                <a:gd name="connsiteX32" fmla="*/ 0 w 245104"/>
                <a:gd name="connsiteY32" fmla="*/ 76099 h 155559"/>
                <a:gd name="connsiteX33" fmla="*/ 24183 w 245104"/>
                <a:gd name="connsiteY33" fmla="*/ 51915 h 155559"/>
                <a:gd name="connsiteX34" fmla="*/ 41458 w 245104"/>
                <a:gd name="connsiteY34" fmla="*/ 27732 h 155559"/>
                <a:gd name="connsiteX35" fmla="*/ 55183 w 245104"/>
                <a:gd name="connsiteY35" fmla="*/ 17367 h 15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104" h="155559">
                  <a:moveTo>
                    <a:pt x="55183" y="17367"/>
                  </a:moveTo>
                  <a:lnTo>
                    <a:pt x="79367" y="7003"/>
                  </a:lnTo>
                  <a:lnTo>
                    <a:pt x="93186" y="3548"/>
                  </a:lnTo>
                  <a:lnTo>
                    <a:pt x="113915" y="13913"/>
                  </a:lnTo>
                  <a:lnTo>
                    <a:pt x="148463" y="13913"/>
                  </a:lnTo>
                  <a:lnTo>
                    <a:pt x="155373" y="0"/>
                  </a:lnTo>
                  <a:lnTo>
                    <a:pt x="176102" y="0"/>
                  </a:lnTo>
                  <a:lnTo>
                    <a:pt x="183011" y="17367"/>
                  </a:lnTo>
                  <a:lnTo>
                    <a:pt x="186373" y="27732"/>
                  </a:lnTo>
                  <a:lnTo>
                    <a:pt x="207102" y="48461"/>
                  </a:lnTo>
                  <a:lnTo>
                    <a:pt x="210556" y="55370"/>
                  </a:lnTo>
                  <a:lnTo>
                    <a:pt x="203647" y="72644"/>
                  </a:lnTo>
                  <a:lnTo>
                    <a:pt x="207102" y="89918"/>
                  </a:lnTo>
                  <a:lnTo>
                    <a:pt x="210556" y="100283"/>
                  </a:lnTo>
                  <a:lnTo>
                    <a:pt x="227830" y="103738"/>
                  </a:lnTo>
                  <a:lnTo>
                    <a:pt x="234740" y="96828"/>
                  </a:lnTo>
                  <a:lnTo>
                    <a:pt x="245105" y="107192"/>
                  </a:lnTo>
                  <a:lnTo>
                    <a:pt x="238195" y="117557"/>
                  </a:lnTo>
                  <a:lnTo>
                    <a:pt x="224376" y="124466"/>
                  </a:lnTo>
                  <a:lnTo>
                    <a:pt x="217466" y="134831"/>
                  </a:lnTo>
                  <a:lnTo>
                    <a:pt x="214011" y="155560"/>
                  </a:lnTo>
                  <a:lnTo>
                    <a:pt x="203647" y="155560"/>
                  </a:lnTo>
                  <a:lnTo>
                    <a:pt x="183011" y="145195"/>
                  </a:lnTo>
                  <a:lnTo>
                    <a:pt x="158827" y="138286"/>
                  </a:lnTo>
                  <a:lnTo>
                    <a:pt x="145008" y="152105"/>
                  </a:lnTo>
                  <a:lnTo>
                    <a:pt x="124280" y="152105"/>
                  </a:lnTo>
                  <a:lnTo>
                    <a:pt x="75912" y="152105"/>
                  </a:lnTo>
                  <a:lnTo>
                    <a:pt x="55183" y="145195"/>
                  </a:lnTo>
                  <a:lnTo>
                    <a:pt x="55183" y="127921"/>
                  </a:lnTo>
                  <a:lnTo>
                    <a:pt x="27638" y="124466"/>
                  </a:lnTo>
                  <a:lnTo>
                    <a:pt x="13819" y="103738"/>
                  </a:lnTo>
                  <a:lnTo>
                    <a:pt x="3455" y="89918"/>
                  </a:lnTo>
                  <a:lnTo>
                    <a:pt x="0" y="76099"/>
                  </a:lnTo>
                  <a:lnTo>
                    <a:pt x="24183" y="51915"/>
                  </a:lnTo>
                  <a:lnTo>
                    <a:pt x="41458" y="27732"/>
                  </a:lnTo>
                  <a:lnTo>
                    <a:pt x="55183" y="17367"/>
                  </a:lnTo>
                  <a:close/>
                </a:path>
              </a:pathLst>
            </a:custGeom>
            <a:solidFill>
              <a:srgbClr val="CEE3BF"/>
            </a:solidFill>
            <a:ln w="9334" cap="flat">
              <a:noFill/>
              <a:prstDash val="solid"/>
              <a:miter/>
            </a:ln>
          </p:spPr>
          <p:txBody>
            <a:bodyPr rtlCol="0" anchor="ctr"/>
            <a:lstStyle/>
            <a:p>
              <a:endParaRPr lang="en-GB" dirty="0"/>
            </a:p>
          </p:txBody>
        </p:sp>
        <p:sp>
          <p:nvSpPr>
            <p:cNvPr id="1216" name="Freeform: Shape 1215">
              <a:extLst>
                <a:ext uri="{FF2B5EF4-FFF2-40B4-BE49-F238E27FC236}">
                  <a16:creationId xmlns:a16="http://schemas.microsoft.com/office/drawing/2014/main" id="{3377ABE8-633A-4576-BACC-567E5EDF0B04}"/>
                </a:ext>
              </a:extLst>
            </p:cNvPr>
            <p:cNvSpPr/>
            <p:nvPr/>
          </p:nvSpPr>
          <p:spPr>
            <a:xfrm>
              <a:off x="6619380" y="5340702"/>
              <a:ext cx="34921" cy="36322"/>
            </a:xfrm>
            <a:custGeom>
              <a:avLst/>
              <a:gdLst>
                <a:gd name="connsiteX0" fmla="*/ 11298 w 34921"/>
                <a:gd name="connsiteY0" fmla="*/ 2241 h 36322"/>
                <a:gd name="connsiteX1" fmla="*/ 27171 w 34921"/>
                <a:gd name="connsiteY1" fmla="*/ 0 h 36322"/>
                <a:gd name="connsiteX2" fmla="*/ 34921 w 34921"/>
                <a:gd name="connsiteY2" fmla="*/ 16154 h 36322"/>
                <a:gd name="connsiteX3" fmla="*/ 28572 w 34921"/>
                <a:gd name="connsiteY3" fmla="*/ 23810 h 36322"/>
                <a:gd name="connsiteX4" fmla="*/ 20916 w 34921"/>
                <a:gd name="connsiteY4" fmla="*/ 27172 h 36322"/>
                <a:gd name="connsiteX5" fmla="*/ 12885 w 34921"/>
                <a:gd name="connsiteY5" fmla="*/ 36322 h 36322"/>
                <a:gd name="connsiteX6" fmla="*/ 0 w 34921"/>
                <a:gd name="connsiteY6" fmla="*/ 18114 h 36322"/>
                <a:gd name="connsiteX7" fmla="*/ 11298 w 34921"/>
                <a:gd name="connsiteY7" fmla="*/ 2241 h 3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21" h="36322">
                  <a:moveTo>
                    <a:pt x="11298" y="2241"/>
                  </a:moveTo>
                  <a:lnTo>
                    <a:pt x="27171" y="0"/>
                  </a:lnTo>
                  <a:lnTo>
                    <a:pt x="34921" y="16154"/>
                  </a:lnTo>
                  <a:lnTo>
                    <a:pt x="28572" y="23810"/>
                  </a:lnTo>
                  <a:lnTo>
                    <a:pt x="20916" y="27172"/>
                  </a:lnTo>
                  <a:lnTo>
                    <a:pt x="12885" y="36322"/>
                  </a:lnTo>
                  <a:lnTo>
                    <a:pt x="0" y="18114"/>
                  </a:lnTo>
                  <a:lnTo>
                    <a:pt x="11298" y="2241"/>
                  </a:lnTo>
                  <a:close/>
                </a:path>
              </a:pathLst>
            </a:custGeom>
            <a:solidFill>
              <a:srgbClr val="CEE3BF"/>
            </a:solidFill>
            <a:ln w="9334" cap="flat">
              <a:noFill/>
              <a:prstDash val="solid"/>
              <a:miter/>
            </a:ln>
          </p:spPr>
          <p:txBody>
            <a:bodyPr rtlCol="0" anchor="ctr"/>
            <a:lstStyle/>
            <a:p>
              <a:endParaRPr lang="en-GB" dirty="0"/>
            </a:p>
          </p:txBody>
        </p:sp>
        <p:sp>
          <p:nvSpPr>
            <p:cNvPr id="1217" name="Freeform: Shape 1216">
              <a:extLst>
                <a:ext uri="{FF2B5EF4-FFF2-40B4-BE49-F238E27FC236}">
                  <a16:creationId xmlns:a16="http://schemas.microsoft.com/office/drawing/2014/main" id="{B451B142-9D9A-4759-9C0B-BFB1E3CB28BB}"/>
                </a:ext>
              </a:extLst>
            </p:cNvPr>
            <p:cNvSpPr/>
            <p:nvPr/>
          </p:nvSpPr>
          <p:spPr>
            <a:xfrm>
              <a:off x="2681178" y="3596397"/>
              <a:ext cx="76005" cy="31093"/>
            </a:xfrm>
            <a:custGeom>
              <a:avLst/>
              <a:gdLst>
                <a:gd name="connsiteX0" fmla="*/ 31093 w 76005"/>
                <a:gd name="connsiteY0" fmla="*/ 10364 h 31093"/>
                <a:gd name="connsiteX1" fmla="*/ 0 w 76005"/>
                <a:gd name="connsiteY1" fmla="*/ 0 h 31093"/>
                <a:gd name="connsiteX2" fmla="*/ 76006 w 76005"/>
                <a:gd name="connsiteY2" fmla="*/ 31093 h 31093"/>
                <a:gd name="connsiteX3" fmla="*/ 31093 w 76005"/>
                <a:gd name="connsiteY3" fmla="*/ 10364 h 31093"/>
              </a:gdLst>
              <a:ahLst/>
              <a:cxnLst>
                <a:cxn ang="0">
                  <a:pos x="connsiteX0" y="connsiteY0"/>
                </a:cxn>
                <a:cxn ang="0">
                  <a:pos x="connsiteX1" y="connsiteY1"/>
                </a:cxn>
                <a:cxn ang="0">
                  <a:pos x="connsiteX2" y="connsiteY2"/>
                </a:cxn>
                <a:cxn ang="0">
                  <a:pos x="connsiteX3" y="connsiteY3"/>
                </a:cxn>
              </a:cxnLst>
              <a:rect l="l" t="t" r="r" b="b"/>
              <a:pathLst>
                <a:path w="76005" h="31093">
                  <a:moveTo>
                    <a:pt x="31093" y="10364"/>
                  </a:moveTo>
                  <a:lnTo>
                    <a:pt x="0" y="0"/>
                  </a:lnTo>
                  <a:lnTo>
                    <a:pt x="76006" y="31093"/>
                  </a:lnTo>
                  <a:lnTo>
                    <a:pt x="31093" y="10364"/>
                  </a:lnTo>
                  <a:close/>
                </a:path>
              </a:pathLst>
            </a:custGeom>
            <a:solidFill>
              <a:srgbClr val="CEE3BF"/>
            </a:solidFill>
            <a:ln w="9334" cap="flat">
              <a:noFill/>
              <a:prstDash val="solid"/>
              <a:miter/>
            </a:ln>
          </p:spPr>
          <p:txBody>
            <a:bodyPr rtlCol="0" anchor="ctr"/>
            <a:lstStyle/>
            <a:p>
              <a:endParaRPr lang="en-GB" dirty="0"/>
            </a:p>
          </p:txBody>
        </p:sp>
        <p:sp>
          <p:nvSpPr>
            <p:cNvPr id="1218" name="Freeform: Shape 1217">
              <a:extLst>
                <a:ext uri="{FF2B5EF4-FFF2-40B4-BE49-F238E27FC236}">
                  <a16:creationId xmlns:a16="http://schemas.microsoft.com/office/drawing/2014/main" id="{6EF7D786-5493-4385-A1D9-5F97650F9DF4}"/>
                </a:ext>
              </a:extLst>
            </p:cNvPr>
            <p:cNvSpPr/>
            <p:nvPr/>
          </p:nvSpPr>
          <p:spPr>
            <a:xfrm>
              <a:off x="2757184" y="3627491"/>
              <a:ext cx="120824" cy="10364"/>
            </a:xfrm>
            <a:custGeom>
              <a:avLst/>
              <a:gdLst>
                <a:gd name="connsiteX0" fmla="*/ 107006 w 120824"/>
                <a:gd name="connsiteY0" fmla="*/ 10364 h 10364"/>
                <a:gd name="connsiteX1" fmla="*/ 120825 w 120824"/>
                <a:gd name="connsiteY1" fmla="*/ 0 h 10364"/>
                <a:gd name="connsiteX2" fmla="*/ 107006 w 120824"/>
                <a:gd name="connsiteY2" fmla="*/ 10364 h 10364"/>
                <a:gd name="connsiteX3" fmla="*/ 27545 w 120824"/>
                <a:gd name="connsiteY3" fmla="*/ 10364 h 10364"/>
                <a:gd name="connsiteX4" fmla="*/ 0 w 120824"/>
                <a:gd name="connsiteY4" fmla="*/ 0 h 10364"/>
                <a:gd name="connsiteX5" fmla="*/ 27545 w 120824"/>
                <a:gd name="connsiteY5" fmla="*/ 10364 h 10364"/>
                <a:gd name="connsiteX6" fmla="*/ 107006 w 120824"/>
                <a:gd name="connsiteY6" fmla="*/ 10364 h 1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824" h="10364">
                  <a:moveTo>
                    <a:pt x="107006" y="10364"/>
                  </a:moveTo>
                  <a:lnTo>
                    <a:pt x="120825" y="0"/>
                  </a:lnTo>
                  <a:lnTo>
                    <a:pt x="107006" y="10364"/>
                  </a:lnTo>
                  <a:lnTo>
                    <a:pt x="27545" y="10364"/>
                  </a:lnTo>
                  <a:lnTo>
                    <a:pt x="0" y="0"/>
                  </a:lnTo>
                  <a:lnTo>
                    <a:pt x="27545" y="10364"/>
                  </a:lnTo>
                  <a:lnTo>
                    <a:pt x="107006" y="10364"/>
                  </a:lnTo>
                  <a:close/>
                </a:path>
              </a:pathLst>
            </a:custGeom>
            <a:solidFill>
              <a:srgbClr val="CEE3BF"/>
            </a:solidFill>
            <a:ln w="9334" cap="flat">
              <a:noFill/>
              <a:prstDash val="solid"/>
              <a:miter/>
            </a:ln>
          </p:spPr>
          <p:txBody>
            <a:bodyPr rtlCol="0" anchor="ctr"/>
            <a:lstStyle/>
            <a:p>
              <a:endParaRPr lang="en-GB" dirty="0"/>
            </a:p>
          </p:txBody>
        </p:sp>
        <p:sp>
          <p:nvSpPr>
            <p:cNvPr id="1219" name="Freeform: Shape 1218">
              <a:extLst>
                <a:ext uri="{FF2B5EF4-FFF2-40B4-BE49-F238E27FC236}">
                  <a16:creationId xmlns:a16="http://schemas.microsoft.com/office/drawing/2014/main" id="{BB3B0875-34D8-403A-BB94-6805B5DBAA45}"/>
                </a:ext>
              </a:extLst>
            </p:cNvPr>
            <p:cNvSpPr/>
            <p:nvPr/>
          </p:nvSpPr>
          <p:spPr>
            <a:xfrm>
              <a:off x="3019563" y="3679313"/>
              <a:ext cx="13819" cy="6909"/>
            </a:xfrm>
            <a:custGeom>
              <a:avLst/>
              <a:gdLst>
                <a:gd name="connsiteX0" fmla="*/ 13819 w 13819"/>
                <a:gd name="connsiteY0" fmla="*/ 0 h 6909"/>
                <a:gd name="connsiteX1" fmla="*/ 0 w 13819"/>
                <a:gd name="connsiteY1" fmla="*/ 6910 h 6909"/>
                <a:gd name="connsiteX2" fmla="*/ 13819 w 13819"/>
                <a:gd name="connsiteY2" fmla="*/ 0 h 6909"/>
                <a:gd name="connsiteX3" fmla="*/ 13819 w 13819"/>
                <a:gd name="connsiteY3" fmla="*/ 0 h 6909"/>
              </a:gdLst>
              <a:ahLst/>
              <a:cxnLst>
                <a:cxn ang="0">
                  <a:pos x="connsiteX0" y="connsiteY0"/>
                </a:cxn>
                <a:cxn ang="0">
                  <a:pos x="connsiteX1" y="connsiteY1"/>
                </a:cxn>
                <a:cxn ang="0">
                  <a:pos x="connsiteX2" y="connsiteY2"/>
                </a:cxn>
                <a:cxn ang="0">
                  <a:pos x="connsiteX3" y="connsiteY3"/>
                </a:cxn>
              </a:cxnLst>
              <a:rect l="l" t="t" r="r" b="b"/>
              <a:pathLst>
                <a:path w="13819" h="6909">
                  <a:moveTo>
                    <a:pt x="13819" y="0"/>
                  </a:moveTo>
                  <a:lnTo>
                    <a:pt x="0" y="6910"/>
                  </a:lnTo>
                  <a:lnTo>
                    <a:pt x="13819" y="0"/>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220" name="Freeform: Shape 1219">
              <a:extLst>
                <a:ext uri="{FF2B5EF4-FFF2-40B4-BE49-F238E27FC236}">
                  <a16:creationId xmlns:a16="http://schemas.microsoft.com/office/drawing/2014/main" id="{6CCB1E76-9BD0-458B-8DB5-DD13F3053C1B}"/>
                </a:ext>
              </a:extLst>
            </p:cNvPr>
            <p:cNvSpPr/>
            <p:nvPr/>
          </p:nvSpPr>
          <p:spPr>
            <a:xfrm>
              <a:off x="6449534" y="2258546"/>
              <a:ext cx="72457" cy="6909"/>
            </a:xfrm>
            <a:custGeom>
              <a:avLst/>
              <a:gdLst>
                <a:gd name="connsiteX0" fmla="*/ 0 w 72457"/>
                <a:gd name="connsiteY0" fmla="*/ 0 h 6909"/>
                <a:gd name="connsiteX1" fmla="*/ 72457 w 72457"/>
                <a:gd name="connsiteY1" fmla="*/ 6910 h 6909"/>
                <a:gd name="connsiteX2" fmla="*/ 48274 w 72457"/>
                <a:gd name="connsiteY2" fmla="*/ 3455 h 6909"/>
                <a:gd name="connsiteX3" fmla="*/ 0 w 72457"/>
                <a:gd name="connsiteY3" fmla="*/ 0 h 6909"/>
              </a:gdLst>
              <a:ahLst/>
              <a:cxnLst>
                <a:cxn ang="0">
                  <a:pos x="connsiteX0" y="connsiteY0"/>
                </a:cxn>
                <a:cxn ang="0">
                  <a:pos x="connsiteX1" y="connsiteY1"/>
                </a:cxn>
                <a:cxn ang="0">
                  <a:pos x="connsiteX2" y="connsiteY2"/>
                </a:cxn>
                <a:cxn ang="0">
                  <a:pos x="connsiteX3" y="connsiteY3"/>
                </a:cxn>
              </a:cxnLst>
              <a:rect l="l" t="t" r="r" b="b"/>
              <a:pathLst>
                <a:path w="72457" h="6909">
                  <a:moveTo>
                    <a:pt x="0" y="0"/>
                  </a:moveTo>
                  <a:lnTo>
                    <a:pt x="72457" y="6910"/>
                  </a:lnTo>
                  <a:lnTo>
                    <a:pt x="48274" y="3455"/>
                  </a:lnTo>
                  <a:lnTo>
                    <a:pt x="0" y="0"/>
                  </a:lnTo>
                  <a:close/>
                </a:path>
              </a:pathLst>
            </a:custGeom>
            <a:solidFill>
              <a:srgbClr val="CEE3BF"/>
            </a:solidFill>
            <a:ln w="9334" cap="flat">
              <a:noFill/>
              <a:prstDash val="solid"/>
              <a:miter/>
            </a:ln>
          </p:spPr>
          <p:txBody>
            <a:bodyPr rtlCol="0" anchor="ctr"/>
            <a:lstStyle/>
            <a:p>
              <a:endParaRPr lang="en-GB" dirty="0"/>
            </a:p>
          </p:txBody>
        </p:sp>
        <p:sp>
          <p:nvSpPr>
            <p:cNvPr id="1221" name="Freeform: Shape 1220">
              <a:extLst>
                <a:ext uri="{FF2B5EF4-FFF2-40B4-BE49-F238E27FC236}">
                  <a16:creationId xmlns:a16="http://schemas.microsoft.com/office/drawing/2014/main" id="{DB1EDE7E-056D-4A3F-A4C7-D044F23D20A6}"/>
                </a:ext>
              </a:extLst>
            </p:cNvPr>
            <p:cNvSpPr/>
            <p:nvPr/>
          </p:nvSpPr>
          <p:spPr>
            <a:xfrm>
              <a:off x="6480533" y="2334645"/>
              <a:ext cx="20729" cy="58731"/>
            </a:xfrm>
            <a:custGeom>
              <a:avLst/>
              <a:gdLst>
                <a:gd name="connsiteX0" fmla="*/ 13820 w 20729"/>
                <a:gd name="connsiteY0" fmla="*/ 6910 h 58731"/>
                <a:gd name="connsiteX1" fmla="*/ 0 w 20729"/>
                <a:gd name="connsiteY1" fmla="*/ 0 h 58731"/>
                <a:gd name="connsiteX2" fmla="*/ 13820 w 20729"/>
                <a:gd name="connsiteY2" fmla="*/ 6910 h 58731"/>
                <a:gd name="connsiteX3" fmla="*/ 3455 w 20729"/>
                <a:gd name="connsiteY3" fmla="*/ 34548 h 58731"/>
                <a:gd name="connsiteX4" fmla="*/ 20729 w 20729"/>
                <a:gd name="connsiteY4" fmla="*/ 58732 h 58731"/>
                <a:gd name="connsiteX5" fmla="*/ 3455 w 20729"/>
                <a:gd name="connsiteY5" fmla="*/ 34548 h 58731"/>
                <a:gd name="connsiteX6" fmla="*/ 13820 w 20729"/>
                <a:gd name="connsiteY6" fmla="*/ 6910 h 5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9" h="58731">
                  <a:moveTo>
                    <a:pt x="13820" y="6910"/>
                  </a:moveTo>
                  <a:lnTo>
                    <a:pt x="0" y="0"/>
                  </a:lnTo>
                  <a:lnTo>
                    <a:pt x="13820" y="6910"/>
                  </a:lnTo>
                  <a:lnTo>
                    <a:pt x="3455" y="34548"/>
                  </a:lnTo>
                  <a:lnTo>
                    <a:pt x="20729" y="58732"/>
                  </a:lnTo>
                  <a:lnTo>
                    <a:pt x="3455" y="34548"/>
                  </a:lnTo>
                  <a:lnTo>
                    <a:pt x="13820" y="6910"/>
                  </a:lnTo>
                  <a:close/>
                </a:path>
              </a:pathLst>
            </a:custGeom>
            <a:solidFill>
              <a:srgbClr val="CEE3BF"/>
            </a:solidFill>
            <a:ln w="9334" cap="flat">
              <a:noFill/>
              <a:prstDash val="solid"/>
              <a:miter/>
            </a:ln>
          </p:spPr>
          <p:txBody>
            <a:bodyPr rtlCol="0" anchor="ctr"/>
            <a:lstStyle/>
            <a:p>
              <a:endParaRPr lang="en-GB" dirty="0"/>
            </a:p>
          </p:txBody>
        </p:sp>
        <p:sp>
          <p:nvSpPr>
            <p:cNvPr id="1222" name="Freeform: Shape 1221">
              <a:extLst>
                <a:ext uri="{FF2B5EF4-FFF2-40B4-BE49-F238E27FC236}">
                  <a16:creationId xmlns:a16="http://schemas.microsoft.com/office/drawing/2014/main" id="{87433526-33F6-4693-8FA2-BF707A6591B7}"/>
                </a:ext>
              </a:extLst>
            </p:cNvPr>
            <p:cNvSpPr/>
            <p:nvPr/>
          </p:nvSpPr>
          <p:spPr>
            <a:xfrm>
              <a:off x="6425350" y="2231001"/>
              <a:ext cx="24183" cy="27545"/>
            </a:xfrm>
            <a:custGeom>
              <a:avLst/>
              <a:gdLst>
                <a:gd name="connsiteX0" fmla="*/ 0 w 24183"/>
                <a:gd name="connsiteY0" fmla="*/ 0 h 27545"/>
                <a:gd name="connsiteX1" fmla="*/ 24184 w 24183"/>
                <a:gd name="connsiteY1" fmla="*/ 27545 h 27545"/>
                <a:gd name="connsiteX2" fmla="*/ 10364 w 24183"/>
                <a:gd name="connsiteY2" fmla="*/ 10271 h 27545"/>
                <a:gd name="connsiteX3" fmla="*/ 0 w 24183"/>
                <a:gd name="connsiteY3" fmla="*/ 0 h 27545"/>
              </a:gdLst>
              <a:ahLst/>
              <a:cxnLst>
                <a:cxn ang="0">
                  <a:pos x="connsiteX0" y="connsiteY0"/>
                </a:cxn>
                <a:cxn ang="0">
                  <a:pos x="connsiteX1" y="connsiteY1"/>
                </a:cxn>
                <a:cxn ang="0">
                  <a:pos x="connsiteX2" y="connsiteY2"/>
                </a:cxn>
                <a:cxn ang="0">
                  <a:pos x="connsiteX3" y="connsiteY3"/>
                </a:cxn>
              </a:cxnLst>
              <a:rect l="l" t="t" r="r" b="b"/>
              <a:pathLst>
                <a:path w="24183" h="27545">
                  <a:moveTo>
                    <a:pt x="0" y="0"/>
                  </a:moveTo>
                  <a:lnTo>
                    <a:pt x="24184" y="27545"/>
                  </a:lnTo>
                  <a:lnTo>
                    <a:pt x="10364" y="10271"/>
                  </a:lnTo>
                  <a:lnTo>
                    <a:pt x="0" y="0"/>
                  </a:lnTo>
                  <a:close/>
                </a:path>
              </a:pathLst>
            </a:custGeom>
            <a:solidFill>
              <a:srgbClr val="CEE3BF"/>
            </a:solidFill>
            <a:ln w="9334" cap="flat">
              <a:noFill/>
              <a:prstDash val="solid"/>
              <a:miter/>
            </a:ln>
          </p:spPr>
          <p:txBody>
            <a:bodyPr rtlCol="0" anchor="ctr"/>
            <a:lstStyle/>
            <a:p>
              <a:endParaRPr lang="en-GB" dirty="0"/>
            </a:p>
          </p:txBody>
        </p:sp>
        <p:sp>
          <p:nvSpPr>
            <p:cNvPr id="1223" name="Freeform: Shape 1222">
              <a:extLst>
                <a:ext uri="{FF2B5EF4-FFF2-40B4-BE49-F238E27FC236}">
                  <a16:creationId xmlns:a16="http://schemas.microsoft.com/office/drawing/2014/main" id="{91313650-2AA8-4B6E-BF59-9E1523C675BD}"/>
                </a:ext>
              </a:extLst>
            </p:cNvPr>
            <p:cNvSpPr/>
            <p:nvPr/>
          </p:nvSpPr>
          <p:spPr>
            <a:xfrm>
              <a:off x="3906795" y="3150447"/>
              <a:ext cx="6909" cy="27638"/>
            </a:xfrm>
            <a:custGeom>
              <a:avLst/>
              <a:gdLst>
                <a:gd name="connsiteX0" fmla="*/ 0 w 6909"/>
                <a:gd name="connsiteY0" fmla="*/ 27639 h 27638"/>
                <a:gd name="connsiteX1" fmla="*/ 6910 w 6909"/>
                <a:gd name="connsiteY1" fmla="*/ 0 h 27638"/>
                <a:gd name="connsiteX2" fmla="*/ 0 w 6909"/>
                <a:gd name="connsiteY2" fmla="*/ 17274 h 27638"/>
                <a:gd name="connsiteX3" fmla="*/ 0 w 6909"/>
                <a:gd name="connsiteY3" fmla="*/ 27639 h 27638"/>
              </a:gdLst>
              <a:ahLst/>
              <a:cxnLst>
                <a:cxn ang="0">
                  <a:pos x="connsiteX0" y="connsiteY0"/>
                </a:cxn>
                <a:cxn ang="0">
                  <a:pos x="connsiteX1" y="connsiteY1"/>
                </a:cxn>
                <a:cxn ang="0">
                  <a:pos x="connsiteX2" y="connsiteY2"/>
                </a:cxn>
                <a:cxn ang="0">
                  <a:pos x="connsiteX3" y="connsiteY3"/>
                </a:cxn>
              </a:cxnLst>
              <a:rect l="l" t="t" r="r" b="b"/>
              <a:pathLst>
                <a:path w="6909" h="27638">
                  <a:moveTo>
                    <a:pt x="0" y="27639"/>
                  </a:moveTo>
                  <a:lnTo>
                    <a:pt x="6910" y="0"/>
                  </a:lnTo>
                  <a:lnTo>
                    <a:pt x="0" y="17274"/>
                  </a:lnTo>
                  <a:lnTo>
                    <a:pt x="0" y="27639"/>
                  </a:lnTo>
                  <a:close/>
                </a:path>
              </a:pathLst>
            </a:custGeom>
            <a:solidFill>
              <a:srgbClr val="CEE3BF"/>
            </a:solidFill>
            <a:ln w="9334" cap="flat">
              <a:noFill/>
              <a:prstDash val="solid"/>
              <a:miter/>
            </a:ln>
          </p:spPr>
          <p:txBody>
            <a:bodyPr rtlCol="0" anchor="ctr"/>
            <a:lstStyle/>
            <a:p>
              <a:endParaRPr lang="en-GB" dirty="0"/>
            </a:p>
          </p:txBody>
        </p:sp>
        <p:sp>
          <p:nvSpPr>
            <p:cNvPr id="1224" name="Freeform: Shape 1223">
              <a:extLst>
                <a:ext uri="{FF2B5EF4-FFF2-40B4-BE49-F238E27FC236}">
                  <a16:creationId xmlns:a16="http://schemas.microsoft.com/office/drawing/2014/main" id="{3DB93364-8B2F-4147-A281-E74707F51A50}"/>
                </a:ext>
              </a:extLst>
            </p:cNvPr>
            <p:cNvSpPr/>
            <p:nvPr/>
          </p:nvSpPr>
          <p:spPr>
            <a:xfrm>
              <a:off x="2228972" y="2773686"/>
              <a:ext cx="20728" cy="13819"/>
            </a:xfrm>
            <a:custGeom>
              <a:avLst/>
              <a:gdLst>
                <a:gd name="connsiteX0" fmla="*/ 6910 w 20728"/>
                <a:gd name="connsiteY0" fmla="*/ 3455 h 13819"/>
                <a:gd name="connsiteX1" fmla="*/ 0 w 20728"/>
                <a:gd name="connsiteY1" fmla="*/ 0 h 13819"/>
                <a:gd name="connsiteX2" fmla="*/ 20729 w 20728"/>
                <a:gd name="connsiteY2" fmla="*/ 13819 h 13819"/>
                <a:gd name="connsiteX3" fmla="*/ 6910 w 20728"/>
                <a:gd name="connsiteY3" fmla="*/ 3455 h 13819"/>
              </a:gdLst>
              <a:ahLst/>
              <a:cxnLst>
                <a:cxn ang="0">
                  <a:pos x="connsiteX0" y="connsiteY0"/>
                </a:cxn>
                <a:cxn ang="0">
                  <a:pos x="connsiteX1" y="connsiteY1"/>
                </a:cxn>
                <a:cxn ang="0">
                  <a:pos x="connsiteX2" y="connsiteY2"/>
                </a:cxn>
                <a:cxn ang="0">
                  <a:pos x="connsiteX3" y="connsiteY3"/>
                </a:cxn>
              </a:cxnLst>
              <a:rect l="l" t="t" r="r" b="b"/>
              <a:pathLst>
                <a:path w="20728" h="13819">
                  <a:moveTo>
                    <a:pt x="6910" y="3455"/>
                  </a:moveTo>
                  <a:lnTo>
                    <a:pt x="0" y="0"/>
                  </a:lnTo>
                  <a:lnTo>
                    <a:pt x="20729" y="13819"/>
                  </a:lnTo>
                  <a:lnTo>
                    <a:pt x="6910" y="3455"/>
                  </a:lnTo>
                  <a:close/>
                </a:path>
              </a:pathLst>
            </a:custGeom>
            <a:solidFill>
              <a:srgbClr val="CEE3BF"/>
            </a:solidFill>
            <a:ln w="9334" cap="flat">
              <a:noFill/>
              <a:prstDash val="solid"/>
              <a:miter/>
            </a:ln>
          </p:spPr>
          <p:txBody>
            <a:bodyPr rtlCol="0" anchor="ctr"/>
            <a:lstStyle/>
            <a:p>
              <a:endParaRPr lang="en-GB" dirty="0"/>
            </a:p>
          </p:txBody>
        </p:sp>
        <p:sp>
          <p:nvSpPr>
            <p:cNvPr id="1225" name="Freeform: Shape 1224">
              <a:extLst>
                <a:ext uri="{FF2B5EF4-FFF2-40B4-BE49-F238E27FC236}">
                  <a16:creationId xmlns:a16="http://schemas.microsoft.com/office/drawing/2014/main" id="{7C246F42-38D0-4351-91F0-9B86FCC1DA32}"/>
                </a:ext>
              </a:extLst>
            </p:cNvPr>
            <p:cNvSpPr/>
            <p:nvPr/>
          </p:nvSpPr>
          <p:spPr>
            <a:xfrm>
              <a:off x="6546175" y="2213634"/>
              <a:ext cx="6909" cy="17274"/>
            </a:xfrm>
            <a:custGeom>
              <a:avLst/>
              <a:gdLst>
                <a:gd name="connsiteX0" fmla="*/ 0 w 6909"/>
                <a:gd name="connsiteY0" fmla="*/ 17274 h 17274"/>
                <a:gd name="connsiteX1" fmla="*/ 6910 w 6909"/>
                <a:gd name="connsiteY1" fmla="*/ 0 h 17274"/>
                <a:gd name="connsiteX2" fmla="*/ 3455 w 6909"/>
                <a:gd name="connsiteY2" fmla="*/ 3455 h 17274"/>
                <a:gd name="connsiteX3" fmla="*/ 0 w 6909"/>
                <a:gd name="connsiteY3" fmla="*/ 17274 h 17274"/>
              </a:gdLst>
              <a:ahLst/>
              <a:cxnLst>
                <a:cxn ang="0">
                  <a:pos x="connsiteX0" y="connsiteY0"/>
                </a:cxn>
                <a:cxn ang="0">
                  <a:pos x="connsiteX1" y="connsiteY1"/>
                </a:cxn>
                <a:cxn ang="0">
                  <a:pos x="connsiteX2" y="connsiteY2"/>
                </a:cxn>
                <a:cxn ang="0">
                  <a:pos x="connsiteX3" y="connsiteY3"/>
                </a:cxn>
              </a:cxnLst>
              <a:rect l="l" t="t" r="r" b="b"/>
              <a:pathLst>
                <a:path w="6909" h="17274">
                  <a:moveTo>
                    <a:pt x="0" y="17274"/>
                  </a:moveTo>
                  <a:lnTo>
                    <a:pt x="6910" y="0"/>
                  </a:lnTo>
                  <a:lnTo>
                    <a:pt x="3455" y="3455"/>
                  </a:lnTo>
                  <a:lnTo>
                    <a:pt x="0" y="17274"/>
                  </a:lnTo>
                  <a:close/>
                </a:path>
              </a:pathLst>
            </a:custGeom>
            <a:solidFill>
              <a:srgbClr val="CEE3BF"/>
            </a:solidFill>
            <a:ln w="9334" cap="flat">
              <a:noFill/>
              <a:prstDash val="solid"/>
              <a:miter/>
            </a:ln>
          </p:spPr>
          <p:txBody>
            <a:bodyPr rtlCol="0" anchor="ctr"/>
            <a:lstStyle/>
            <a:p>
              <a:endParaRPr lang="en-GB" dirty="0"/>
            </a:p>
          </p:txBody>
        </p:sp>
        <p:sp>
          <p:nvSpPr>
            <p:cNvPr id="1226" name="Freeform: Shape 1225">
              <a:extLst>
                <a:ext uri="{FF2B5EF4-FFF2-40B4-BE49-F238E27FC236}">
                  <a16:creationId xmlns:a16="http://schemas.microsoft.com/office/drawing/2014/main" id="{41C37536-BF48-48A0-9ED8-1A4FC69B1428}"/>
                </a:ext>
              </a:extLst>
            </p:cNvPr>
            <p:cNvSpPr/>
            <p:nvPr/>
          </p:nvSpPr>
          <p:spPr>
            <a:xfrm>
              <a:off x="6414705" y="2230908"/>
              <a:ext cx="10644" cy="8496"/>
            </a:xfrm>
            <a:custGeom>
              <a:avLst/>
              <a:gdLst>
                <a:gd name="connsiteX0" fmla="*/ 0 w 10644"/>
                <a:gd name="connsiteY0" fmla="*/ 8497 h 8496"/>
                <a:gd name="connsiteX1" fmla="*/ 10645 w 10644"/>
                <a:gd name="connsiteY1" fmla="*/ 0 h 8496"/>
                <a:gd name="connsiteX2" fmla="*/ 10645 w 10644"/>
                <a:gd name="connsiteY2" fmla="*/ 0 h 8496"/>
                <a:gd name="connsiteX3" fmla="*/ 0 w 10644"/>
                <a:gd name="connsiteY3" fmla="*/ 8497 h 8496"/>
              </a:gdLst>
              <a:ahLst/>
              <a:cxnLst>
                <a:cxn ang="0">
                  <a:pos x="connsiteX0" y="connsiteY0"/>
                </a:cxn>
                <a:cxn ang="0">
                  <a:pos x="connsiteX1" y="connsiteY1"/>
                </a:cxn>
                <a:cxn ang="0">
                  <a:pos x="connsiteX2" y="connsiteY2"/>
                </a:cxn>
                <a:cxn ang="0">
                  <a:pos x="connsiteX3" y="connsiteY3"/>
                </a:cxn>
              </a:cxnLst>
              <a:rect l="l" t="t" r="r" b="b"/>
              <a:pathLst>
                <a:path w="10644" h="8496">
                  <a:moveTo>
                    <a:pt x="0" y="8497"/>
                  </a:moveTo>
                  <a:lnTo>
                    <a:pt x="10645" y="0"/>
                  </a:lnTo>
                  <a:lnTo>
                    <a:pt x="10645" y="0"/>
                  </a:lnTo>
                  <a:lnTo>
                    <a:pt x="0" y="8497"/>
                  </a:lnTo>
                  <a:close/>
                </a:path>
              </a:pathLst>
            </a:custGeom>
            <a:solidFill>
              <a:srgbClr val="CEE3BF"/>
            </a:solidFill>
            <a:ln w="9334" cap="flat">
              <a:noFill/>
              <a:prstDash val="solid"/>
              <a:miter/>
            </a:ln>
          </p:spPr>
          <p:txBody>
            <a:bodyPr rtlCol="0" anchor="ctr"/>
            <a:lstStyle/>
            <a:p>
              <a:endParaRPr lang="en-GB" dirty="0"/>
            </a:p>
          </p:txBody>
        </p:sp>
        <p:sp>
          <p:nvSpPr>
            <p:cNvPr id="1227" name="Freeform: Shape 1226">
              <a:extLst>
                <a:ext uri="{FF2B5EF4-FFF2-40B4-BE49-F238E27FC236}">
                  <a16:creationId xmlns:a16="http://schemas.microsoft.com/office/drawing/2014/main" id="{868C7799-E447-4AE9-9323-110268A0CA0A}"/>
                </a:ext>
              </a:extLst>
            </p:cNvPr>
            <p:cNvSpPr/>
            <p:nvPr/>
          </p:nvSpPr>
          <p:spPr>
            <a:xfrm>
              <a:off x="5998915" y="3022526"/>
              <a:ext cx="20728" cy="27638"/>
            </a:xfrm>
            <a:custGeom>
              <a:avLst/>
              <a:gdLst>
                <a:gd name="connsiteX0" fmla="*/ 13819 w 20728"/>
                <a:gd name="connsiteY0" fmla="*/ 6910 h 27638"/>
                <a:gd name="connsiteX1" fmla="*/ 10364 w 20728"/>
                <a:gd name="connsiteY1" fmla="*/ 0 h 27638"/>
                <a:gd name="connsiteX2" fmla="*/ 0 w 20728"/>
                <a:gd name="connsiteY2" fmla="*/ 0 h 27638"/>
                <a:gd name="connsiteX3" fmla="*/ 0 w 20728"/>
                <a:gd name="connsiteY3" fmla="*/ 20729 h 27638"/>
                <a:gd name="connsiteX4" fmla="*/ 10364 w 20728"/>
                <a:gd name="connsiteY4" fmla="*/ 20729 h 27638"/>
                <a:gd name="connsiteX5" fmla="*/ 20729 w 20728"/>
                <a:gd name="connsiteY5" fmla="*/ 27639 h 27638"/>
                <a:gd name="connsiteX6" fmla="*/ 10364 w 20728"/>
                <a:gd name="connsiteY6" fmla="*/ 20729 h 27638"/>
                <a:gd name="connsiteX7" fmla="*/ 13819 w 20728"/>
                <a:gd name="connsiteY7" fmla="*/ 6910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28" h="27638">
                  <a:moveTo>
                    <a:pt x="13819" y="6910"/>
                  </a:moveTo>
                  <a:lnTo>
                    <a:pt x="10364" y="0"/>
                  </a:lnTo>
                  <a:lnTo>
                    <a:pt x="0" y="0"/>
                  </a:lnTo>
                  <a:lnTo>
                    <a:pt x="0" y="20729"/>
                  </a:lnTo>
                  <a:lnTo>
                    <a:pt x="10364" y="20729"/>
                  </a:lnTo>
                  <a:lnTo>
                    <a:pt x="20729" y="27639"/>
                  </a:lnTo>
                  <a:lnTo>
                    <a:pt x="10364" y="20729"/>
                  </a:lnTo>
                  <a:lnTo>
                    <a:pt x="13819" y="6910"/>
                  </a:lnTo>
                  <a:close/>
                </a:path>
              </a:pathLst>
            </a:custGeom>
            <a:solidFill>
              <a:srgbClr val="CEE3BF"/>
            </a:solidFill>
            <a:ln w="9334" cap="flat">
              <a:noFill/>
              <a:prstDash val="solid"/>
              <a:miter/>
            </a:ln>
          </p:spPr>
          <p:txBody>
            <a:bodyPr rtlCol="0" anchor="ctr"/>
            <a:lstStyle/>
            <a:p>
              <a:endParaRPr lang="en-GB" dirty="0"/>
            </a:p>
          </p:txBody>
        </p:sp>
        <p:sp>
          <p:nvSpPr>
            <p:cNvPr id="1228" name="Freeform: Shape 1227">
              <a:extLst>
                <a:ext uri="{FF2B5EF4-FFF2-40B4-BE49-F238E27FC236}">
                  <a16:creationId xmlns:a16="http://schemas.microsoft.com/office/drawing/2014/main" id="{265C9F0B-A638-43E1-9FAF-C8B412F3F6E5}"/>
                </a:ext>
              </a:extLst>
            </p:cNvPr>
            <p:cNvSpPr/>
            <p:nvPr/>
          </p:nvSpPr>
          <p:spPr>
            <a:xfrm>
              <a:off x="6646271" y="2431380"/>
              <a:ext cx="31093" cy="41551"/>
            </a:xfrm>
            <a:custGeom>
              <a:avLst/>
              <a:gdLst>
                <a:gd name="connsiteX0" fmla="*/ 31093 w 31093"/>
                <a:gd name="connsiteY0" fmla="*/ 41551 h 41551"/>
                <a:gd name="connsiteX1" fmla="*/ 17274 w 31093"/>
                <a:gd name="connsiteY1" fmla="*/ 17274 h 41551"/>
                <a:gd name="connsiteX2" fmla="*/ 0 w 31093"/>
                <a:gd name="connsiteY2" fmla="*/ 0 h 41551"/>
                <a:gd name="connsiteX3" fmla="*/ 17274 w 31093"/>
                <a:gd name="connsiteY3" fmla="*/ 17274 h 41551"/>
                <a:gd name="connsiteX4" fmla="*/ 31093 w 31093"/>
                <a:gd name="connsiteY4" fmla="*/ 41551 h 41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93" h="41551">
                  <a:moveTo>
                    <a:pt x="31093" y="41551"/>
                  </a:moveTo>
                  <a:lnTo>
                    <a:pt x="17274" y="17274"/>
                  </a:lnTo>
                  <a:lnTo>
                    <a:pt x="0" y="0"/>
                  </a:lnTo>
                  <a:lnTo>
                    <a:pt x="17274" y="17274"/>
                  </a:lnTo>
                  <a:lnTo>
                    <a:pt x="31093" y="41551"/>
                  </a:lnTo>
                  <a:close/>
                </a:path>
              </a:pathLst>
            </a:custGeom>
            <a:solidFill>
              <a:srgbClr val="CEE3BF"/>
            </a:solidFill>
            <a:ln w="9334" cap="flat">
              <a:noFill/>
              <a:prstDash val="solid"/>
              <a:miter/>
            </a:ln>
          </p:spPr>
          <p:txBody>
            <a:bodyPr rtlCol="0" anchor="ctr"/>
            <a:lstStyle/>
            <a:p>
              <a:endParaRPr lang="en-GB" dirty="0"/>
            </a:p>
          </p:txBody>
        </p:sp>
        <p:sp>
          <p:nvSpPr>
            <p:cNvPr id="1229" name="Freeform: Shape 1228">
              <a:extLst>
                <a:ext uri="{FF2B5EF4-FFF2-40B4-BE49-F238E27FC236}">
                  <a16:creationId xmlns:a16="http://schemas.microsoft.com/office/drawing/2014/main" id="{D317C3D2-A294-44FD-8E9C-16F5088F0C9F}"/>
                </a:ext>
              </a:extLst>
            </p:cNvPr>
            <p:cNvSpPr/>
            <p:nvPr/>
          </p:nvSpPr>
          <p:spPr>
            <a:xfrm>
              <a:off x="6466714" y="2275820"/>
              <a:ext cx="17274" cy="24277"/>
            </a:xfrm>
            <a:custGeom>
              <a:avLst/>
              <a:gdLst>
                <a:gd name="connsiteX0" fmla="*/ 17274 w 17274"/>
                <a:gd name="connsiteY0" fmla="*/ 24277 h 24277"/>
                <a:gd name="connsiteX1" fmla="*/ 17274 w 17274"/>
                <a:gd name="connsiteY1" fmla="*/ 24277 h 24277"/>
                <a:gd name="connsiteX2" fmla="*/ 0 w 17274"/>
                <a:gd name="connsiteY2" fmla="*/ 0 h 24277"/>
                <a:gd name="connsiteX3" fmla="*/ 17274 w 17274"/>
                <a:gd name="connsiteY3" fmla="*/ 24277 h 24277"/>
                <a:gd name="connsiteX4" fmla="*/ 17274 w 17274"/>
                <a:gd name="connsiteY4" fmla="*/ 24277 h 24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4" h="24277">
                  <a:moveTo>
                    <a:pt x="17274" y="24277"/>
                  </a:moveTo>
                  <a:lnTo>
                    <a:pt x="17274" y="24277"/>
                  </a:lnTo>
                  <a:lnTo>
                    <a:pt x="0" y="0"/>
                  </a:lnTo>
                  <a:lnTo>
                    <a:pt x="17274" y="24277"/>
                  </a:lnTo>
                  <a:lnTo>
                    <a:pt x="17274" y="24277"/>
                  </a:lnTo>
                  <a:close/>
                </a:path>
              </a:pathLst>
            </a:custGeom>
            <a:solidFill>
              <a:srgbClr val="CEE3BF"/>
            </a:solidFill>
            <a:ln w="9334" cap="flat">
              <a:noFill/>
              <a:prstDash val="solid"/>
              <a:miter/>
            </a:ln>
          </p:spPr>
          <p:txBody>
            <a:bodyPr rtlCol="0" anchor="ctr"/>
            <a:lstStyle/>
            <a:p>
              <a:endParaRPr lang="en-GB" dirty="0"/>
            </a:p>
          </p:txBody>
        </p:sp>
        <p:sp>
          <p:nvSpPr>
            <p:cNvPr id="1230" name="Freeform: Shape 1229">
              <a:extLst>
                <a:ext uri="{FF2B5EF4-FFF2-40B4-BE49-F238E27FC236}">
                  <a16:creationId xmlns:a16="http://schemas.microsoft.com/office/drawing/2014/main" id="{9FF52A7B-FC28-4757-9ECD-878153E12AB8}"/>
                </a:ext>
              </a:extLst>
            </p:cNvPr>
            <p:cNvSpPr/>
            <p:nvPr/>
          </p:nvSpPr>
          <p:spPr>
            <a:xfrm>
              <a:off x="6242339" y="2932607"/>
              <a:ext cx="3454" cy="41551"/>
            </a:xfrm>
            <a:custGeom>
              <a:avLst/>
              <a:gdLst>
                <a:gd name="connsiteX0" fmla="*/ 0 w 3454"/>
                <a:gd name="connsiteY0" fmla="*/ 17367 h 41551"/>
                <a:gd name="connsiteX1" fmla="*/ 3455 w 3454"/>
                <a:gd name="connsiteY1" fmla="*/ 41551 h 41551"/>
                <a:gd name="connsiteX2" fmla="*/ 3455 w 3454"/>
                <a:gd name="connsiteY2" fmla="*/ 0 h 41551"/>
                <a:gd name="connsiteX3" fmla="*/ 0 w 3454"/>
                <a:gd name="connsiteY3" fmla="*/ 17367 h 41551"/>
              </a:gdLst>
              <a:ahLst/>
              <a:cxnLst>
                <a:cxn ang="0">
                  <a:pos x="connsiteX0" y="connsiteY0"/>
                </a:cxn>
                <a:cxn ang="0">
                  <a:pos x="connsiteX1" y="connsiteY1"/>
                </a:cxn>
                <a:cxn ang="0">
                  <a:pos x="connsiteX2" y="connsiteY2"/>
                </a:cxn>
                <a:cxn ang="0">
                  <a:pos x="connsiteX3" y="connsiteY3"/>
                </a:cxn>
              </a:cxnLst>
              <a:rect l="l" t="t" r="r" b="b"/>
              <a:pathLst>
                <a:path w="3454" h="41551">
                  <a:moveTo>
                    <a:pt x="0" y="17367"/>
                  </a:moveTo>
                  <a:lnTo>
                    <a:pt x="3455" y="41551"/>
                  </a:lnTo>
                  <a:lnTo>
                    <a:pt x="3455" y="0"/>
                  </a:lnTo>
                  <a:lnTo>
                    <a:pt x="0" y="17367"/>
                  </a:lnTo>
                  <a:close/>
                </a:path>
              </a:pathLst>
            </a:custGeom>
            <a:solidFill>
              <a:srgbClr val="CEE3BF"/>
            </a:solidFill>
            <a:ln w="9334" cap="flat">
              <a:noFill/>
              <a:prstDash val="solid"/>
              <a:miter/>
            </a:ln>
          </p:spPr>
          <p:txBody>
            <a:bodyPr rtlCol="0" anchor="ctr"/>
            <a:lstStyle/>
            <a:p>
              <a:endParaRPr lang="en-GB" dirty="0"/>
            </a:p>
          </p:txBody>
        </p:sp>
        <p:sp>
          <p:nvSpPr>
            <p:cNvPr id="1231" name="Freeform: Shape 1230">
              <a:extLst>
                <a:ext uri="{FF2B5EF4-FFF2-40B4-BE49-F238E27FC236}">
                  <a16:creationId xmlns:a16="http://schemas.microsoft.com/office/drawing/2014/main" id="{7DCF3C69-EB52-4919-A315-B5934C77A3F1}"/>
                </a:ext>
              </a:extLst>
            </p:cNvPr>
            <p:cNvSpPr/>
            <p:nvPr/>
          </p:nvSpPr>
          <p:spPr>
            <a:xfrm>
              <a:off x="6646271" y="2396832"/>
              <a:ext cx="13819" cy="34548"/>
            </a:xfrm>
            <a:custGeom>
              <a:avLst/>
              <a:gdLst>
                <a:gd name="connsiteX0" fmla="*/ 13820 w 13819"/>
                <a:gd name="connsiteY0" fmla="*/ 0 h 34548"/>
                <a:gd name="connsiteX1" fmla="*/ 13820 w 13819"/>
                <a:gd name="connsiteY1" fmla="*/ 0 h 34548"/>
                <a:gd name="connsiteX2" fmla="*/ 0 w 13819"/>
                <a:gd name="connsiteY2" fmla="*/ 34548 h 34548"/>
                <a:gd name="connsiteX3" fmla="*/ 13820 w 13819"/>
                <a:gd name="connsiteY3" fmla="*/ 0 h 34548"/>
              </a:gdLst>
              <a:ahLst/>
              <a:cxnLst>
                <a:cxn ang="0">
                  <a:pos x="connsiteX0" y="connsiteY0"/>
                </a:cxn>
                <a:cxn ang="0">
                  <a:pos x="connsiteX1" y="connsiteY1"/>
                </a:cxn>
                <a:cxn ang="0">
                  <a:pos x="connsiteX2" y="connsiteY2"/>
                </a:cxn>
                <a:cxn ang="0">
                  <a:pos x="connsiteX3" y="connsiteY3"/>
                </a:cxn>
              </a:cxnLst>
              <a:rect l="l" t="t" r="r" b="b"/>
              <a:pathLst>
                <a:path w="13819" h="34548">
                  <a:moveTo>
                    <a:pt x="13820" y="0"/>
                  </a:moveTo>
                  <a:lnTo>
                    <a:pt x="13820" y="0"/>
                  </a:lnTo>
                  <a:lnTo>
                    <a:pt x="0" y="34548"/>
                  </a:lnTo>
                  <a:lnTo>
                    <a:pt x="13820" y="0"/>
                  </a:lnTo>
                  <a:close/>
                </a:path>
              </a:pathLst>
            </a:custGeom>
            <a:solidFill>
              <a:srgbClr val="CEE3BF"/>
            </a:solidFill>
            <a:ln w="9334" cap="flat">
              <a:noFill/>
              <a:prstDash val="solid"/>
              <a:miter/>
            </a:ln>
          </p:spPr>
          <p:txBody>
            <a:bodyPr rtlCol="0" anchor="ctr"/>
            <a:lstStyle/>
            <a:p>
              <a:endParaRPr lang="en-GB" dirty="0"/>
            </a:p>
          </p:txBody>
        </p:sp>
        <p:sp>
          <p:nvSpPr>
            <p:cNvPr id="1232" name="Freeform: Shape 1231">
              <a:extLst>
                <a:ext uri="{FF2B5EF4-FFF2-40B4-BE49-F238E27FC236}">
                  <a16:creationId xmlns:a16="http://schemas.microsoft.com/office/drawing/2014/main" id="{F81061EE-681B-439E-B75B-AAEA0E956856}"/>
                </a:ext>
              </a:extLst>
            </p:cNvPr>
            <p:cNvSpPr/>
            <p:nvPr/>
          </p:nvSpPr>
          <p:spPr>
            <a:xfrm>
              <a:off x="6016189" y="2949975"/>
              <a:ext cx="10364" cy="6909"/>
            </a:xfrm>
            <a:custGeom>
              <a:avLst/>
              <a:gdLst>
                <a:gd name="connsiteX0" fmla="*/ 10365 w 10364"/>
                <a:gd name="connsiteY0" fmla="*/ 0 h 6909"/>
                <a:gd name="connsiteX1" fmla="*/ 0 w 10364"/>
                <a:gd name="connsiteY1" fmla="*/ 6910 h 6909"/>
                <a:gd name="connsiteX2" fmla="*/ 10365 w 10364"/>
                <a:gd name="connsiteY2" fmla="*/ 0 h 6909"/>
                <a:gd name="connsiteX3" fmla="*/ 10365 w 10364"/>
                <a:gd name="connsiteY3" fmla="*/ 0 h 6909"/>
              </a:gdLst>
              <a:ahLst/>
              <a:cxnLst>
                <a:cxn ang="0">
                  <a:pos x="connsiteX0" y="connsiteY0"/>
                </a:cxn>
                <a:cxn ang="0">
                  <a:pos x="connsiteX1" y="connsiteY1"/>
                </a:cxn>
                <a:cxn ang="0">
                  <a:pos x="connsiteX2" y="connsiteY2"/>
                </a:cxn>
                <a:cxn ang="0">
                  <a:pos x="connsiteX3" y="connsiteY3"/>
                </a:cxn>
              </a:cxnLst>
              <a:rect l="l" t="t" r="r" b="b"/>
              <a:pathLst>
                <a:path w="10364" h="6909">
                  <a:moveTo>
                    <a:pt x="10365" y="0"/>
                  </a:moveTo>
                  <a:lnTo>
                    <a:pt x="0" y="6910"/>
                  </a:lnTo>
                  <a:lnTo>
                    <a:pt x="10365" y="0"/>
                  </a:lnTo>
                  <a:lnTo>
                    <a:pt x="10365" y="0"/>
                  </a:lnTo>
                  <a:close/>
                </a:path>
              </a:pathLst>
            </a:custGeom>
            <a:solidFill>
              <a:srgbClr val="CEE3BF"/>
            </a:solidFill>
            <a:ln w="9334" cap="flat">
              <a:noFill/>
              <a:prstDash val="solid"/>
              <a:miter/>
            </a:ln>
          </p:spPr>
          <p:txBody>
            <a:bodyPr rtlCol="0" anchor="ctr"/>
            <a:lstStyle/>
            <a:p>
              <a:endParaRPr lang="en-GB" dirty="0"/>
            </a:p>
          </p:txBody>
        </p:sp>
        <p:sp>
          <p:nvSpPr>
            <p:cNvPr id="1233" name="Freeform: Shape 1232">
              <a:extLst>
                <a:ext uri="{FF2B5EF4-FFF2-40B4-BE49-F238E27FC236}">
                  <a16:creationId xmlns:a16="http://schemas.microsoft.com/office/drawing/2014/main" id="{95FA3927-DA1A-44AE-A306-41E0294B7E74}"/>
                </a:ext>
              </a:extLst>
            </p:cNvPr>
            <p:cNvSpPr/>
            <p:nvPr/>
          </p:nvSpPr>
          <p:spPr>
            <a:xfrm>
              <a:off x="6081830" y="3164266"/>
              <a:ext cx="6909" cy="3454"/>
            </a:xfrm>
            <a:custGeom>
              <a:avLst/>
              <a:gdLst>
                <a:gd name="connsiteX0" fmla="*/ 0 w 6909"/>
                <a:gd name="connsiteY0" fmla="*/ 3455 h 3454"/>
                <a:gd name="connsiteX1" fmla="*/ 6910 w 6909"/>
                <a:gd name="connsiteY1" fmla="*/ 0 h 3454"/>
                <a:gd name="connsiteX2" fmla="*/ 0 w 6909"/>
                <a:gd name="connsiteY2" fmla="*/ 3455 h 3454"/>
                <a:gd name="connsiteX3" fmla="*/ 0 w 6909"/>
                <a:gd name="connsiteY3" fmla="*/ 3455 h 3454"/>
              </a:gdLst>
              <a:ahLst/>
              <a:cxnLst>
                <a:cxn ang="0">
                  <a:pos x="connsiteX0" y="connsiteY0"/>
                </a:cxn>
                <a:cxn ang="0">
                  <a:pos x="connsiteX1" y="connsiteY1"/>
                </a:cxn>
                <a:cxn ang="0">
                  <a:pos x="connsiteX2" y="connsiteY2"/>
                </a:cxn>
                <a:cxn ang="0">
                  <a:pos x="connsiteX3" y="connsiteY3"/>
                </a:cxn>
              </a:cxnLst>
              <a:rect l="l" t="t" r="r" b="b"/>
              <a:pathLst>
                <a:path w="6909" h="3454">
                  <a:moveTo>
                    <a:pt x="0" y="3455"/>
                  </a:moveTo>
                  <a:lnTo>
                    <a:pt x="6910" y="0"/>
                  </a:lnTo>
                  <a:lnTo>
                    <a:pt x="0" y="3455"/>
                  </a:lnTo>
                  <a:lnTo>
                    <a:pt x="0" y="3455"/>
                  </a:lnTo>
                  <a:close/>
                </a:path>
              </a:pathLst>
            </a:custGeom>
            <a:solidFill>
              <a:srgbClr val="CEE3BF"/>
            </a:solidFill>
            <a:ln w="9334" cap="flat">
              <a:noFill/>
              <a:prstDash val="solid"/>
              <a:miter/>
            </a:ln>
          </p:spPr>
          <p:txBody>
            <a:bodyPr rtlCol="0" anchor="ctr"/>
            <a:lstStyle/>
            <a:p>
              <a:endParaRPr lang="en-GB" dirty="0"/>
            </a:p>
          </p:txBody>
        </p:sp>
        <p:sp>
          <p:nvSpPr>
            <p:cNvPr id="1234" name="Freeform: Shape 1233">
              <a:extLst>
                <a:ext uri="{FF2B5EF4-FFF2-40B4-BE49-F238E27FC236}">
                  <a16:creationId xmlns:a16="http://schemas.microsoft.com/office/drawing/2014/main" id="{2A268B35-BC0B-4DC6-AEF9-0A7D771A4FFB}"/>
                </a:ext>
              </a:extLst>
            </p:cNvPr>
            <p:cNvSpPr/>
            <p:nvPr/>
          </p:nvSpPr>
          <p:spPr>
            <a:xfrm>
              <a:off x="5995460" y="2984523"/>
              <a:ext cx="17274" cy="27638"/>
            </a:xfrm>
            <a:custGeom>
              <a:avLst/>
              <a:gdLst>
                <a:gd name="connsiteX0" fmla="*/ 93 w 17274"/>
                <a:gd name="connsiteY0" fmla="*/ 0 h 27638"/>
                <a:gd name="connsiteX1" fmla="*/ 0 w 17274"/>
                <a:gd name="connsiteY1" fmla="*/ 0 h 27638"/>
                <a:gd name="connsiteX2" fmla="*/ 0 w 17274"/>
                <a:gd name="connsiteY2" fmla="*/ 0 h 27638"/>
                <a:gd name="connsiteX3" fmla="*/ 10365 w 17274"/>
                <a:gd name="connsiteY3" fmla="*/ 13819 h 27638"/>
                <a:gd name="connsiteX4" fmla="*/ 17274 w 17274"/>
                <a:gd name="connsiteY4" fmla="*/ 27638 h 27638"/>
                <a:gd name="connsiteX5" fmla="*/ 10365 w 17274"/>
                <a:gd name="connsiteY5" fmla="*/ 10364 h 27638"/>
                <a:gd name="connsiteX6" fmla="*/ 93 w 17274"/>
                <a:gd name="connsiteY6" fmla="*/ 0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74" h="27638">
                  <a:moveTo>
                    <a:pt x="93" y="0"/>
                  </a:moveTo>
                  <a:lnTo>
                    <a:pt x="0" y="0"/>
                  </a:lnTo>
                  <a:lnTo>
                    <a:pt x="0" y="0"/>
                  </a:lnTo>
                  <a:lnTo>
                    <a:pt x="10365" y="13819"/>
                  </a:lnTo>
                  <a:lnTo>
                    <a:pt x="17274" y="27638"/>
                  </a:lnTo>
                  <a:lnTo>
                    <a:pt x="10365" y="10364"/>
                  </a:lnTo>
                  <a:lnTo>
                    <a:pt x="93" y="0"/>
                  </a:lnTo>
                  <a:close/>
                </a:path>
              </a:pathLst>
            </a:custGeom>
            <a:solidFill>
              <a:srgbClr val="CEE3BF"/>
            </a:solidFill>
            <a:ln w="9334" cap="flat">
              <a:noFill/>
              <a:prstDash val="solid"/>
              <a:miter/>
            </a:ln>
          </p:spPr>
          <p:txBody>
            <a:bodyPr rtlCol="0" anchor="ctr"/>
            <a:lstStyle/>
            <a:p>
              <a:endParaRPr lang="en-GB" dirty="0"/>
            </a:p>
          </p:txBody>
        </p:sp>
        <p:sp>
          <p:nvSpPr>
            <p:cNvPr id="1235" name="Freeform: Shape 1234">
              <a:extLst>
                <a:ext uri="{FF2B5EF4-FFF2-40B4-BE49-F238E27FC236}">
                  <a16:creationId xmlns:a16="http://schemas.microsoft.com/office/drawing/2014/main" id="{58F0AECB-B8A1-458C-9D53-B8C2CCBB6D9C}"/>
                </a:ext>
              </a:extLst>
            </p:cNvPr>
            <p:cNvSpPr/>
            <p:nvPr/>
          </p:nvSpPr>
          <p:spPr>
            <a:xfrm>
              <a:off x="6043827" y="3063983"/>
              <a:ext cx="17273" cy="34641"/>
            </a:xfrm>
            <a:custGeom>
              <a:avLst/>
              <a:gdLst>
                <a:gd name="connsiteX0" fmla="*/ 6910 w 17273"/>
                <a:gd name="connsiteY0" fmla="*/ 20729 h 34641"/>
                <a:gd name="connsiteX1" fmla="*/ 0 w 17273"/>
                <a:gd name="connsiteY1" fmla="*/ 34641 h 34641"/>
                <a:gd name="connsiteX2" fmla="*/ 17274 w 17273"/>
                <a:gd name="connsiteY2" fmla="*/ 0 h 34641"/>
                <a:gd name="connsiteX3" fmla="*/ 6910 w 17273"/>
                <a:gd name="connsiteY3" fmla="*/ 20729 h 34641"/>
              </a:gdLst>
              <a:ahLst/>
              <a:cxnLst>
                <a:cxn ang="0">
                  <a:pos x="connsiteX0" y="connsiteY0"/>
                </a:cxn>
                <a:cxn ang="0">
                  <a:pos x="connsiteX1" y="connsiteY1"/>
                </a:cxn>
                <a:cxn ang="0">
                  <a:pos x="connsiteX2" y="connsiteY2"/>
                </a:cxn>
                <a:cxn ang="0">
                  <a:pos x="connsiteX3" y="connsiteY3"/>
                </a:cxn>
              </a:cxnLst>
              <a:rect l="l" t="t" r="r" b="b"/>
              <a:pathLst>
                <a:path w="17273" h="34641">
                  <a:moveTo>
                    <a:pt x="6910" y="20729"/>
                  </a:moveTo>
                  <a:lnTo>
                    <a:pt x="0" y="34641"/>
                  </a:lnTo>
                  <a:lnTo>
                    <a:pt x="17274" y="0"/>
                  </a:lnTo>
                  <a:lnTo>
                    <a:pt x="6910" y="20729"/>
                  </a:lnTo>
                  <a:close/>
                </a:path>
              </a:pathLst>
            </a:custGeom>
            <a:solidFill>
              <a:srgbClr val="CEE3BF"/>
            </a:solidFill>
            <a:ln w="9334" cap="flat">
              <a:noFill/>
              <a:prstDash val="solid"/>
              <a:miter/>
            </a:ln>
          </p:spPr>
          <p:txBody>
            <a:bodyPr rtlCol="0" anchor="ctr"/>
            <a:lstStyle/>
            <a:p>
              <a:endParaRPr lang="en-GB" dirty="0"/>
            </a:p>
          </p:txBody>
        </p:sp>
        <p:sp>
          <p:nvSpPr>
            <p:cNvPr id="1236" name="Freeform: Shape 1235">
              <a:extLst>
                <a:ext uri="{FF2B5EF4-FFF2-40B4-BE49-F238E27FC236}">
                  <a16:creationId xmlns:a16="http://schemas.microsoft.com/office/drawing/2014/main" id="{001BA3AB-DE20-469A-9A02-93AB262DA5F3}"/>
                </a:ext>
              </a:extLst>
            </p:cNvPr>
            <p:cNvSpPr/>
            <p:nvPr/>
          </p:nvSpPr>
          <p:spPr>
            <a:xfrm>
              <a:off x="6169881" y="2466021"/>
              <a:ext cx="55183" cy="17274"/>
            </a:xfrm>
            <a:custGeom>
              <a:avLst/>
              <a:gdLst>
                <a:gd name="connsiteX0" fmla="*/ 27545 w 55183"/>
                <a:gd name="connsiteY0" fmla="*/ 10364 h 17274"/>
                <a:gd name="connsiteX1" fmla="*/ 55183 w 55183"/>
                <a:gd name="connsiteY1" fmla="*/ 0 h 17274"/>
                <a:gd name="connsiteX2" fmla="*/ 0 w 55183"/>
                <a:gd name="connsiteY2" fmla="*/ 17274 h 17274"/>
                <a:gd name="connsiteX3" fmla="*/ 27545 w 55183"/>
                <a:gd name="connsiteY3" fmla="*/ 10364 h 17274"/>
              </a:gdLst>
              <a:ahLst/>
              <a:cxnLst>
                <a:cxn ang="0">
                  <a:pos x="connsiteX0" y="connsiteY0"/>
                </a:cxn>
                <a:cxn ang="0">
                  <a:pos x="connsiteX1" y="connsiteY1"/>
                </a:cxn>
                <a:cxn ang="0">
                  <a:pos x="connsiteX2" y="connsiteY2"/>
                </a:cxn>
                <a:cxn ang="0">
                  <a:pos x="connsiteX3" y="connsiteY3"/>
                </a:cxn>
              </a:cxnLst>
              <a:rect l="l" t="t" r="r" b="b"/>
              <a:pathLst>
                <a:path w="55183" h="17274">
                  <a:moveTo>
                    <a:pt x="27545" y="10364"/>
                  </a:moveTo>
                  <a:lnTo>
                    <a:pt x="55183" y="0"/>
                  </a:lnTo>
                  <a:lnTo>
                    <a:pt x="0" y="17274"/>
                  </a:lnTo>
                  <a:lnTo>
                    <a:pt x="27545" y="10364"/>
                  </a:lnTo>
                  <a:close/>
                </a:path>
              </a:pathLst>
            </a:custGeom>
            <a:solidFill>
              <a:srgbClr val="CEE3BF"/>
            </a:solidFill>
            <a:ln w="9334" cap="flat">
              <a:noFill/>
              <a:prstDash val="solid"/>
              <a:miter/>
            </a:ln>
          </p:spPr>
          <p:txBody>
            <a:bodyPr rtlCol="0" anchor="ctr"/>
            <a:lstStyle/>
            <a:p>
              <a:endParaRPr lang="en-GB" dirty="0"/>
            </a:p>
          </p:txBody>
        </p:sp>
        <p:sp>
          <p:nvSpPr>
            <p:cNvPr id="1237" name="Freeform: Shape 1236">
              <a:extLst>
                <a:ext uri="{FF2B5EF4-FFF2-40B4-BE49-F238E27FC236}">
                  <a16:creationId xmlns:a16="http://schemas.microsoft.com/office/drawing/2014/main" id="{478CEDCF-F8D5-45DB-9C39-AEE0218342D7}"/>
                </a:ext>
              </a:extLst>
            </p:cNvPr>
            <p:cNvSpPr/>
            <p:nvPr/>
          </p:nvSpPr>
          <p:spPr>
            <a:xfrm>
              <a:off x="3551230" y="3271552"/>
              <a:ext cx="120824" cy="44819"/>
            </a:xfrm>
            <a:custGeom>
              <a:avLst/>
              <a:gdLst>
                <a:gd name="connsiteX0" fmla="*/ 62093 w 120824"/>
                <a:gd name="connsiteY0" fmla="*/ 10271 h 44819"/>
                <a:gd name="connsiteX1" fmla="*/ 48274 w 120824"/>
                <a:gd name="connsiteY1" fmla="*/ 13726 h 44819"/>
                <a:gd name="connsiteX2" fmla="*/ 34548 w 120824"/>
                <a:gd name="connsiteY2" fmla="*/ 24090 h 44819"/>
                <a:gd name="connsiteX3" fmla="*/ 20729 w 120824"/>
                <a:gd name="connsiteY3" fmla="*/ 31000 h 44819"/>
                <a:gd name="connsiteX4" fmla="*/ 13819 w 120824"/>
                <a:gd name="connsiteY4" fmla="*/ 27545 h 44819"/>
                <a:gd name="connsiteX5" fmla="*/ 13819 w 120824"/>
                <a:gd name="connsiteY5" fmla="*/ 13726 h 44819"/>
                <a:gd name="connsiteX6" fmla="*/ 6910 w 120824"/>
                <a:gd name="connsiteY6" fmla="*/ 20636 h 44819"/>
                <a:gd name="connsiteX7" fmla="*/ 0 w 120824"/>
                <a:gd name="connsiteY7" fmla="*/ 34455 h 44819"/>
                <a:gd name="connsiteX8" fmla="*/ 13819 w 120824"/>
                <a:gd name="connsiteY8" fmla="*/ 44819 h 44819"/>
                <a:gd name="connsiteX9" fmla="*/ 44819 w 120824"/>
                <a:gd name="connsiteY9" fmla="*/ 44819 h 44819"/>
                <a:gd name="connsiteX10" fmla="*/ 65548 w 120824"/>
                <a:gd name="connsiteY10" fmla="*/ 34455 h 44819"/>
                <a:gd name="connsiteX11" fmla="*/ 86277 w 120824"/>
                <a:gd name="connsiteY11" fmla="*/ 27545 h 44819"/>
                <a:gd name="connsiteX12" fmla="*/ 107006 w 120824"/>
                <a:gd name="connsiteY12" fmla="*/ 17181 h 44819"/>
                <a:gd name="connsiteX13" fmla="*/ 117370 w 120824"/>
                <a:gd name="connsiteY13" fmla="*/ 13726 h 44819"/>
                <a:gd name="connsiteX14" fmla="*/ 120825 w 120824"/>
                <a:gd name="connsiteY14" fmla="*/ 3361 h 44819"/>
                <a:gd name="connsiteX15" fmla="*/ 119705 w 120824"/>
                <a:gd name="connsiteY15" fmla="*/ 0 h 44819"/>
                <a:gd name="connsiteX16" fmla="*/ 89732 w 120824"/>
                <a:gd name="connsiteY16" fmla="*/ 3361 h 44819"/>
                <a:gd name="connsiteX17" fmla="*/ 62093 w 120824"/>
                <a:gd name="connsiteY17" fmla="*/ 10271 h 4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824" h="44819">
                  <a:moveTo>
                    <a:pt x="62093" y="10271"/>
                  </a:moveTo>
                  <a:lnTo>
                    <a:pt x="48274" y="13726"/>
                  </a:lnTo>
                  <a:lnTo>
                    <a:pt x="34548" y="24090"/>
                  </a:lnTo>
                  <a:lnTo>
                    <a:pt x="20729" y="31000"/>
                  </a:lnTo>
                  <a:lnTo>
                    <a:pt x="13819" y="27545"/>
                  </a:lnTo>
                  <a:lnTo>
                    <a:pt x="13819" y="13726"/>
                  </a:lnTo>
                  <a:lnTo>
                    <a:pt x="6910" y="20636"/>
                  </a:lnTo>
                  <a:lnTo>
                    <a:pt x="0" y="34455"/>
                  </a:lnTo>
                  <a:lnTo>
                    <a:pt x="13819" y="44819"/>
                  </a:lnTo>
                  <a:lnTo>
                    <a:pt x="44819" y="44819"/>
                  </a:lnTo>
                  <a:lnTo>
                    <a:pt x="65548" y="34455"/>
                  </a:lnTo>
                  <a:lnTo>
                    <a:pt x="86277" y="27545"/>
                  </a:lnTo>
                  <a:lnTo>
                    <a:pt x="107006" y="17181"/>
                  </a:lnTo>
                  <a:lnTo>
                    <a:pt x="117370" y="13726"/>
                  </a:lnTo>
                  <a:lnTo>
                    <a:pt x="120825" y="3361"/>
                  </a:lnTo>
                  <a:lnTo>
                    <a:pt x="119705" y="0"/>
                  </a:lnTo>
                  <a:lnTo>
                    <a:pt x="89732" y="3361"/>
                  </a:lnTo>
                  <a:lnTo>
                    <a:pt x="62093" y="10271"/>
                  </a:lnTo>
                  <a:close/>
                </a:path>
              </a:pathLst>
            </a:custGeom>
            <a:solidFill>
              <a:srgbClr val="CEE3BF"/>
            </a:solidFill>
            <a:ln w="9334" cap="flat">
              <a:noFill/>
              <a:prstDash val="solid"/>
              <a:miter/>
            </a:ln>
          </p:spPr>
          <p:txBody>
            <a:bodyPr rtlCol="0" anchor="ctr"/>
            <a:lstStyle/>
            <a:p>
              <a:endParaRPr lang="en-GB" dirty="0"/>
            </a:p>
          </p:txBody>
        </p:sp>
        <p:sp>
          <p:nvSpPr>
            <p:cNvPr id="1238" name="Freeform: Shape 1237">
              <a:extLst>
                <a:ext uri="{FF2B5EF4-FFF2-40B4-BE49-F238E27FC236}">
                  <a16:creationId xmlns:a16="http://schemas.microsoft.com/office/drawing/2014/main" id="{06968339-F015-4C92-BD33-D74065B4DF8F}"/>
                </a:ext>
              </a:extLst>
            </p:cNvPr>
            <p:cNvSpPr/>
            <p:nvPr/>
          </p:nvSpPr>
          <p:spPr>
            <a:xfrm>
              <a:off x="8514015" y="3796870"/>
              <a:ext cx="27638" cy="38002"/>
            </a:xfrm>
            <a:custGeom>
              <a:avLst/>
              <a:gdLst>
                <a:gd name="connsiteX0" fmla="*/ 0 w 27638"/>
                <a:gd name="connsiteY0" fmla="*/ 38003 h 38002"/>
                <a:gd name="connsiteX1" fmla="*/ 27639 w 27638"/>
                <a:gd name="connsiteY1" fmla="*/ 0 h 38002"/>
                <a:gd name="connsiteX2" fmla="*/ 13819 w 27638"/>
                <a:gd name="connsiteY2" fmla="*/ 17274 h 38002"/>
                <a:gd name="connsiteX3" fmla="*/ 0 w 27638"/>
                <a:gd name="connsiteY3" fmla="*/ 38003 h 38002"/>
              </a:gdLst>
              <a:ahLst/>
              <a:cxnLst>
                <a:cxn ang="0">
                  <a:pos x="connsiteX0" y="connsiteY0"/>
                </a:cxn>
                <a:cxn ang="0">
                  <a:pos x="connsiteX1" y="connsiteY1"/>
                </a:cxn>
                <a:cxn ang="0">
                  <a:pos x="connsiteX2" y="connsiteY2"/>
                </a:cxn>
                <a:cxn ang="0">
                  <a:pos x="connsiteX3" y="connsiteY3"/>
                </a:cxn>
              </a:cxnLst>
              <a:rect l="l" t="t" r="r" b="b"/>
              <a:pathLst>
                <a:path w="27638" h="38002">
                  <a:moveTo>
                    <a:pt x="0" y="38003"/>
                  </a:moveTo>
                  <a:lnTo>
                    <a:pt x="27639" y="0"/>
                  </a:lnTo>
                  <a:lnTo>
                    <a:pt x="13819" y="17274"/>
                  </a:lnTo>
                  <a:lnTo>
                    <a:pt x="0" y="38003"/>
                  </a:lnTo>
                  <a:close/>
                </a:path>
              </a:pathLst>
            </a:custGeom>
            <a:solidFill>
              <a:srgbClr val="CEE3BF"/>
            </a:solidFill>
            <a:ln w="9334" cap="flat">
              <a:noFill/>
              <a:prstDash val="solid"/>
              <a:miter/>
            </a:ln>
          </p:spPr>
          <p:txBody>
            <a:bodyPr rtlCol="0" anchor="ctr"/>
            <a:lstStyle/>
            <a:p>
              <a:endParaRPr lang="en-GB" dirty="0"/>
            </a:p>
          </p:txBody>
        </p:sp>
        <p:sp>
          <p:nvSpPr>
            <p:cNvPr id="1239" name="Freeform: Shape 1238">
              <a:extLst>
                <a:ext uri="{FF2B5EF4-FFF2-40B4-BE49-F238E27FC236}">
                  <a16:creationId xmlns:a16="http://schemas.microsoft.com/office/drawing/2014/main" id="{7CF087D2-9626-4FD6-B655-DF37172B7B07}"/>
                </a:ext>
              </a:extLst>
            </p:cNvPr>
            <p:cNvSpPr/>
            <p:nvPr/>
          </p:nvSpPr>
          <p:spPr>
            <a:xfrm>
              <a:off x="8514015" y="3841782"/>
              <a:ext cx="34548" cy="34547"/>
            </a:xfrm>
            <a:custGeom>
              <a:avLst/>
              <a:gdLst>
                <a:gd name="connsiteX0" fmla="*/ 34548 w 34548"/>
                <a:gd name="connsiteY0" fmla="*/ 34548 h 34547"/>
                <a:gd name="connsiteX1" fmla="*/ 34548 w 34548"/>
                <a:gd name="connsiteY1" fmla="*/ 34548 h 34547"/>
                <a:gd name="connsiteX2" fmla="*/ 34548 w 34548"/>
                <a:gd name="connsiteY2" fmla="*/ 10364 h 34547"/>
                <a:gd name="connsiteX3" fmla="*/ 0 w 34548"/>
                <a:gd name="connsiteY3" fmla="*/ 0 h 34547"/>
                <a:gd name="connsiteX4" fmla="*/ 34548 w 34548"/>
                <a:gd name="connsiteY4" fmla="*/ 10364 h 34547"/>
                <a:gd name="connsiteX5" fmla="*/ 34548 w 34548"/>
                <a:gd name="connsiteY5" fmla="*/ 34548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48" h="34547">
                  <a:moveTo>
                    <a:pt x="34548" y="34548"/>
                  </a:moveTo>
                  <a:lnTo>
                    <a:pt x="34548" y="34548"/>
                  </a:lnTo>
                  <a:lnTo>
                    <a:pt x="34548" y="10364"/>
                  </a:lnTo>
                  <a:lnTo>
                    <a:pt x="0" y="0"/>
                  </a:lnTo>
                  <a:lnTo>
                    <a:pt x="34548" y="10364"/>
                  </a:lnTo>
                  <a:lnTo>
                    <a:pt x="34548" y="34548"/>
                  </a:lnTo>
                  <a:close/>
                </a:path>
              </a:pathLst>
            </a:custGeom>
            <a:solidFill>
              <a:srgbClr val="CEE3BF"/>
            </a:solidFill>
            <a:ln w="9334" cap="flat">
              <a:noFill/>
              <a:prstDash val="solid"/>
              <a:miter/>
            </a:ln>
          </p:spPr>
          <p:txBody>
            <a:bodyPr rtlCol="0" anchor="ctr"/>
            <a:lstStyle/>
            <a:p>
              <a:endParaRPr lang="en-GB" dirty="0"/>
            </a:p>
          </p:txBody>
        </p:sp>
        <p:sp>
          <p:nvSpPr>
            <p:cNvPr id="1240" name="Freeform: Shape 1239">
              <a:extLst>
                <a:ext uri="{FF2B5EF4-FFF2-40B4-BE49-F238E27FC236}">
                  <a16:creationId xmlns:a16="http://schemas.microsoft.com/office/drawing/2014/main" id="{6C603064-B625-425E-B606-D60A6BA60043}"/>
                </a:ext>
              </a:extLst>
            </p:cNvPr>
            <p:cNvSpPr/>
            <p:nvPr/>
          </p:nvSpPr>
          <p:spPr>
            <a:xfrm>
              <a:off x="8248182" y="2953430"/>
              <a:ext cx="876960" cy="359486"/>
            </a:xfrm>
            <a:custGeom>
              <a:avLst/>
              <a:gdLst>
                <a:gd name="connsiteX0" fmla="*/ 24183 w 876960"/>
                <a:gd name="connsiteY0" fmla="*/ 141740 h 359486"/>
                <a:gd name="connsiteX1" fmla="*/ 51822 w 876960"/>
                <a:gd name="connsiteY1" fmla="*/ 145195 h 359486"/>
                <a:gd name="connsiteX2" fmla="*/ 76005 w 876960"/>
                <a:gd name="connsiteY2" fmla="*/ 169379 h 359486"/>
                <a:gd name="connsiteX3" fmla="*/ 89732 w 876960"/>
                <a:gd name="connsiteY3" fmla="*/ 190108 h 359486"/>
                <a:gd name="connsiteX4" fmla="*/ 89732 w 876960"/>
                <a:gd name="connsiteY4" fmla="*/ 203927 h 359486"/>
                <a:gd name="connsiteX5" fmla="*/ 79460 w 876960"/>
                <a:gd name="connsiteY5" fmla="*/ 217746 h 359486"/>
                <a:gd name="connsiteX6" fmla="*/ 86277 w 876960"/>
                <a:gd name="connsiteY6" fmla="*/ 238475 h 359486"/>
                <a:gd name="connsiteX7" fmla="*/ 100096 w 876960"/>
                <a:gd name="connsiteY7" fmla="*/ 245385 h 359486"/>
                <a:gd name="connsiteX8" fmla="*/ 158827 w 876960"/>
                <a:gd name="connsiteY8" fmla="*/ 248840 h 359486"/>
                <a:gd name="connsiteX9" fmla="*/ 176102 w 876960"/>
                <a:gd name="connsiteY9" fmla="*/ 266114 h 359486"/>
                <a:gd name="connsiteX10" fmla="*/ 214105 w 876960"/>
                <a:gd name="connsiteY10" fmla="*/ 286842 h 359486"/>
                <a:gd name="connsiteX11" fmla="*/ 224376 w 876960"/>
                <a:gd name="connsiteY11" fmla="*/ 311119 h 359486"/>
                <a:gd name="connsiteX12" fmla="*/ 234740 w 876960"/>
                <a:gd name="connsiteY12" fmla="*/ 324939 h 359486"/>
                <a:gd name="connsiteX13" fmla="*/ 328020 w 876960"/>
                <a:gd name="connsiteY13" fmla="*/ 328394 h 359486"/>
                <a:gd name="connsiteX14" fmla="*/ 376294 w 876960"/>
                <a:gd name="connsiteY14" fmla="*/ 331848 h 359486"/>
                <a:gd name="connsiteX15" fmla="*/ 417752 w 876960"/>
                <a:gd name="connsiteY15" fmla="*/ 352577 h 359486"/>
                <a:gd name="connsiteX16" fmla="*/ 479844 w 876960"/>
                <a:gd name="connsiteY16" fmla="*/ 359487 h 359486"/>
                <a:gd name="connsiteX17" fmla="*/ 517847 w 876960"/>
                <a:gd name="connsiteY17" fmla="*/ 335303 h 359486"/>
                <a:gd name="connsiteX18" fmla="*/ 593853 w 876960"/>
                <a:gd name="connsiteY18" fmla="*/ 335303 h 359486"/>
                <a:gd name="connsiteX19" fmla="*/ 624853 w 876960"/>
                <a:gd name="connsiteY19" fmla="*/ 318029 h 359486"/>
                <a:gd name="connsiteX20" fmla="*/ 624853 w 876960"/>
                <a:gd name="connsiteY20" fmla="*/ 307665 h 359486"/>
                <a:gd name="connsiteX21" fmla="*/ 655947 w 876960"/>
                <a:gd name="connsiteY21" fmla="*/ 290297 h 359486"/>
                <a:gd name="connsiteX22" fmla="*/ 645582 w 876960"/>
                <a:gd name="connsiteY22" fmla="*/ 269568 h 359486"/>
                <a:gd name="connsiteX23" fmla="*/ 655947 w 876960"/>
                <a:gd name="connsiteY23" fmla="*/ 248840 h 359486"/>
                <a:gd name="connsiteX24" fmla="*/ 680130 w 876960"/>
                <a:gd name="connsiteY24" fmla="*/ 248840 h 359486"/>
                <a:gd name="connsiteX25" fmla="*/ 711224 w 876960"/>
                <a:gd name="connsiteY25" fmla="*/ 252294 h 359486"/>
                <a:gd name="connsiteX26" fmla="*/ 735407 w 876960"/>
                <a:gd name="connsiteY26" fmla="*/ 228111 h 359486"/>
                <a:gd name="connsiteX27" fmla="*/ 762952 w 876960"/>
                <a:gd name="connsiteY27" fmla="*/ 228111 h 359486"/>
                <a:gd name="connsiteX28" fmla="*/ 794046 w 876960"/>
                <a:gd name="connsiteY28" fmla="*/ 203927 h 359486"/>
                <a:gd name="connsiteX29" fmla="*/ 828594 w 876960"/>
                <a:gd name="connsiteY29" fmla="*/ 190108 h 359486"/>
                <a:gd name="connsiteX30" fmla="*/ 849322 w 876960"/>
                <a:gd name="connsiteY30" fmla="*/ 190108 h 359486"/>
                <a:gd name="connsiteX31" fmla="*/ 876961 w 876960"/>
                <a:gd name="connsiteY31" fmla="*/ 193563 h 359486"/>
                <a:gd name="connsiteX32" fmla="*/ 873506 w 876960"/>
                <a:gd name="connsiteY32" fmla="*/ 176289 h 359486"/>
                <a:gd name="connsiteX33" fmla="*/ 838958 w 876960"/>
                <a:gd name="connsiteY33" fmla="*/ 141740 h 359486"/>
                <a:gd name="connsiteX34" fmla="*/ 821684 w 876960"/>
                <a:gd name="connsiteY34" fmla="*/ 138286 h 359486"/>
                <a:gd name="connsiteX35" fmla="*/ 807865 w 876960"/>
                <a:gd name="connsiteY35" fmla="*/ 148650 h 359486"/>
                <a:gd name="connsiteX36" fmla="*/ 759497 w 876960"/>
                <a:gd name="connsiteY36" fmla="*/ 145195 h 359486"/>
                <a:gd name="connsiteX37" fmla="*/ 766407 w 876960"/>
                <a:gd name="connsiteY37" fmla="*/ 120918 h 359486"/>
                <a:gd name="connsiteX38" fmla="*/ 780226 w 876960"/>
                <a:gd name="connsiteY38" fmla="*/ 89825 h 359486"/>
                <a:gd name="connsiteX39" fmla="*/ 790591 w 876960"/>
                <a:gd name="connsiteY39" fmla="*/ 76006 h 359486"/>
                <a:gd name="connsiteX40" fmla="*/ 749133 w 876960"/>
                <a:gd name="connsiteY40" fmla="*/ 72551 h 359486"/>
                <a:gd name="connsiteX41" fmla="*/ 735407 w 876960"/>
                <a:gd name="connsiteY41" fmla="*/ 62186 h 359486"/>
                <a:gd name="connsiteX42" fmla="*/ 718133 w 876960"/>
                <a:gd name="connsiteY42" fmla="*/ 65641 h 359486"/>
                <a:gd name="connsiteX43" fmla="*/ 687040 w 876960"/>
                <a:gd name="connsiteY43" fmla="*/ 89825 h 359486"/>
                <a:gd name="connsiteX44" fmla="*/ 635218 w 876960"/>
                <a:gd name="connsiteY44" fmla="*/ 100189 h 359486"/>
                <a:gd name="connsiteX45" fmla="*/ 604218 w 876960"/>
                <a:gd name="connsiteY45" fmla="*/ 103644 h 359486"/>
                <a:gd name="connsiteX46" fmla="*/ 566215 w 876960"/>
                <a:gd name="connsiteY46" fmla="*/ 100189 h 359486"/>
                <a:gd name="connsiteX47" fmla="*/ 555850 w 876960"/>
                <a:gd name="connsiteY47" fmla="*/ 89825 h 359486"/>
                <a:gd name="connsiteX48" fmla="*/ 545486 w 876960"/>
                <a:gd name="connsiteY48" fmla="*/ 76006 h 359486"/>
                <a:gd name="connsiteX49" fmla="*/ 528212 w 876960"/>
                <a:gd name="connsiteY49" fmla="*/ 72551 h 359486"/>
                <a:gd name="connsiteX50" fmla="*/ 517847 w 876960"/>
                <a:gd name="connsiteY50" fmla="*/ 62186 h 359486"/>
                <a:gd name="connsiteX51" fmla="*/ 476483 w 876960"/>
                <a:gd name="connsiteY51" fmla="*/ 55277 h 359486"/>
                <a:gd name="connsiteX52" fmla="*/ 452299 w 876960"/>
                <a:gd name="connsiteY52" fmla="*/ 69096 h 359486"/>
                <a:gd name="connsiteX53" fmla="*/ 407387 w 876960"/>
                <a:gd name="connsiteY53" fmla="*/ 62186 h 359486"/>
                <a:gd name="connsiteX54" fmla="*/ 390113 w 876960"/>
                <a:gd name="connsiteY54" fmla="*/ 41458 h 359486"/>
                <a:gd name="connsiteX55" fmla="*/ 386658 w 876960"/>
                <a:gd name="connsiteY55" fmla="*/ 24184 h 359486"/>
                <a:gd name="connsiteX56" fmla="*/ 345200 w 876960"/>
                <a:gd name="connsiteY56" fmla="*/ 10364 h 359486"/>
                <a:gd name="connsiteX57" fmla="*/ 296927 w 876960"/>
                <a:gd name="connsiteY57" fmla="*/ 0 h 359486"/>
                <a:gd name="connsiteX58" fmla="*/ 265833 w 876960"/>
                <a:gd name="connsiteY58" fmla="*/ 31093 h 359486"/>
                <a:gd name="connsiteX59" fmla="*/ 286562 w 876960"/>
                <a:gd name="connsiteY59" fmla="*/ 55277 h 359486"/>
                <a:gd name="connsiteX60" fmla="*/ 283107 w 876960"/>
                <a:gd name="connsiteY60" fmla="*/ 69096 h 359486"/>
                <a:gd name="connsiteX61" fmla="*/ 262378 w 876960"/>
                <a:gd name="connsiteY61" fmla="*/ 86370 h 359486"/>
                <a:gd name="connsiteX62" fmla="*/ 248559 w 876960"/>
                <a:gd name="connsiteY62" fmla="*/ 76006 h 359486"/>
                <a:gd name="connsiteX63" fmla="*/ 193376 w 876960"/>
                <a:gd name="connsiteY63" fmla="*/ 76006 h 359486"/>
                <a:gd name="connsiteX64" fmla="*/ 176102 w 876960"/>
                <a:gd name="connsiteY64" fmla="*/ 55277 h 359486"/>
                <a:gd name="connsiteX65" fmla="*/ 141554 w 876960"/>
                <a:gd name="connsiteY65" fmla="*/ 48367 h 359486"/>
                <a:gd name="connsiteX66" fmla="*/ 110460 w 876960"/>
                <a:gd name="connsiteY66" fmla="*/ 44912 h 359486"/>
                <a:gd name="connsiteX67" fmla="*/ 51822 w 876960"/>
                <a:gd name="connsiteY67" fmla="*/ 76006 h 359486"/>
                <a:gd name="connsiteX68" fmla="*/ 38002 w 876960"/>
                <a:gd name="connsiteY68" fmla="*/ 89825 h 359486"/>
                <a:gd name="connsiteX69" fmla="*/ 13819 w 876960"/>
                <a:gd name="connsiteY69" fmla="*/ 93280 h 359486"/>
                <a:gd name="connsiteX70" fmla="*/ 0 w 876960"/>
                <a:gd name="connsiteY70" fmla="*/ 107099 h 359486"/>
                <a:gd name="connsiteX71" fmla="*/ 6910 w 876960"/>
                <a:gd name="connsiteY71" fmla="*/ 124373 h 359486"/>
                <a:gd name="connsiteX72" fmla="*/ 24183 w 876960"/>
                <a:gd name="connsiteY72" fmla="*/ 141740 h 35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76960" h="359486">
                  <a:moveTo>
                    <a:pt x="24183" y="141740"/>
                  </a:moveTo>
                  <a:lnTo>
                    <a:pt x="51822" y="145195"/>
                  </a:lnTo>
                  <a:lnTo>
                    <a:pt x="76005" y="169379"/>
                  </a:lnTo>
                  <a:lnTo>
                    <a:pt x="89732" y="190108"/>
                  </a:lnTo>
                  <a:lnTo>
                    <a:pt x="89732" y="203927"/>
                  </a:lnTo>
                  <a:lnTo>
                    <a:pt x="79460" y="217746"/>
                  </a:lnTo>
                  <a:lnTo>
                    <a:pt x="86277" y="238475"/>
                  </a:lnTo>
                  <a:lnTo>
                    <a:pt x="100096" y="245385"/>
                  </a:lnTo>
                  <a:lnTo>
                    <a:pt x="158827" y="248840"/>
                  </a:lnTo>
                  <a:lnTo>
                    <a:pt x="176102" y="266114"/>
                  </a:lnTo>
                  <a:lnTo>
                    <a:pt x="214105" y="286842"/>
                  </a:lnTo>
                  <a:lnTo>
                    <a:pt x="224376" y="311119"/>
                  </a:lnTo>
                  <a:lnTo>
                    <a:pt x="234740" y="324939"/>
                  </a:lnTo>
                  <a:lnTo>
                    <a:pt x="328020" y="328394"/>
                  </a:lnTo>
                  <a:lnTo>
                    <a:pt x="376294" y="331848"/>
                  </a:lnTo>
                  <a:lnTo>
                    <a:pt x="417752" y="352577"/>
                  </a:lnTo>
                  <a:lnTo>
                    <a:pt x="479844" y="359487"/>
                  </a:lnTo>
                  <a:lnTo>
                    <a:pt x="517847" y="335303"/>
                  </a:lnTo>
                  <a:lnTo>
                    <a:pt x="593853" y="335303"/>
                  </a:lnTo>
                  <a:lnTo>
                    <a:pt x="624853" y="318029"/>
                  </a:lnTo>
                  <a:lnTo>
                    <a:pt x="624853" y="307665"/>
                  </a:lnTo>
                  <a:lnTo>
                    <a:pt x="655947" y="290297"/>
                  </a:lnTo>
                  <a:lnTo>
                    <a:pt x="645582" y="269568"/>
                  </a:lnTo>
                  <a:lnTo>
                    <a:pt x="655947" y="248840"/>
                  </a:lnTo>
                  <a:lnTo>
                    <a:pt x="680130" y="248840"/>
                  </a:lnTo>
                  <a:lnTo>
                    <a:pt x="711224" y="252294"/>
                  </a:lnTo>
                  <a:lnTo>
                    <a:pt x="735407" y="228111"/>
                  </a:lnTo>
                  <a:lnTo>
                    <a:pt x="762952" y="228111"/>
                  </a:lnTo>
                  <a:lnTo>
                    <a:pt x="794046" y="203927"/>
                  </a:lnTo>
                  <a:lnTo>
                    <a:pt x="828594" y="190108"/>
                  </a:lnTo>
                  <a:lnTo>
                    <a:pt x="849322" y="190108"/>
                  </a:lnTo>
                  <a:lnTo>
                    <a:pt x="876961" y="193563"/>
                  </a:lnTo>
                  <a:lnTo>
                    <a:pt x="873506" y="176289"/>
                  </a:lnTo>
                  <a:lnTo>
                    <a:pt x="838958" y="141740"/>
                  </a:lnTo>
                  <a:lnTo>
                    <a:pt x="821684" y="138286"/>
                  </a:lnTo>
                  <a:lnTo>
                    <a:pt x="807865" y="148650"/>
                  </a:lnTo>
                  <a:lnTo>
                    <a:pt x="759497" y="145195"/>
                  </a:lnTo>
                  <a:lnTo>
                    <a:pt x="766407" y="120918"/>
                  </a:lnTo>
                  <a:lnTo>
                    <a:pt x="780226" y="89825"/>
                  </a:lnTo>
                  <a:lnTo>
                    <a:pt x="790591" y="76006"/>
                  </a:lnTo>
                  <a:lnTo>
                    <a:pt x="749133" y="72551"/>
                  </a:lnTo>
                  <a:lnTo>
                    <a:pt x="735407" y="62186"/>
                  </a:lnTo>
                  <a:lnTo>
                    <a:pt x="718133" y="65641"/>
                  </a:lnTo>
                  <a:lnTo>
                    <a:pt x="687040" y="89825"/>
                  </a:lnTo>
                  <a:lnTo>
                    <a:pt x="635218" y="100189"/>
                  </a:lnTo>
                  <a:lnTo>
                    <a:pt x="604218" y="103644"/>
                  </a:lnTo>
                  <a:lnTo>
                    <a:pt x="566215" y="100189"/>
                  </a:lnTo>
                  <a:lnTo>
                    <a:pt x="555850" y="89825"/>
                  </a:lnTo>
                  <a:lnTo>
                    <a:pt x="545486" y="76006"/>
                  </a:lnTo>
                  <a:lnTo>
                    <a:pt x="528212" y="72551"/>
                  </a:lnTo>
                  <a:lnTo>
                    <a:pt x="517847" y="62186"/>
                  </a:lnTo>
                  <a:lnTo>
                    <a:pt x="476483" y="55277"/>
                  </a:lnTo>
                  <a:lnTo>
                    <a:pt x="452299" y="69096"/>
                  </a:lnTo>
                  <a:lnTo>
                    <a:pt x="407387" y="62186"/>
                  </a:lnTo>
                  <a:lnTo>
                    <a:pt x="390113" y="41458"/>
                  </a:lnTo>
                  <a:lnTo>
                    <a:pt x="386658" y="24184"/>
                  </a:lnTo>
                  <a:lnTo>
                    <a:pt x="345200" y="10364"/>
                  </a:lnTo>
                  <a:lnTo>
                    <a:pt x="296927" y="0"/>
                  </a:lnTo>
                  <a:lnTo>
                    <a:pt x="265833" y="31093"/>
                  </a:lnTo>
                  <a:lnTo>
                    <a:pt x="286562" y="55277"/>
                  </a:lnTo>
                  <a:lnTo>
                    <a:pt x="283107" y="69096"/>
                  </a:lnTo>
                  <a:lnTo>
                    <a:pt x="262378" y="86370"/>
                  </a:lnTo>
                  <a:lnTo>
                    <a:pt x="248559" y="76006"/>
                  </a:lnTo>
                  <a:lnTo>
                    <a:pt x="193376" y="76006"/>
                  </a:lnTo>
                  <a:lnTo>
                    <a:pt x="176102" y="55277"/>
                  </a:lnTo>
                  <a:lnTo>
                    <a:pt x="141554" y="48367"/>
                  </a:lnTo>
                  <a:lnTo>
                    <a:pt x="110460" y="44912"/>
                  </a:lnTo>
                  <a:lnTo>
                    <a:pt x="51822" y="76006"/>
                  </a:lnTo>
                  <a:lnTo>
                    <a:pt x="38002" y="89825"/>
                  </a:lnTo>
                  <a:lnTo>
                    <a:pt x="13819" y="93280"/>
                  </a:lnTo>
                  <a:lnTo>
                    <a:pt x="0" y="107099"/>
                  </a:lnTo>
                  <a:lnTo>
                    <a:pt x="6910" y="124373"/>
                  </a:lnTo>
                  <a:lnTo>
                    <a:pt x="24183" y="141740"/>
                  </a:lnTo>
                  <a:close/>
                </a:path>
              </a:pathLst>
            </a:custGeom>
            <a:solidFill>
              <a:srgbClr val="CEE3BF"/>
            </a:solidFill>
            <a:ln w="9334" cap="flat">
              <a:noFill/>
              <a:prstDash val="solid"/>
              <a:miter/>
            </a:ln>
          </p:spPr>
          <p:txBody>
            <a:bodyPr rtlCol="0" anchor="ctr"/>
            <a:lstStyle/>
            <a:p>
              <a:endParaRPr lang="en-GB" dirty="0"/>
            </a:p>
          </p:txBody>
        </p:sp>
        <p:sp>
          <p:nvSpPr>
            <p:cNvPr id="1241" name="Freeform: Shape 1240">
              <a:extLst>
                <a:ext uri="{FF2B5EF4-FFF2-40B4-BE49-F238E27FC236}">
                  <a16:creationId xmlns:a16="http://schemas.microsoft.com/office/drawing/2014/main" id="{BC17AD73-181D-4CED-9954-8583523ADB06}"/>
                </a:ext>
              </a:extLst>
            </p:cNvPr>
            <p:cNvSpPr/>
            <p:nvPr/>
          </p:nvSpPr>
          <p:spPr>
            <a:xfrm>
              <a:off x="7975439" y="3492660"/>
              <a:ext cx="65641" cy="62186"/>
            </a:xfrm>
            <a:custGeom>
              <a:avLst/>
              <a:gdLst>
                <a:gd name="connsiteX0" fmla="*/ 20729 w 65641"/>
                <a:gd name="connsiteY0" fmla="*/ 48367 h 62186"/>
                <a:gd name="connsiteX1" fmla="*/ 24183 w 65641"/>
                <a:gd name="connsiteY1" fmla="*/ 62186 h 62186"/>
                <a:gd name="connsiteX2" fmla="*/ 51822 w 65641"/>
                <a:gd name="connsiteY2" fmla="*/ 48367 h 62186"/>
                <a:gd name="connsiteX3" fmla="*/ 65641 w 65641"/>
                <a:gd name="connsiteY3" fmla="*/ 34548 h 62186"/>
                <a:gd name="connsiteX4" fmla="*/ 65641 w 65641"/>
                <a:gd name="connsiteY4" fmla="*/ 20729 h 62186"/>
                <a:gd name="connsiteX5" fmla="*/ 34548 w 65641"/>
                <a:gd name="connsiteY5" fmla="*/ 0 h 62186"/>
                <a:gd name="connsiteX6" fmla="*/ 0 w 65641"/>
                <a:gd name="connsiteY6" fmla="*/ 13819 h 62186"/>
                <a:gd name="connsiteX7" fmla="*/ 3455 w 65641"/>
                <a:gd name="connsiteY7" fmla="*/ 38003 h 62186"/>
                <a:gd name="connsiteX8" fmla="*/ 20729 w 65641"/>
                <a:gd name="connsiteY8" fmla="*/ 48367 h 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641" h="62186">
                  <a:moveTo>
                    <a:pt x="20729" y="48367"/>
                  </a:moveTo>
                  <a:lnTo>
                    <a:pt x="24183" y="62186"/>
                  </a:lnTo>
                  <a:lnTo>
                    <a:pt x="51822" y="48367"/>
                  </a:lnTo>
                  <a:lnTo>
                    <a:pt x="65641" y="34548"/>
                  </a:lnTo>
                  <a:lnTo>
                    <a:pt x="65641" y="20729"/>
                  </a:lnTo>
                  <a:lnTo>
                    <a:pt x="34548" y="0"/>
                  </a:lnTo>
                  <a:lnTo>
                    <a:pt x="0" y="13819"/>
                  </a:lnTo>
                  <a:lnTo>
                    <a:pt x="3455" y="38003"/>
                  </a:lnTo>
                  <a:lnTo>
                    <a:pt x="20729" y="48367"/>
                  </a:lnTo>
                  <a:close/>
                </a:path>
              </a:pathLst>
            </a:custGeom>
            <a:solidFill>
              <a:srgbClr val="CEE3BF"/>
            </a:solidFill>
            <a:ln w="9334" cap="flat">
              <a:noFill/>
              <a:prstDash val="solid"/>
              <a:miter/>
            </a:ln>
          </p:spPr>
          <p:txBody>
            <a:bodyPr rtlCol="0" anchor="ctr"/>
            <a:lstStyle/>
            <a:p>
              <a:endParaRPr lang="en-GB" dirty="0"/>
            </a:p>
          </p:txBody>
        </p:sp>
        <p:sp>
          <p:nvSpPr>
            <p:cNvPr id="1242" name="Freeform: Shape 1241">
              <a:extLst>
                <a:ext uri="{FF2B5EF4-FFF2-40B4-BE49-F238E27FC236}">
                  <a16:creationId xmlns:a16="http://schemas.microsoft.com/office/drawing/2014/main" id="{8935FEF6-1D1F-476D-8416-685689113C10}"/>
                </a:ext>
              </a:extLst>
            </p:cNvPr>
            <p:cNvSpPr/>
            <p:nvPr/>
          </p:nvSpPr>
          <p:spPr>
            <a:xfrm>
              <a:off x="9156143" y="2898059"/>
              <a:ext cx="76005" cy="6909"/>
            </a:xfrm>
            <a:custGeom>
              <a:avLst/>
              <a:gdLst>
                <a:gd name="connsiteX0" fmla="*/ 76005 w 76005"/>
                <a:gd name="connsiteY0" fmla="*/ 0 h 6909"/>
                <a:gd name="connsiteX1" fmla="*/ 0 w 76005"/>
                <a:gd name="connsiteY1" fmla="*/ 6910 h 6909"/>
                <a:gd name="connsiteX2" fmla="*/ 44912 w 76005"/>
                <a:gd name="connsiteY2" fmla="*/ 3455 h 6909"/>
                <a:gd name="connsiteX3" fmla="*/ 76005 w 76005"/>
                <a:gd name="connsiteY3" fmla="*/ 0 h 6909"/>
              </a:gdLst>
              <a:ahLst/>
              <a:cxnLst>
                <a:cxn ang="0">
                  <a:pos x="connsiteX0" y="connsiteY0"/>
                </a:cxn>
                <a:cxn ang="0">
                  <a:pos x="connsiteX1" y="connsiteY1"/>
                </a:cxn>
                <a:cxn ang="0">
                  <a:pos x="connsiteX2" y="connsiteY2"/>
                </a:cxn>
                <a:cxn ang="0">
                  <a:pos x="connsiteX3" y="connsiteY3"/>
                </a:cxn>
              </a:cxnLst>
              <a:rect l="l" t="t" r="r" b="b"/>
              <a:pathLst>
                <a:path w="76005" h="6909">
                  <a:moveTo>
                    <a:pt x="76005" y="0"/>
                  </a:moveTo>
                  <a:lnTo>
                    <a:pt x="0" y="6910"/>
                  </a:lnTo>
                  <a:lnTo>
                    <a:pt x="44912" y="3455"/>
                  </a:lnTo>
                  <a:lnTo>
                    <a:pt x="76005" y="0"/>
                  </a:lnTo>
                  <a:close/>
                </a:path>
              </a:pathLst>
            </a:custGeom>
            <a:solidFill>
              <a:srgbClr val="CEE3BF"/>
            </a:solidFill>
            <a:ln w="9334" cap="flat">
              <a:noFill/>
              <a:prstDash val="solid"/>
              <a:miter/>
            </a:ln>
          </p:spPr>
          <p:txBody>
            <a:bodyPr rtlCol="0" anchor="ctr"/>
            <a:lstStyle/>
            <a:p>
              <a:endParaRPr lang="en-GB" dirty="0"/>
            </a:p>
          </p:txBody>
        </p:sp>
        <p:sp>
          <p:nvSpPr>
            <p:cNvPr id="1243" name="Freeform: Shape 1242">
              <a:extLst>
                <a:ext uri="{FF2B5EF4-FFF2-40B4-BE49-F238E27FC236}">
                  <a16:creationId xmlns:a16="http://schemas.microsoft.com/office/drawing/2014/main" id="{7308E181-53ED-4224-9122-283F50433C6D}"/>
                </a:ext>
              </a:extLst>
            </p:cNvPr>
            <p:cNvSpPr/>
            <p:nvPr/>
          </p:nvSpPr>
          <p:spPr>
            <a:xfrm>
              <a:off x="8030716" y="3662039"/>
              <a:ext cx="224376" cy="124466"/>
            </a:xfrm>
            <a:custGeom>
              <a:avLst/>
              <a:gdLst>
                <a:gd name="connsiteX0" fmla="*/ 0 w 224376"/>
                <a:gd name="connsiteY0" fmla="*/ 51822 h 124466"/>
                <a:gd name="connsiteX1" fmla="*/ 34455 w 224376"/>
                <a:gd name="connsiteY1" fmla="*/ 62186 h 124466"/>
                <a:gd name="connsiteX2" fmla="*/ 82822 w 224376"/>
                <a:gd name="connsiteY2" fmla="*/ 89918 h 124466"/>
                <a:gd name="connsiteX3" fmla="*/ 124280 w 224376"/>
                <a:gd name="connsiteY3" fmla="*/ 93373 h 124466"/>
                <a:gd name="connsiteX4" fmla="*/ 151918 w 224376"/>
                <a:gd name="connsiteY4" fmla="*/ 114102 h 124466"/>
                <a:gd name="connsiteX5" fmla="*/ 176009 w 224376"/>
                <a:gd name="connsiteY5" fmla="*/ 124466 h 124466"/>
                <a:gd name="connsiteX6" fmla="*/ 224376 w 224376"/>
                <a:gd name="connsiteY6" fmla="*/ 121012 h 124466"/>
                <a:gd name="connsiteX7" fmla="*/ 220921 w 224376"/>
                <a:gd name="connsiteY7" fmla="*/ 79461 h 124466"/>
                <a:gd name="connsiteX8" fmla="*/ 182918 w 224376"/>
                <a:gd name="connsiteY8" fmla="*/ 76006 h 124466"/>
                <a:gd name="connsiteX9" fmla="*/ 155373 w 224376"/>
                <a:gd name="connsiteY9" fmla="*/ 72551 h 124466"/>
                <a:gd name="connsiteX10" fmla="*/ 124280 w 224376"/>
                <a:gd name="connsiteY10" fmla="*/ 51822 h 124466"/>
                <a:gd name="connsiteX11" fmla="*/ 103551 w 224376"/>
                <a:gd name="connsiteY11" fmla="*/ 38003 h 124466"/>
                <a:gd name="connsiteX12" fmla="*/ 75912 w 224376"/>
                <a:gd name="connsiteY12" fmla="*/ 24184 h 124466"/>
                <a:gd name="connsiteX13" fmla="*/ 51729 w 224376"/>
                <a:gd name="connsiteY13" fmla="*/ 0 h 124466"/>
                <a:gd name="connsiteX14" fmla="*/ 27639 w 224376"/>
                <a:gd name="connsiteY14" fmla="*/ 10364 h 124466"/>
                <a:gd name="connsiteX15" fmla="*/ 6910 w 224376"/>
                <a:gd name="connsiteY15" fmla="*/ 24184 h 124466"/>
                <a:gd name="connsiteX16" fmla="*/ 0 w 224376"/>
                <a:gd name="connsiteY16" fmla="*/ 51822 h 1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376" h="124466">
                  <a:moveTo>
                    <a:pt x="0" y="51822"/>
                  </a:moveTo>
                  <a:lnTo>
                    <a:pt x="34455" y="62186"/>
                  </a:lnTo>
                  <a:lnTo>
                    <a:pt x="82822" y="89918"/>
                  </a:lnTo>
                  <a:lnTo>
                    <a:pt x="124280" y="93373"/>
                  </a:lnTo>
                  <a:lnTo>
                    <a:pt x="151918" y="114102"/>
                  </a:lnTo>
                  <a:lnTo>
                    <a:pt x="176009" y="124466"/>
                  </a:lnTo>
                  <a:lnTo>
                    <a:pt x="224376" y="121012"/>
                  </a:lnTo>
                  <a:lnTo>
                    <a:pt x="220921" y="79461"/>
                  </a:lnTo>
                  <a:lnTo>
                    <a:pt x="182918" y="76006"/>
                  </a:lnTo>
                  <a:lnTo>
                    <a:pt x="155373" y="72551"/>
                  </a:lnTo>
                  <a:lnTo>
                    <a:pt x="124280" y="51822"/>
                  </a:lnTo>
                  <a:lnTo>
                    <a:pt x="103551" y="38003"/>
                  </a:lnTo>
                  <a:lnTo>
                    <a:pt x="75912" y="24184"/>
                  </a:lnTo>
                  <a:lnTo>
                    <a:pt x="51729" y="0"/>
                  </a:lnTo>
                  <a:lnTo>
                    <a:pt x="27639" y="10364"/>
                  </a:lnTo>
                  <a:lnTo>
                    <a:pt x="6910" y="24184"/>
                  </a:lnTo>
                  <a:lnTo>
                    <a:pt x="0" y="51822"/>
                  </a:lnTo>
                  <a:close/>
                </a:path>
              </a:pathLst>
            </a:custGeom>
            <a:solidFill>
              <a:srgbClr val="CEE3BF"/>
            </a:solidFill>
            <a:ln w="9334" cap="flat">
              <a:noFill/>
              <a:prstDash val="solid"/>
              <a:miter/>
            </a:ln>
          </p:spPr>
          <p:txBody>
            <a:bodyPr rtlCol="0" anchor="ctr"/>
            <a:lstStyle/>
            <a:p>
              <a:endParaRPr lang="en-GB" dirty="0"/>
            </a:p>
          </p:txBody>
        </p:sp>
        <p:sp>
          <p:nvSpPr>
            <p:cNvPr id="1244" name="Freeform: Shape 1243">
              <a:extLst>
                <a:ext uri="{FF2B5EF4-FFF2-40B4-BE49-F238E27FC236}">
                  <a16:creationId xmlns:a16="http://schemas.microsoft.com/office/drawing/2014/main" id="{2F4F2B21-BEEA-482A-96FD-73EE523C4D9B}"/>
                </a:ext>
              </a:extLst>
            </p:cNvPr>
            <p:cNvSpPr/>
            <p:nvPr/>
          </p:nvSpPr>
          <p:spPr>
            <a:xfrm>
              <a:off x="8279275" y="3731135"/>
              <a:ext cx="86276" cy="45005"/>
            </a:xfrm>
            <a:custGeom>
              <a:avLst/>
              <a:gdLst>
                <a:gd name="connsiteX0" fmla="*/ 3455 w 86276"/>
                <a:gd name="connsiteY0" fmla="*/ 34642 h 45005"/>
                <a:gd name="connsiteX1" fmla="*/ 13820 w 86276"/>
                <a:gd name="connsiteY1" fmla="*/ 41551 h 45005"/>
                <a:gd name="connsiteX2" fmla="*/ 27639 w 86276"/>
                <a:gd name="connsiteY2" fmla="*/ 45006 h 45005"/>
                <a:gd name="connsiteX3" fmla="*/ 79367 w 86276"/>
                <a:gd name="connsiteY3" fmla="*/ 38096 h 45005"/>
                <a:gd name="connsiteX4" fmla="*/ 86277 w 86276"/>
                <a:gd name="connsiteY4" fmla="*/ 27732 h 45005"/>
                <a:gd name="connsiteX5" fmla="*/ 79367 w 86276"/>
                <a:gd name="connsiteY5" fmla="*/ 10364 h 45005"/>
                <a:gd name="connsiteX6" fmla="*/ 55184 w 86276"/>
                <a:gd name="connsiteY6" fmla="*/ 6910 h 45005"/>
                <a:gd name="connsiteX7" fmla="*/ 34548 w 86276"/>
                <a:gd name="connsiteY7" fmla="*/ 0 h 45005"/>
                <a:gd name="connsiteX8" fmla="*/ 17274 w 86276"/>
                <a:gd name="connsiteY8" fmla="*/ 0 h 45005"/>
                <a:gd name="connsiteX9" fmla="*/ 6910 w 86276"/>
                <a:gd name="connsiteY9" fmla="*/ 10364 h 45005"/>
                <a:gd name="connsiteX10" fmla="*/ 0 w 86276"/>
                <a:gd name="connsiteY10" fmla="*/ 10364 h 45005"/>
                <a:gd name="connsiteX11" fmla="*/ 0 w 86276"/>
                <a:gd name="connsiteY11" fmla="*/ 24277 h 45005"/>
                <a:gd name="connsiteX12" fmla="*/ 3455 w 86276"/>
                <a:gd name="connsiteY12" fmla="*/ 34642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76" h="45005">
                  <a:moveTo>
                    <a:pt x="3455" y="34642"/>
                  </a:moveTo>
                  <a:lnTo>
                    <a:pt x="13820" y="41551"/>
                  </a:lnTo>
                  <a:lnTo>
                    <a:pt x="27639" y="45006"/>
                  </a:lnTo>
                  <a:lnTo>
                    <a:pt x="79367" y="38096"/>
                  </a:lnTo>
                  <a:lnTo>
                    <a:pt x="86277" y="27732"/>
                  </a:lnTo>
                  <a:lnTo>
                    <a:pt x="79367" y="10364"/>
                  </a:lnTo>
                  <a:lnTo>
                    <a:pt x="55184" y="6910"/>
                  </a:lnTo>
                  <a:lnTo>
                    <a:pt x="34548" y="0"/>
                  </a:lnTo>
                  <a:lnTo>
                    <a:pt x="17274" y="0"/>
                  </a:lnTo>
                  <a:lnTo>
                    <a:pt x="6910" y="10364"/>
                  </a:lnTo>
                  <a:lnTo>
                    <a:pt x="0" y="10364"/>
                  </a:lnTo>
                  <a:lnTo>
                    <a:pt x="0" y="24277"/>
                  </a:lnTo>
                  <a:lnTo>
                    <a:pt x="3455" y="34642"/>
                  </a:lnTo>
                  <a:close/>
                </a:path>
              </a:pathLst>
            </a:custGeom>
            <a:solidFill>
              <a:srgbClr val="CEE3BF"/>
            </a:solidFill>
            <a:ln w="9334" cap="flat">
              <a:noFill/>
              <a:prstDash val="solid"/>
              <a:miter/>
            </a:ln>
          </p:spPr>
          <p:txBody>
            <a:bodyPr rtlCol="0" anchor="ctr"/>
            <a:lstStyle/>
            <a:p>
              <a:endParaRPr lang="en-GB" dirty="0"/>
            </a:p>
          </p:txBody>
        </p:sp>
        <p:sp>
          <p:nvSpPr>
            <p:cNvPr id="1245" name="Freeform: Shape 1244">
              <a:extLst>
                <a:ext uri="{FF2B5EF4-FFF2-40B4-BE49-F238E27FC236}">
                  <a16:creationId xmlns:a16="http://schemas.microsoft.com/office/drawing/2014/main" id="{9636B7B9-C6DB-42AF-B716-6519FAE2B543}"/>
                </a:ext>
              </a:extLst>
            </p:cNvPr>
            <p:cNvSpPr/>
            <p:nvPr/>
          </p:nvSpPr>
          <p:spPr>
            <a:xfrm>
              <a:off x="9304606" y="2953430"/>
              <a:ext cx="19048" cy="44912"/>
            </a:xfrm>
            <a:custGeom>
              <a:avLst/>
              <a:gdLst>
                <a:gd name="connsiteX0" fmla="*/ 19048 w 19048"/>
                <a:gd name="connsiteY0" fmla="*/ 44912 h 44912"/>
                <a:gd name="connsiteX1" fmla="*/ 0 w 19048"/>
                <a:gd name="connsiteY1" fmla="*/ 0 h 44912"/>
                <a:gd name="connsiteX2" fmla="*/ 13820 w 19048"/>
                <a:gd name="connsiteY2" fmla="*/ 34548 h 44912"/>
                <a:gd name="connsiteX3" fmla="*/ 19048 w 19048"/>
                <a:gd name="connsiteY3" fmla="*/ 44912 h 44912"/>
              </a:gdLst>
              <a:ahLst/>
              <a:cxnLst>
                <a:cxn ang="0">
                  <a:pos x="connsiteX0" y="connsiteY0"/>
                </a:cxn>
                <a:cxn ang="0">
                  <a:pos x="connsiteX1" y="connsiteY1"/>
                </a:cxn>
                <a:cxn ang="0">
                  <a:pos x="connsiteX2" y="connsiteY2"/>
                </a:cxn>
                <a:cxn ang="0">
                  <a:pos x="connsiteX3" y="connsiteY3"/>
                </a:cxn>
              </a:cxnLst>
              <a:rect l="l" t="t" r="r" b="b"/>
              <a:pathLst>
                <a:path w="19048" h="44912">
                  <a:moveTo>
                    <a:pt x="19048" y="44912"/>
                  </a:moveTo>
                  <a:lnTo>
                    <a:pt x="0" y="0"/>
                  </a:lnTo>
                  <a:lnTo>
                    <a:pt x="13820" y="34548"/>
                  </a:lnTo>
                  <a:lnTo>
                    <a:pt x="19048" y="44912"/>
                  </a:lnTo>
                  <a:close/>
                </a:path>
              </a:pathLst>
            </a:custGeom>
            <a:solidFill>
              <a:srgbClr val="CEE3BF"/>
            </a:solidFill>
            <a:ln w="9334" cap="flat">
              <a:noFill/>
              <a:prstDash val="solid"/>
              <a:miter/>
            </a:ln>
          </p:spPr>
          <p:txBody>
            <a:bodyPr rtlCol="0" anchor="ctr"/>
            <a:lstStyle/>
            <a:p>
              <a:endParaRPr lang="en-GB" dirty="0"/>
            </a:p>
          </p:txBody>
        </p:sp>
        <p:sp>
          <p:nvSpPr>
            <p:cNvPr id="1246" name="Freeform: Shape 1245">
              <a:extLst>
                <a:ext uri="{FF2B5EF4-FFF2-40B4-BE49-F238E27FC236}">
                  <a16:creationId xmlns:a16="http://schemas.microsoft.com/office/drawing/2014/main" id="{9B25CA8F-E93D-43E1-AA94-21C849EEAA01}"/>
                </a:ext>
              </a:extLst>
            </p:cNvPr>
            <p:cNvSpPr/>
            <p:nvPr/>
          </p:nvSpPr>
          <p:spPr>
            <a:xfrm>
              <a:off x="9370248" y="3043255"/>
              <a:ext cx="51728" cy="27638"/>
            </a:xfrm>
            <a:custGeom>
              <a:avLst/>
              <a:gdLst>
                <a:gd name="connsiteX0" fmla="*/ 41364 w 51728"/>
                <a:gd name="connsiteY0" fmla="*/ 24184 h 27638"/>
                <a:gd name="connsiteX1" fmla="*/ 51729 w 51728"/>
                <a:gd name="connsiteY1" fmla="*/ 27639 h 27638"/>
                <a:gd name="connsiteX2" fmla="*/ 0 w 51728"/>
                <a:gd name="connsiteY2" fmla="*/ 0 h 27638"/>
                <a:gd name="connsiteX3" fmla="*/ 17274 w 51728"/>
                <a:gd name="connsiteY3" fmla="*/ 10364 h 27638"/>
                <a:gd name="connsiteX4" fmla="*/ 41364 w 51728"/>
                <a:gd name="connsiteY4" fmla="*/ 24184 h 27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28" h="27638">
                  <a:moveTo>
                    <a:pt x="41364" y="24184"/>
                  </a:moveTo>
                  <a:lnTo>
                    <a:pt x="51729" y="27639"/>
                  </a:lnTo>
                  <a:lnTo>
                    <a:pt x="0" y="0"/>
                  </a:lnTo>
                  <a:lnTo>
                    <a:pt x="17274" y="10364"/>
                  </a:lnTo>
                  <a:lnTo>
                    <a:pt x="41364" y="24184"/>
                  </a:lnTo>
                  <a:close/>
                </a:path>
              </a:pathLst>
            </a:custGeom>
            <a:solidFill>
              <a:srgbClr val="CEE3BF"/>
            </a:solidFill>
            <a:ln w="9334" cap="flat">
              <a:noFill/>
              <a:prstDash val="solid"/>
              <a:miter/>
            </a:ln>
          </p:spPr>
          <p:txBody>
            <a:bodyPr rtlCol="0" anchor="ctr"/>
            <a:lstStyle/>
            <a:p>
              <a:endParaRPr lang="en-GB" dirty="0"/>
            </a:p>
          </p:txBody>
        </p:sp>
        <p:sp>
          <p:nvSpPr>
            <p:cNvPr id="1247" name="Freeform: Shape 1246">
              <a:extLst>
                <a:ext uri="{FF2B5EF4-FFF2-40B4-BE49-F238E27FC236}">
                  <a16:creationId xmlns:a16="http://schemas.microsoft.com/office/drawing/2014/main" id="{D0D88E12-ECD2-433E-9B42-6BB441AF190D}"/>
                </a:ext>
              </a:extLst>
            </p:cNvPr>
            <p:cNvSpPr/>
            <p:nvPr/>
          </p:nvSpPr>
          <p:spPr>
            <a:xfrm>
              <a:off x="3316489" y="3067438"/>
              <a:ext cx="331381" cy="248932"/>
            </a:xfrm>
            <a:custGeom>
              <a:avLst/>
              <a:gdLst>
                <a:gd name="connsiteX0" fmla="*/ 276105 w 331381"/>
                <a:gd name="connsiteY0" fmla="*/ 193656 h 248932"/>
                <a:gd name="connsiteX1" fmla="*/ 279559 w 331381"/>
                <a:gd name="connsiteY1" fmla="*/ 176289 h 248932"/>
                <a:gd name="connsiteX2" fmla="*/ 283014 w 331381"/>
                <a:gd name="connsiteY2" fmla="*/ 162469 h 248932"/>
                <a:gd name="connsiteX3" fmla="*/ 293379 w 331381"/>
                <a:gd name="connsiteY3" fmla="*/ 152105 h 248932"/>
                <a:gd name="connsiteX4" fmla="*/ 296833 w 331381"/>
                <a:gd name="connsiteY4" fmla="*/ 141741 h 248932"/>
                <a:gd name="connsiteX5" fmla="*/ 303743 w 331381"/>
                <a:gd name="connsiteY5" fmla="*/ 141741 h 248932"/>
                <a:gd name="connsiteX6" fmla="*/ 314107 w 331381"/>
                <a:gd name="connsiteY6" fmla="*/ 152105 h 248932"/>
                <a:gd name="connsiteX7" fmla="*/ 327927 w 331381"/>
                <a:gd name="connsiteY7" fmla="*/ 148650 h 248932"/>
                <a:gd name="connsiteX8" fmla="*/ 331382 w 331381"/>
                <a:gd name="connsiteY8" fmla="*/ 134831 h 248932"/>
                <a:gd name="connsiteX9" fmla="*/ 321017 w 331381"/>
                <a:gd name="connsiteY9" fmla="*/ 117557 h 248932"/>
                <a:gd name="connsiteX10" fmla="*/ 307198 w 331381"/>
                <a:gd name="connsiteY10" fmla="*/ 103738 h 248932"/>
                <a:gd name="connsiteX11" fmla="*/ 286469 w 331381"/>
                <a:gd name="connsiteY11" fmla="*/ 96828 h 248932"/>
                <a:gd name="connsiteX12" fmla="*/ 265834 w 331381"/>
                <a:gd name="connsiteY12" fmla="*/ 93373 h 248932"/>
                <a:gd name="connsiteX13" fmla="*/ 238195 w 331381"/>
                <a:gd name="connsiteY13" fmla="*/ 93373 h 248932"/>
                <a:gd name="connsiteX14" fmla="*/ 217466 w 331381"/>
                <a:gd name="connsiteY14" fmla="*/ 89918 h 248932"/>
                <a:gd name="connsiteX15" fmla="*/ 207102 w 331381"/>
                <a:gd name="connsiteY15" fmla="*/ 79554 h 248932"/>
                <a:gd name="connsiteX16" fmla="*/ 200192 w 331381"/>
                <a:gd name="connsiteY16" fmla="*/ 62280 h 248932"/>
                <a:gd name="connsiteX17" fmla="*/ 193283 w 331381"/>
                <a:gd name="connsiteY17" fmla="*/ 41551 h 248932"/>
                <a:gd name="connsiteX18" fmla="*/ 189828 w 331381"/>
                <a:gd name="connsiteY18" fmla="*/ 34642 h 248932"/>
                <a:gd name="connsiteX19" fmla="*/ 169099 w 331381"/>
                <a:gd name="connsiteY19" fmla="*/ 34642 h 248932"/>
                <a:gd name="connsiteX20" fmla="*/ 162189 w 331381"/>
                <a:gd name="connsiteY20" fmla="*/ 20729 h 248932"/>
                <a:gd name="connsiteX21" fmla="*/ 151825 w 331381"/>
                <a:gd name="connsiteY21" fmla="*/ 6910 h 248932"/>
                <a:gd name="connsiteX22" fmla="*/ 134644 w 331381"/>
                <a:gd name="connsiteY22" fmla="*/ 6910 h 248932"/>
                <a:gd name="connsiteX23" fmla="*/ 117370 w 331381"/>
                <a:gd name="connsiteY23" fmla="*/ 0 h 248932"/>
                <a:gd name="connsiteX24" fmla="*/ 103551 w 331381"/>
                <a:gd name="connsiteY24" fmla="*/ 0 h 248932"/>
                <a:gd name="connsiteX25" fmla="*/ 89732 w 331381"/>
                <a:gd name="connsiteY25" fmla="*/ 10364 h 248932"/>
                <a:gd name="connsiteX26" fmla="*/ 72458 w 331381"/>
                <a:gd name="connsiteY26" fmla="*/ 20729 h 248932"/>
                <a:gd name="connsiteX27" fmla="*/ 58638 w 331381"/>
                <a:gd name="connsiteY27" fmla="*/ 31187 h 248932"/>
                <a:gd name="connsiteX28" fmla="*/ 48274 w 331381"/>
                <a:gd name="connsiteY28" fmla="*/ 27732 h 248932"/>
                <a:gd name="connsiteX29" fmla="*/ 37909 w 331381"/>
                <a:gd name="connsiteY29" fmla="*/ 27732 h 248932"/>
                <a:gd name="connsiteX30" fmla="*/ 58638 w 331381"/>
                <a:gd name="connsiteY30" fmla="*/ 31187 h 248932"/>
                <a:gd name="connsiteX31" fmla="*/ 55184 w 331381"/>
                <a:gd name="connsiteY31" fmla="*/ 38096 h 248932"/>
                <a:gd name="connsiteX32" fmla="*/ 34455 w 331381"/>
                <a:gd name="connsiteY32" fmla="*/ 45006 h 248932"/>
                <a:gd name="connsiteX33" fmla="*/ 20636 w 331381"/>
                <a:gd name="connsiteY33" fmla="*/ 51915 h 248932"/>
                <a:gd name="connsiteX34" fmla="*/ 6816 w 331381"/>
                <a:gd name="connsiteY34" fmla="*/ 65735 h 248932"/>
                <a:gd name="connsiteX35" fmla="*/ 0 w 331381"/>
                <a:gd name="connsiteY35" fmla="*/ 72644 h 248932"/>
                <a:gd name="connsiteX36" fmla="*/ 17181 w 331381"/>
                <a:gd name="connsiteY36" fmla="*/ 79554 h 248932"/>
                <a:gd name="connsiteX37" fmla="*/ 41364 w 331381"/>
                <a:gd name="connsiteY37" fmla="*/ 79554 h 248932"/>
                <a:gd name="connsiteX38" fmla="*/ 62093 w 331381"/>
                <a:gd name="connsiteY38" fmla="*/ 79554 h 248932"/>
                <a:gd name="connsiteX39" fmla="*/ 72458 w 331381"/>
                <a:gd name="connsiteY39" fmla="*/ 72644 h 248932"/>
                <a:gd name="connsiteX40" fmla="*/ 79367 w 331381"/>
                <a:gd name="connsiteY40" fmla="*/ 65735 h 248932"/>
                <a:gd name="connsiteX41" fmla="*/ 93186 w 331381"/>
                <a:gd name="connsiteY41" fmla="*/ 55370 h 248932"/>
                <a:gd name="connsiteX42" fmla="*/ 100096 w 331381"/>
                <a:gd name="connsiteY42" fmla="*/ 65735 h 248932"/>
                <a:gd name="connsiteX43" fmla="*/ 117370 w 331381"/>
                <a:gd name="connsiteY43" fmla="*/ 76099 h 248932"/>
                <a:gd name="connsiteX44" fmla="*/ 134644 w 331381"/>
                <a:gd name="connsiteY44" fmla="*/ 83009 h 248932"/>
                <a:gd name="connsiteX45" fmla="*/ 151825 w 331381"/>
                <a:gd name="connsiteY45" fmla="*/ 79554 h 248932"/>
                <a:gd name="connsiteX46" fmla="*/ 165644 w 331381"/>
                <a:gd name="connsiteY46" fmla="*/ 79554 h 248932"/>
                <a:gd name="connsiteX47" fmla="*/ 182918 w 331381"/>
                <a:gd name="connsiteY47" fmla="*/ 76099 h 248932"/>
                <a:gd name="connsiteX48" fmla="*/ 193283 w 331381"/>
                <a:gd name="connsiteY48" fmla="*/ 83009 h 248932"/>
                <a:gd name="connsiteX49" fmla="*/ 207102 w 331381"/>
                <a:gd name="connsiteY49" fmla="*/ 93373 h 248932"/>
                <a:gd name="connsiteX50" fmla="*/ 207102 w 331381"/>
                <a:gd name="connsiteY50" fmla="*/ 100283 h 248932"/>
                <a:gd name="connsiteX51" fmla="*/ 193283 w 331381"/>
                <a:gd name="connsiteY51" fmla="*/ 93373 h 248932"/>
                <a:gd name="connsiteX52" fmla="*/ 176009 w 331381"/>
                <a:gd name="connsiteY52" fmla="*/ 93373 h 248932"/>
                <a:gd name="connsiteX53" fmla="*/ 162189 w 331381"/>
                <a:gd name="connsiteY53" fmla="*/ 103738 h 248932"/>
                <a:gd name="connsiteX54" fmla="*/ 151825 w 331381"/>
                <a:gd name="connsiteY54" fmla="*/ 107192 h 248932"/>
                <a:gd name="connsiteX55" fmla="*/ 144915 w 331381"/>
                <a:gd name="connsiteY55" fmla="*/ 100283 h 248932"/>
                <a:gd name="connsiteX56" fmla="*/ 138099 w 331381"/>
                <a:gd name="connsiteY56" fmla="*/ 107192 h 248932"/>
                <a:gd name="connsiteX57" fmla="*/ 124280 w 331381"/>
                <a:gd name="connsiteY57" fmla="*/ 121012 h 248932"/>
                <a:gd name="connsiteX58" fmla="*/ 107006 w 331381"/>
                <a:gd name="connsiteY58" fmla="*/ 134831 h 248932"/>
                <a:gd name="connsiteX59" fmla="*/ 110461 w 331381"/>
                <a:gd name="connsiteY59" fmla="*/ 148650 h 248932"/>
                <a:gd name="connsiteX60" fmla="*/ 124280 w 331381"/>
                <a:gd name="connsiteY60" fmla="*/ 145195 h 248932"/>
                <a:gd name="connsiteX61" fmla="*/ 131189 w 331381"/>
                <a:gd name="connsiteY61" fmla="*/ 131376 h 248932"/>
                <a:gd name="connsiteX62" fmla="*/ 117370 w 331381"/>
                <a:gd name="connsiteY62" fmla="*/ 162469 h 248932"/>
                <a:gd name="connsiteX63" fmla="*/ 110461 w 331381"/>
                <a:gd name="connsiteY63" fmla="*/ 204021 h 248932"/>
                <a:gd name="connsiteX64" fmla="*/ 110461 w 331381"/>
                <a:gd name="connsiteY64" fmla="*/ 224749 h 248932"/>
                <a:gd name="connsiteX65" fmla="*/ 117370 w 331381"/>
                <a:gd name="connsiteY65" fmla="*/ 248933 h 248932"/>
                <a:gd name="connsiteX66" fmla="*/ 134644 w 331381"/>
                <a:gd name="connsiteY66" fmla="*/ 245478 h 248932"/>
                <a:gd name="connsiteX67" fmla="*/ 151825 w 331381"/>
                <a:gd name="connsiteY67" fmla="*/ 231659 h 248932"/>
                <a:gd name="connsiteX68" fmla="*/ 158734 w 331381"/>
                <a:gd name="connsiteY68" fmla="*/ 214385 h 248932"/>
                <a:gd name="connsiteX69" fmla="*/ 158734 w 331381"/>
                <a:gd name="connsiteY69" fmla="*/ 193656 h 248932"/>
                <a:gd name="connsiteX70" fmla="*/ 158734 w 331381"/>
                <a:gd name="connsiteY70" fmla="*/ 176289 h 248932"/>
                <a:gd name="connsiteX71" fmla="*/ 158734 w 331381"/>
                <a:gd name="connsiteY71" fmla="*/ 155560 h 248932"/>
                <a:gd name="connsiteX72" fmla="*/ 158734 w 331381"/>
                <a:gd name="connsiteY72" fmla="*/ 141741 h 248932"/>
                <a:gd name="connsiteX73" fmla="*/ 162189 w 331381"/>
                <a:gd name="connsiteY73" fmla="*/ 134831 h 248932"/>
                <a:gd name="connsiteX74" fmla="*/ 172554 w 331381"/>
                <a:gd name="connsiteY74" fmla="*/ 134831 h 248932"/>
                <a:gd name="connsiteX75" fmla="*/ 179463 w 331381"/>
                <a:gd name="connsiteY75" fmla="*/ 127921 h 248932"/>
                <a:gd name="connsiteX76" fmla="*/ 186373 w 331381"/>
                <a:gd name="connsiteY76" fmla="*/ 117557 h 248932"/>
                <a:gd name="connsiteX77" fmla="*/ 200192 w 331381"/>
                <a:gd name="connsiteY77" fmla="*/ 114102 h 248932"/>
                <a:gd name="connsiteX78" fmla="*/ 214011 w 331381"/>
                <a:gd name="connsiteY78" fmla="*/ 121012 h 248932"/>
                <a:gd name="connsiteX79" fmla="*/ 231285 w 331381"/>
                <a:gd name="connsiteY79" fmla="*/ 124466 h 248932"/>
                <a:gd name="connsiteX80" fmla="*/ 238195 w 331381"/>
                <a:gd name="connsiteY80" fmla="*/ 138286 h 248932"/>
                <a:gd name="connsiteX81" fmla="*/ 234740 w 331381"/>
                <a:gd name="connsiteY81" fmla="*/ 155560 h 248932"/>
                <a:gd name="connsiteX82" fmla="*/ 227831 w 331381"/>
                <a:gd name="connsiteY82" fmla="*/ 169379 h 248932"/>
                <a:gd name="connsiteX83" fmla="*/ 220921 w 331381"/>
                <a:gd name="connsiteY83" fmla="*/ 176289 h 248932"/>
                <a:gd name="connsiteX84" fmla="*/ 224376 w 331381"/>
                <a:gd name="connsiteY84" fmla="*/ 183198 h 248932"/>
                <a:gd name="connsiteX85" fmla="*/ 234740 w 331381"/>
                <a:gd name="connsiteY85" fmla="*/ 176289 h 248932"/>
                <a:gd name="connsiteX86" fmla="*/ 245105 w 331381"/>
                <a:gd name="connsiteY86" fmla="*/ 169379 h 248932"/>
                <a:gd name="connsiteX87" fmla="*/ 255469 w 331381"/>
                <a:gd name="connsiteY87" fmla="*/ 172834 h 248932"/>
                <a:gd name="connsiteX88" fmla="*/ 255469 w 331381"/>
                <a:gd name="connsiteY88" fmla="*/ 190108 h 248932"/>
                <a:gd name="connsiteX89" fmla="*/ 252014 w 331381"/>
                <a:gd name="connsiteY89" fmla="*/ 200566 h 248932"/>
                <a:gd name="connsiteX90" fmla="*/ 262379 w 331381"/>
                <a:gd name="connsiteY90" fmla="*/ 197111 h 248932"/>
                <a:gd name="connsiteX91" fmla="*/ 276105 w 331381"/>
                <a:gd name="connsiteY91" fmla="*/ 193656 h 24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31381" h="248932">
                  <a:moveTo>
                    <a:pt x="276105" y="193656"/>
                  </a:moveTo>
                  <a:lnTo>
                    <a:pt x="279559" y="176289"/>
                  </a:lnTo>
                  <a:lnTo>
                    <a:pt x="283014" y="162469"/>
                  </a:lnTo>
                  <a:lnTo>
                    <a:pt x="293379" y="152105"/>
                  </a:lnTo>
                  <a:lnTo>
                    <a:pt x="296833" y="141741"/>
                  </a:lnTo>
                  <a:lnTo>
                    <a:pt x="303743" y="141741"/>
                  </a:lnTo>
                  <a:lnTo>
                    <a:pt x="314107" y="152105"/>
                  </a:lnTo>
                  <a:lnTo>
                    <a:pt x="327927" y="148650"/>
                  </a:lnTo>
                  <a:lnTo>
                    <a:pt x="331382" y="134831"/>
                  </a:lnTo>
                  <a:lnTo>
                    <a:pt x="321017" y="117557"/>
                  </a:lnTo>
                  <a:lnTo>
                    <a:pt x="307198" y="103738"/>
                  </a:lnTo>
                  <a:lnTo>
                    <a:pt x="286469" y="96828"/>
                  </a:lnTo>
                  <a:lnTo>
                    <a:pt x="265834" y="93373"/>
                  </a:lnTo>
                  <a:lnTo>
                    <a:pt x="238195" y="93373"/>
                  </a:lnTo>
                  <a:lnTo>
                    <a:pt x="217466" y="89918"/>
                  </a:lnTo>
                  <a:lnTo>
                    <a:pt x="207102" y="79554"/>
                  </a:lnTo>
                  <a:lnTo>
                    <a:pt x="200192" y="62280"/>
                  </a:lnTo>
                  <a:lnTo>
                    <a:pt x="193283" y="41551"/>
                  </a:lnTo>
                  <a:lnTo>
                    <a:pt x="189828" y="34642"/>
                  </a:lnTo>
                  <a:lnTo>
                    <a:pt x="169099" y="34642"/>
                  </a:lnTo>
                  <a:lnTo>
                    <a:pt x="162189" y="20729"/>
                  </a:lnTo>
                  <a:lnTo>
                    <a:pt x="151825" y="6910"/>
                  </a:lnTo>
                  <a:lnTo>
                    <a:pt x="134644" y="6910"/>
                  </a:lnTo>
                  <a:lnTo>
                    <a:pt x="117370" y="0"/>
                  </a:lnTo>
                  <a:lnTo>
                    <a:pt x="103551" y="0"/>
                  </a:lnTo>
                  <a:lnTo>
                    <a:pt x="89732" y="10364"/>
                  </a:lnTo>
                  <a:lnTo>
                    <a:pt x="72458" y="20729"/>
                  </a:lnTo>
                  <a:lnTo>
                    <a:pt x="58638" y="31187"/>
                  </a:lnTo>
                  <a:lnTo>
                    <a:pt x="48274" y="27732"/>
                  </a:lnTo>
                  <a:lnTo>
                    <a:pt x="37909" y="27732"/>
                  </a:lnTo>
                  <a:lnTo>
                    <a:pt x="58638" y="31187"/>
                  </a:lnTo>
                  <a:lnTo>
                    <a:pt x="55184" y="38096"/>
                  </a:lnTo>
                  <a:lnTo>
                    <a:pt x="34455" y="45006"/>
                  </a:lnTo>
                  <a:lnTo>
                    <a:pt x="20636" y="51915"/>
                  </a:lnTo>
                  <a:lnTo>
                    <a:pt x="6816" y="65735"/>
                  </a:lnTo>
                  <a:lnTo>
                    <a:pt x="0" y="72644"/>
                  </a:lnTo>
                  <a:lnTo>
                    <a:pt x="17181" y="79554"/>
                  </a:lnTo>
                  <a:lnTo>
                    <a:pt x="41364" y="79554"/>
                  </a:lnTo>
                  <a:lnTo>
                    <a:pt x="62093" y="79554"/>
                  </a:lnTo>
                  <a:lnTo>
                    <a:pt x="72458" y="72644"/>
                  </a:lnTo>
                  <a:lnTo>
                    <a:pt x="79367" y="65735"/>
                  </a:lnTo>
                  <a:lnTo>
                    <a:pt x="93186" y="55370"/>
                  </a:lnTo>
                  <a:lnTo>
                    <a:pt x="100096" y="65735"/>
                  </a:lnTo>
                  <a:lnTo>
                    <a:pt x="117370" y="76099"/>
                  </a:lnTo>
                  <a:lnTo>
                    <a:pt x="134644" y="83009"/>
                  </a:lnTo>
                  <a:lnTo>
                    <a:pt x="151825" y="79554"/>
                  </a:lnTo>
                  <a:lnTo>
                    <a:pt x="165644" y="79554"/>
                  </a:lnTo>
                  <a:lnTo>
                    <a:pt x="182918" y="76099"/>
                  </a:lnTo>
                  <a:lnTo>
                    <a:pt x="193283" y="83009"/>
                  </a:lnTo>
                  <a:lnTo>
                    <a:pt x="207102" y="93373"/>
                  </a:lnTo>
                  <a:lnTo>
                    <a:pt x="207102" y="100283"/>
                  </a:lnTo>
                  <a:lnTo>
                    <a:pt x="193283" y="93373"/>
                  </a:lnTo>
                  <a:lnTo>
                    <a:pt x="176009" y="93373"/>
                  </a:lnTo>
                  <a:lnTo>
                    <a:pt x="162189" y="103738"/>
                  </a:lnTo>
                  <a:lnTo>
                    <a:pt x="151825" y="107192"/>
                  </a:lnTo>
                  <a:lnTo>
                    <a:pt x="144915" y="100283"/>
                  </a:lnTo>
                  <a:lnTo>
                    <a:pt x="138099" y="107192"/>
                  </a:lnTo>
                  <a:lnTo>
                    <a:pt x="124280" y="121012"/>
                  </a:lnTo>
                  <a:lnTo>
                    <a:pt x="107006" y="134831"/>
                  </a:lnTo>
                  <a:lnTo>
                    <a:pt x="110461" y="148650"/>
                  </a:lnTo>
                  <a:lnTo>
                    <a:pt x="124280" y="145195"/>
                  </a:lnTo>
                  <a:lnTo>
                    <a:pt x="131189" y="131376"/>
                  </a:lnTo>
                  <a:lnTo>
                    <a:pt x="117370" y="162469"/>
                  </a:lnTo>
                  <a:lnTo>
                    <a:pt x="110461" y="204021"/>
                  </a:lnTo>
                  <a:lnTo>
                    <a:pt x="110461" y="224749"/>
                  </a:lnTo>
                  <a:lnTo>
                    <a:pt x="117370" y="248933"/>
                  </a:lnTo>
                  <a:lnTo>
                    <a:pt x="134644" y="245478"/>
                  </a:lnTo>
                  <a:lnTo>
                    <a:pt x="151825" y="231659"/>
                  </a:lnTo>
                  <a:lnTo>
                    <a:pt x="158734" y="214385"/>
                  </a:lnTo>
                  <a:lnTo>
                    <a:pt x="158734" y="193656"/>
                  </a:lnTo>
                  <a:lnTo>
                    <a:pt x="158734" y="176289"/>
                  </a:lnTo>
                  <a:lnTo>
                    <a:pt x="158734" y="155560"/>
                  </a:lnTo>
                  <a:lnTo>
                    <a:pt x="158734" y="141741"/>
                  </a:lnTo>
                  <a:lnTo>
                    <a:pt x="162189" y="134831"/>
                  </a:lnTo>
                  <a:lnTo>
                    <a:pt x="172554" y="134831"/>
                  </a:lnTo>
                  <a:lnTo>
                    <a:pt x="179463" y="127921"/>
                  </a:lnTo>
                  <a:lnTo>
                    <a:pt x="186373" y="117557"/>
                  </a:lnTo>
                  <a:lnTo>
                    <a:pt x="200192" y="114102"/>
                  </a:lnTo>
                  <a:lnTo>
                    <a:pt x="214011" y="121012"/>
                  </a:lnTo>
                  <a:lnTo>
                    <a:pt x="231285" y="124466"/>
                  </a:lnTo>
                  <a:lnTo>
                    <a:pt x="238195" y="138286"/>
                  </a:lnTo>
                  <a:lnTo>
                    <a:pt x="234740" y="155560"/>
                  </a:lnTo>
                  <a:lnTo>
                    <a:pt x="227831" y="169379"/>
                  </a:lnTo>
                  <a:lnTo>
                    <a:pt x="220921" y="176289"/>
                  </a:lnTo>
                  <a:lnTo>
                    <a:pt x="224376" y="183198"/>
                  </a:lnTo>
                  <a:lnTo>
                    <a:pt x="234740" y="176289"/>
                  </a:lnTo>
                  <a:lnTo>
                    <a:pt x="245105" y="169379"/>
                  </a:lnTo>
                  <a:lnTo>
                    <a:pt x="255469" y="172834"/>
                  </a:lnTo>
                  <a:lnTo>
                    <a:pt x="255469" y="190108"/>
                  </a:lnTo>
                  <a:lnTo>
                    <a:pt x="252014" y="200566"/>
                  </a:lnTo>
                  <a:lnTo>
                    <a:pt x="262379" y="197111"/>
                  </a:lnTo>
                  <a:lnTo>
                    <a:pt x="276105" y="193656"/>
                  </a:lnTo>
                  <a:close/>
                </a:path>
              </a:pathLst>
            </a:custGeom>
            <a:solidFill>
              <a:srgbClr val="CEE3BF"/>
            </a:solidFill>
            <a:ln w="9334" cap="flat">
              <a:noFill/>
              <a:prstDash val="solid"/>
              <a:miter/>
            </a:ln>
          </p:spPr>
          <p:txBody>
            <a:bodyPr rtlCol="0" anchor="ctr"/>
            <a:lstStyle/>
            <a:p>
              <a:endParaRPr lang="en-GB" dirty="0"/>
            </a:p>
          </p:txBody>
        </p:sp>
        <p:sp>
          <p:nvSpPr>
            <p:cNvPr id="1248" name="Freeform: Shape 1247">
              <a:extLst>
                <a:ext uri="{FF2B5EF4-FFF2-40B4-BE49-F238E27FC236}">
                  <a16:creationId xmlns:a16="http://schemas.microsoft.com/office/drawing/2014/main" id="{B17B882E-D8DE-4614-882A-96B31F514BD5}"/>
                </a:ext>
              </a:extLst>
            </p:cNvPr>
            <p:cNvSpPr/>
            <p:nvPr/>
          </p:nvSpPr>
          <p:spPr>
            <a:xfrm>
              <a:off x="7278034" y="3886695"/>
              <a:ext cx="76005" cy="13819"/>
            </a:xfrm>
            <a:custGeom>
              <a:avLst/>
              <a:gdLst>
                <a:gd name="connsiteX0" fmla="*/ 0 w 76005"/>
                <a:gd name="connsiteY0" fmla="*/ 0 h 13819"/>
                <a:gd name="connsiteX1" fmla="*/ 13819 w 76005"/>
                <a:gd name="connsiteY1" fmla="*/ 3455 h 13819"/>
                <a:gd name="connsiteX2" fmla="*/ 34548 w 76005"/>
                <a:gd name="connsiteY2" fmla="*/ 10364 h 13819"/>
                <a:gd name="connsiteX3" fmla="*/ 44912 w 76005"/>
                <a:gd name="connsiteY3" fmla="*/ 13819 h 13819"/>
                <a:gd name="connsiteX4" fmla="*/ 76006 w 76005"/>
                <a:gd name="connsiteY4" fmla="*/ 10364 h 13819"/>
                <a:gd name="connsiteX5" fmla="*/ 44912 w 76005"/>
                <a:gd name="connsiteY5" fmla="*/ 10364 h 13819"/>
                <a:gd name="connsiteX6" fmla="*/ 0 w 76005"/>
                <a:gd name="connsiteY6" fmla="*/ 0 h 1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05" h="13819">
                  <a:moveTo>
                    <a:pt x="0" y="0"/>
                  </a:moveTo>
                  <a:lnTo>
                    <a:pt x="13819" y="3455"/>
                  </a:lnTo>
                  <a:lnTo>
                    <a:pt x="34548" y="10364"/>
                  </a:lnTo>
                  <a:lnTo>
                    <a:pt x="44912" y="13819"/>
                  </a:lnTo>
                  <a:lnTo>
                    <a:pt x="76006" y="10364"/>
                  </a:lnTo>
                  <a:lnTo>
                    <a:pt x="44912" y="10364"/>
                  </a:lnTo>
                  <a:lnTo>
                    <a:pt x="0" y="0"/>
                  </a:lnTo>
                  <a:close/>
                </a:path>
              </a:pathLst>
            </a:custGeom>
            <a:solidFill>
              <a:srgbClr val="CEE3BF"/>
            </a:solidFill>
            <a:ln w="9334" cap="flat">
              <a:noFill/>
              <a:prstDash val="solid"/>
              <a:miter/>
            </a:ln>
          </p:spPr>
          <p:txBody>
            <a:bodyPr rtlCol="0" anchor="ctr"/>
            <a:lstStyle/>
            <a:p>
              <a:endParaRPr lang="en-GB" dirty="0"/>
            </a:p>
          </p:txBody>
        </p:sp>
        <p:sp>
          <p:nvSpPr>
            <p:cNvPr id="1249" name="Freeform: Shape 1248">
              <a:extLst>
                <a:ext uri="{FF2B5EF4-FFF2-40B4-BE49-F238E27FC236}">
                  <a16:creationId xmlns:a16="http://schemas.microsoft.com/office/drawing/2014/main" id="{51571527-8DF0-4A4B-B1E9-B7A4580FCFEC}"/>
                </a:ext>
              </a:extLst>
            </p:cNvPr>
            <p:cNvSpPr/>
            <p:nvPr/>
          </p:nvSpPr>
          <p:spPr>
            <a:xfrm>
              <a:off x="6729093" y="3509934"/>
              <a:ext cx="51822" cy="27638"/>
            </a:xfrm>
            <a:custGeom>
              <a:avLst/>
              <a:gdLst>
                <a:gd name="connsiteX0" fmla="*/ 27638 w 51822"/>
                <a:gd name="connsiteY0" fmla="*/ 6910 h 27638"/>
                <a:gd name="connsiteX1" fmla="*/ 13819 w 51822"/>
                <a:gd name="connsiteY1" fmla="*/ 10364 h 27638"/>
                <a:gd name="connsiteX2" fmla="*/ 0 w 51822"/>
                <a:gd name="connsiteY2" fmla="*/ 10364 h 27638"/>
                <a:gd name="connsiteX3" fmla="*/ 0 w 51822"/>
                <a:gd name="connsiteY3" fmla="*/ 20729 h 27638"/>
                <a:gd name="connsiteX4" fmla="*/ 6910 w 51822"/>
                <a:gd name="connsiteY4" fmla="*/ 27639 h 27638"/>
                <a:gd name="connsiteX5" fmla="*/ 20729 w 51822"/>
                <a:gd name="connsiteY5" fmla="*/ 27639 h 27638"/>
                <a:gd name="connsiteX6" fmla="*/ 31093 w 51822"/>
                <a:gd name="connsiteY6" fmla="*/ 20729 h 27638"/>
                <a:gd name="connsiteX7" fmla="*/ 38002 w 51822"/>
                <a:gd name="connsiteY7" fmla="*/ 13819 h 27638"/>
                <a:gd name="connsiteX8" fmla="*/ 51822 w 51822"/>
                <a:gd name="connsiteY8" fmla="*/ 0 h 27638"/>
                <a:gd name="connsiteX9" fmla="*/ 41458 w 51822"/>
                <a:gd name="connsiteY9" fmla="*/ 6910 h 27638"/>
                <a:gd name="connsiteX10" fmla="*/ 27638 w 51822"/>
                <a:gd name="connsiteY10" fmla="*/ 6910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822" h="27638">
                  <a:moveTo>
                    <a:pt x="27638" y="6910"/>
                  </a:moveTo>
                  <a:lnTo>
                    <a:pt x="13819" y="10364"/>
                  </a:lnTo>
                  <a:lnTo>
                    <a:pt x="0" y="10364"/>
                  </a:lnTo>
                  <a:lnTo>
                    <a:pt x="0" y="20729"/>
                  </a:lnTo>
                  <a:lnTo>
                    <a:pt x="6910" y="27639"/>
                  </a:lnTo>
                  <a:lnTo>
                    <a:pt x="20729" y="27639"/>
                  </a:lnTo>
                  <a:lnTo>
                    <a:pt x="31093" y="20729"/>
                  </a:lnTo>
                  <a:lnTo>
                    <a:pt x="38002" y="13819"/>
                  </a:lnTo>
                  <a:lnTo>
                    <a:pt x="51822" y="0"/>
                  </a:lnTo>
                  <a:lnTo>
                    <a:pt x="41458" y="6910"/>
                  </a:lnTo>
                  <a:lnTo>
                    <a:pt x="27638" y="6910"/>
                  </a:lnTo>
                  <a:close/>
                </a:path>
              </a:pathLst>
            </a:custGeom>
            <a:solidFill>
              <a:srgbClr val="CEE3BF"/>
            </a:solidFill>
            <a:ln w="9334" cap="flat">
              <a:noFill/>
              <a:prstDash val="solid"/>
              <a:miter/>
            </a:ln>
          </p:spPr>
          <p:txBody>
            <a:bodyPr rtlCol="0" anchor="ctr"/>
            <a:lstStyle/>
            <a:p>
              <a:endParaRPr lang="en-GB" dirty="0"/>
            </a:p>
          </p:txBody>
        </p:sp>
        <p:sp>
          <p:nvSpPr>
            <p:cNvPr id="1250" name="Freeform: Shape 1249">
              <a:extLst>
                <a:ext uri="{FF2B5EF4-FFF2-40B4-BE49-F238E27FC236}">
                  <a16:creationId xmlns:a16="http://schemas.microsoft.com/office/drawing/2014/main" id="{651749C2-280D-425E-ABB5-497AB3819CBF}"/>
                </a:ext>
              </a:extLst>
            </p:cNvPr>
            <p:cNvSpPr/>
            <p:nvPr/>
          </p:nvSpPr>
          <p:spPr>
            <a:xfrm>
              <a:off x="6002370" y="3105534"/>
              <a:ext cx="120918" cy="65641"/>
            </a:xfrm>
            <a:custGeom>
              <a:avLst/>
              <a:gdLst>
                <a:gd name="connsiteX0" fmla="*/ 100189 w 120918"/>
                <a:gd name="connsiteY0" fmla="*/ 3455 h 65641"/>
                <a:gd name="connsiteX1" fmla="*/ 86370 w 120918"/>
                <a:gd name="connsiteY1" fmla="*/ 0 h 65641"/>
                <a:gd name="connsiteX2" fmla="*/ 69096 w 120918"/>
                <a:gd name="connsiteY2" fmla="*/ 3455 h 65641"/>
                <a:gd name="connsiteX3" fmla="*/ 51822 w 120918"/>
                <a:gd name="connsiteY3" fmla="*/ 3455 h 65641"/>
                <a:gd name="connsiteX4" fmla="*/ 41458 w 120918"/>
                <a:gd name="connsiteY4" fmla="*/ 3455 h 65641"/>
                <a:gd name="connsiteX5" fmla="*/ 38003 w 120918"/>
                <a:gd name="connsiteY5" fmla="*/ 10364 h 65641"/>
                <a:gd name="connsiteX6" fmla="*/ 31093 w 120918"/>
                <a:gd name="connsiteY6" fmla="*/ 10364 h 65641"/>
                <a:gd name="connsiteX7" fmla="*/ 13819 w 120918"/>
                <a:gd name="connsiteY7" fmla="*/ 27639 h 65641"/>
                <a:gd name="connsiteX8" fmla="*/ 0 w 120918"/>
                <a:gd name="connsiteY8" fmla="*/ 48367 h 65641"/>
                <a:gd name="connsiteX9" fmla="*/ 27638 w 120918"/>
                <a:gd name="connsiteY9" fmla="*/ 48367 h 65641"/>
                <a:gd name="connsiteX10" fmla="*/ 27638 w 120918"/>
                <a:gd name="connsiteY10" fmla="*/ 65641 h 65641"/>
                <a:gd name="connsiteX11" fmla="*/ 51822 w 120918"/>
                <a:gd name="connsiteY11" fmla="*/ 62187 h 65641"/>
                <a:gd name="connsiteX12" fmla="*/ 51822 w 120918"/>
                <a:gd name="connsiteY12" fmla="*/ 55277 h 65641"/>
                <a:gd name="connsiteX13" fmla="*/ 58732 w 120918"/>
                <a:gd name="connsiteY13" fmla="*/ 51822 h 65641"/>
                <a:gd name="connsiteX14" fmla="*/ 69096 w 120918"/>
                <a:gd name="connsiteY14" fmla="*/ 58732 h 65641"/>
                <a:gd name="connsiteX15" fmla="*/ 79461 w 120918"/>
                <a:gd name="connsiteY15" fmla="*/ 62187 h 65641"/>
                <a:gd name="connsiteX16" fmla="*/ 86370 w 120918"/>
                <a:gd name="connsiteY16" fmla="*/ 58732 h 65641"/>
                <a:gd name="connsiteX17" fmla="*/ 86370 w 120918"/>
                <a:gd name="connsiteY17" fmla="*/ 41458 h 65641"/>
                <a:gd name="connsiteX18" fmla="*/ 96735 w 120918"/>
                <a:gd name="connsiteY18" fmla="*/ 51822 h 65641"/>
                <a:gd name="connsiteX19" fmla="*/ 114008 w 120918"/>
                <a:gd name="connsiteY19" fmla="*/ 48367 h 65641"/>
                <a:gd name="connsiteX20" fmla="*/ 120918 w 120918"/>
                <a:gd name="connsiteY20" fmla="*/ 34548 h 65641"/>
                <a:gd name="connsiteX21" fmla="*/ 117464 w 120918"/>
                <a:gd name="connsiteY21" fmla="*/ 27639 h 65641"/>
                <a:gd name="connsiteX22" fmla="*/ 110554 w 120918"/>
                <a:gd name="connsiteY22" fmla="*/ 27639 h 65641"/>
                <a:gd name="connsiteX23" fmla="*/ 96735 w 120918"/>
                <a:gd name="connsiteY23" fmla="*/ 24184 h 65641"/>
                <a:gd name="connsiteX24" fmla="*/ 100189 w 120918"/>
                <a:gd name="connsiteY24" fmla="*/ 13819 h 65641"/>
                <a:gd name="connsiteX25" fmla="*/ 103644 w 120918"/>
                <a:gd name="connsiteY25" fmla="*/ 6910 h 65641"/>
                <a:gd name="connsiteX26" fmla="*/ 100189 w 120918"/>
                <a:gd name="connsiteY26" fmla="*/ 3455 h 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0918" h="65641">
                  <a:moveTo>
                    <a:pt x="100189" y="3455"/>
                  </a:moveTo>
                  <a:lnTo>
                    <a:pt x="86370" y="0"/>
                  </a:lnTo>
                  <a:lnTo>
                    <a:pt x="69096" y="3455"/>
                  </a:lnTo>
                  <a:lnTo>
                    <a:pt x="51822" y="3455"/>
                  </a:lnTo>
                  <a:lnTo>
                    <a:pt x="41458" y="3455"/>
                  </a:lnTo>
                  <a:lnTo>
                    <a:pt x="38003" y="10364"/>
                  </a:lnTo>
                  <a:lnTo>
                    <a:pt x="31093" y="10364"/>
                  </a:lnTo>
                  <a:lnTo>
                    <a:pt x="13819" y="27639"/>
                  </a:lnTo>
                  <a:lnTo>
                    <a:pt x="0" y="48367"/>
                  </a:lnTo>
                  <a:lnTo>
                    <a:pt x="27638" y="48367"/>
                  </a:lnTo>
                  <a:lnTo>
                    <a:pt x="27638" y="65641"/>
                  </a:lnTo>
                  <a:lnTo>
                    <a:pt x="51822" y="62187"/>
                  </a:lnTo>
                  <a:lnTo>
                    <a:pt x="51822" y="55277"/>
                  </a:lnTo>
                  <a:lnTo>
                    <a:pt x="58732" y="51822"/>
                  </a:lnTo>
                  <a:lnTo>
                    <a:pt x="69096" y="58732"/>
                  </a:lnTo>
                  <a:lnTo>
                    <a:pt x="79461" y="62187"/>
                  </a:lnTo>
                  <a:lnTo>
                    <a:pt x="86370" y="58732"/>
                  </a:lnTo>
                  <a:lnTo>
                    <a:pt x="86370" y="41458"/>
                  </a:lnTo>
                  <a:lnTo>
                    <a:pt x="96735" y="51822"/>
                  </a:lnTo>
                  <a:lnTo>
                    <a:pt x="114008" y="48367"/>
                  </a:lnTo>
                  <a:lnTo>
                    <a:pt x="120918" y="34548"/>
                  </a:lnTo>
                  <a:lnTo>
                    <a:pt x="117464" y="27639"/>
                  </a:lnTo>
                  <a:lnTo>
                    <a:pt x="110554" y="27639"/>
                  </a:lnTo>
                  <a:lnTo>
                    <a:pt x="96735" y="24184"/>
                  </a:lnTo>
                  <a:lnTo>
                    <a:pt x="100189" y="13819"/>
                  </a:lnTo>
                  <a:lnTo>
                    <a:pt x="103644" y="6910"/>
                  </a:lnTo>
                  <a:lnTo>
                    <a:pt x="100189" y="3455"/>
                  </a:lnTo>
                  <a:close/>
                </a:path>
              </a:pathLst>
            </a:custGeom>
            <a:solidFill>
              <a:srgbClr val="CEE3BF"/>
            </a:solidFill>
            <a:ln w="9334" cap="flat">
              <a:noFill/>
              <a:prstDash val="solid"/>
              <a:miter/>
            </a:ln>
          </p:spPr>
          <p:txBody>
            <a:bodyPr rtlCol="0" anchor="ctr"/>
            <a:lstStyle/>
            <a:p>
              <a:endParaRPr lang="en-GB" dirty="0"/>
            </a:p>
          </p:txBody>
        </p:sp>
        <p:sp>
          <p:nvSpPr>
            <p:cNvPr id="1251" name="Freeform: Shape 1250">
              <a:extLst>
                <a:ext uri="{FF2B5EF4-FFF2-40B4-BE49-F238E27FC236}">
                  <a16:creationId xmlns:a16="http://schemas.microsoft.com/office/drawing/2014/main" id="{02C3B06B-601A-41F1-B48E-A59351181B95}"/>
                </a:ext>
              </a:extLst>
            </p:cNvPr>
            <p:cNvSpPr/>
            <p:nvPr/>
          </p:nvSpPr>
          <p:spPr>
            <a:xfrm>
              <a:off x="6591088" y="1788412"/>
              <a:ext cx="4453528" cy="1538323"/>
            </a:xfrm>
            <a:custGeom>
              <a:avLst/>
              <a:gdLst>
                <a:gd name="connsiteX0" fmla="*/ 4432800 w 4453528"/>
                <a:gd name="connsiteY0" fmla="*/ 573872 h 1538323"/>
                <a:gd name="connsiteX1" fmla="*/ 4401800 w 4453528"/>
                <a:gd name="connsiteY1" fmla="*/ 553143 h 1538323"/>
                <a:gd name="connsiteX2" fmla="*/ 4367252 w 4453528"/>
                <a:gd name="connsiteY2" fmla="*/ 546233 h 1538323"/>
                <a:gd name="connsiteX3" fmla="*/ 4339613 w 4453528"/>
                <a:gd name="connsiteY3" fmla="*/ 542778 h 1538323"/>
                <a:gd name="connsiteX4" fmla="*/ 4349978 w 4453528"/>
                <a:gd name="connsiteY4" fmla="*/ 573872 h 1538323"/>
                <a:gd name="connsiteX5" fmla="*/ 4336158 w 4453528"/>
                <a:gd name="connsiteY5" fmla="*/ 580781 h 1538323"/>
                <a:gd name="connsiteX6" fmla="*/ 4318884 w 4453528"/>
                <a:gd name="connsiteY6" fmla="*/ 553143 h 1538323"/>
                <a:gd name="connsiteX7" fmla="*/ 4308520 w 4453528"/>
                <a:gd name="connsiteY7" fmla="*/ 532414 h 1538323"/>
                <a:gd name="connsiteX8" fmla="*/ 4294701 w 4453528"/>
                <a:gd name="connsiteY8" fmla="*/ 511685 h 1538323"/>
                <a:gd name="connsiteX9" fmla="*/ 4215334 w 4453528"/>
                <a:gd name="connsiteY9" fmla="*/ 477044 h 1538323"/>
                <a:gd name="connsiteX10" fmla="*/ 4170421 w 4453528"/>
                <a:gd name="connsiteY10" fmla="*/ 452860 h 1538323"/>
                <a:gd name="connsiteX11" fmla="*/ 4094509 w 4453528"/>
                <a:gd name="connsiteY11" fmla="*/ 425222 h 1538323"/>
                <a:gd name="connsiteX12" fmla="*/ 4028867 w 4453528"/>
                <a:gd name="connsiteY12" fmla="*/ 414857 h 1538323"/>
                <a:gd name="connsiteX13" fmla="*/ 3973684 w 4453528"/>
                <a:gd name="connsiteY13" fmla="*/ 414857 h 1538323"/>
                <a:gd name="connsiteX14" fmla="*/ 3942590 w 4453528"/>
                <a:gd name="connsiteY14" fmla="*/ 401038 h 1538323"/>
                <a:gd name="connsiteX15" fmla="*/ 3921862 w 4453528"/>
                <a:gd name="connsiteY15" fmla="*/ 404493 h 1538323"/>
                <a:gd name="connsiteX16" fmla="*/ 3925316 w 4453528"/>
                <a:gd name="connsiteY16" fmla="*/ 435586 h 1538323"/>
                <a:gd name="connsiteX17" fmla="*/ 3935681 w 4453528"/>
                <a:gd name="connsiteY17" fmla="*/ 456315 h 1538323"/>
                <a:gd name="connsiteX18" fmla="*/ 3925316 w 4453528"/>
                <a:gd name="connsiteY18" fmla="*/ 470134 h 1538323"/>
                <a:gd name="connsiteX19" fmla="*/ 3890768 w 4453528"/>
                <a:gd name="connsiteY19" fmla="*/ 466679 h 1538323"/>
                <a:gd name="connsiteX20" fmla="*/ 3859768 w 4453528"/>
                <a:gd name="connsiteY20" fmla="*/ 442496 h 1538323"/>
                <a:gd name="connsiteX21" fmla="*/ 3859768 w 4453528"/>
                <a:gd name="connsiteY21" fmla="*/ 421767 h 1538323"/>
                <a:gd name="connsiteX22" fmla="*/ 3849404 w 4453528"/>
                <a:gd name="connsiteY22" fmla="*/ 418312 h 1538323"/>
                <a:gd name="connsiteX23" fmla="*/ 3821765 w 4453528"/>
                <a:gd name="connsiteY23" fmla="*/ 432131 h 1538323"/>
                <a:gd name="connsiteX24" fmla="*/ 3807946 w 4453528"/>
                <a:gd name="connsiteY24" fmla="*/ 432131 h 1538323"/>
                <a:gd name="connsiteX25" fmla="*/ 3694031 w 4453528"/>
                <a:gd name="connsiteY25" fmla="*/ 425222 h 1538323"/>
                <a:gd name="connsiteX26" fmla="*/ 3669847 w 4453528"/>
                <a:gd name="connsiteY26" fmla="*/ 435586 h 1538323"/>
                <a:gd name="connsiteX27" fmla="*/ 3638754 w 4453528"/>
                <a:gd name="connsiteY27" fmla="*/ 425222 h 1538323"/>
                <a:gd name="connsiteX28" fmla="*/ 3631844 w 4453528"/>
                <a:gd name="connsiteY28" fmla="*/ 411402 h 1538323"/>
                <a:gd name="connsiteX29" fmla="*/ 3635299 w 4453528"/>
                <a:gd name="connsiteY29" fmla="*/ 387219 h 1538323"/>
                <a:gd name="connsiteX30" fmla="*/ 3597390 w 4453528"/>
                <a:gd name="connsiteY30" fmla="*/ 366490 h 1538323"/>
                <a:gd name="connsiteX31" fmla="*/ 3504110 w 4453528"/>
                <a:gd name="connsiteY31" fmla="*/ 363035 h 1538323"/>
                <a:gd name="connsiteX32" fmla="*/ 3414378 w 4453528"/>
                <a:gd name="connsiteY32" fmla="*/ 359580 h 1538323"/>
                <a:gd name="connsiteX33" fmla="*/ 3362556 w 4453528"/>
                <a:gd name="connsiteY33" fmla="*/ 338758 h 1538323"/>
                <a:gd name="connsiteX34" fmla="*/ 3338373 w 4453528"/>
                <a:gd name="connsiteY34" fmla="*/ 328394 h 1538323"/>
                <a:gd name="connsiteX35" fmla="*/ 3352192 w 4453528"/>
                <a:gd name="connsiteY35" fmla="*/ 311120 h 1538323"/>
                <a:gd name="connsiteX36" fmla="*/ 3324646 w 4453528"/>
                <a:gd name="connsiteY36" fmla="*/ 297300 h 1538323"/>
                <a:gd name="connsiteX37" fmla="*/ 3262460 w 4453528"/>
                <a:gd name="connsiteY37" fmla="*/ 304210 h 1538323"/>
                <a:gd name="connsiteX38" fmla="*/ 3252095 w 4453528"/>
                <a:gd name="connsiteY38" fmla="*/ 297300 h 1538323"/>
                <a:gd name="connsiteX39" fmla="*/ 3231367 w 4453528"/>
                <a:gd name="connsiteY39" fmla="*/ 280026 h 1538323"/>
                <a:gd name="connsiteX40" fmla="*/ 3113996 w 4453528"/>
                <a:gd name="connsiteY40" fmla="*/ 273117 h 1538323"/>
                <a:gd name="connsiteX41" fmla="*/ 3076087 w 4453528"/>
                <a:gd name="connsiteY41" fmla="*/ 286936 h 1538323"/>
                <a:gd name="connsiteX42" fmla="*/ 3079448 w 4453528"/>
                <a:gd name="connsiteY42" fmla="*/ 318029 h 1538323"/>
                <a:gd name="connsiteX43" fmla="*/ 3051903 w 4453528"/>
                <a:gd name="connsiteY43" fmla="*/ 331848 h 1538323"/>
                <a:gd name="connsiteX44" fmla="*/ 3013901 w 4453528"/>
                <a:gd name="connsiteY44" fmla="*/ 345761 h 1538323"/>
                <a:gd name="connsiteX45" fmla="*/ 2968988 w 4453528"/>
                <a:gd name="connsiteY45" fmla="*/ 328394 h 1538323"/>
                <a:gd name="connsiteX46" fmla="*/ 2927623 w 4453528"/>
                <a:gd name="connsiteY46" fmla="*/ 342213 h 1538323"/>
                <a:gd name="connsiteX47" fmla="*/ 2882711 w 4453528"/>
                <a:gd name="connsiteY47" fmla="*/ 318029 h 1538323"/>
                <a:gd name="connsiteX48" fmla="*/ 2848163 w 4453528"/>
                <a:gd name="connsiteY48" fmla="*/ 369945 h 1538323"/>
                <a:gd name="connsiteX49" fmla="*/ 2810160 w 4453528"/>
                <a:gd name="connsiteY49" fmla="*/ 359580 h 1538323"/>
                <a:gd name="connsiteX50" fmla="*/ 2772251 w 4453528"/>
                <a:gd name="connsiteY50" fmla="*/ 314574 h 1538323"/>
                <a:gd name="connsiteX51" fmla="*/ 2792979 w 4453528"/>
                <a:gd name="connsiteY51" fmla="*/ 300755 h 1538323"/>
                <a:gd name="connsiteX52" fmla="*/ 2786070 w 4453528"/>
                <a:gd name="connsiteY52" fmla="*/ 269662 h 1538323"/>
                <a:gd name="connsiteX53" fmla="*/ 2754976 w 4453528"/>
                <a:gd name="connsiteY53" fmla="*/ 235114 h 1538323"/>
                <a:gd name="connsiteX54" fmla="*/ 2699700 w 4453528"/>
                <a:gd name="connsiteY54" fmla="*/ 238568 h 1538323"/>
                <a:gd name="connsiteX55" fmla="*/ 2665245 w 4453528"/>
                <a:gd name="connsiteY55" fmla="*/ 221294 h 1538323"/>
                <a:gd name="connsiteX56" fmla="*/ 2641061 w 4453528"/>
                <a:gd name="connsiteY56" fmla="*/ 217840 h 1538323"/>
                <a:gd name="connsiteX57" fmla="*/ 2627242 w 4453528"/>
                <a:gd name="connsiteY57" fmla="*/ 262752 h 1538323"/>
                <a:gd name="connsiteX58" fmla="*/ 2502962 w 4453528"/>
                <a:gd name="connsiteY58" fmla="*/ 248933 h 1538323"/>
                <a:gd name="connsiteX59" fmla="*/ 2502962 w 4453528"/>
                <a:gd name="connsiteY59" fmla="*/ 231659 h 1538323"/>
                <a:gd name="connsiteX60" fmla="*/ 2375228 w 4453528"/>
                <a:gd name="connsiteY60" fmla="*/ 228204 h 1538323"/>
                <a:gd name="connsiteX61" fmla="*/ 2357954 w 4453528"/>
                <a:gd name="connsiteY61" fmla="*/ 238568 h 1538323"/>
                <a:gd name="connsiteX62" fmla="*/ 2326860 w 4453528"/>
                <a:gd name="connsiteY62" fmla="*/ 217840 h 1538323"/>
                <a:gd name="connsiteX63" fmla="*/ 2306131 w 4453528"/>
                <a:gd name="connsiteY63" fmla="*/ 210930 h 1538323"/>
                <a:gd name="connsiteX64" fmla="*/ 2299222 w 4453528"/>
                <a:gd name="connsiteY64" fmla="*/ 193656 h 1538323"/>
                <a:gd name="connsiteX65" fmla="*/ 2271584 w 4453528"/>
                <a:gd name="connsiteY65" fmla="*/ 200566 h 1538323"/>
                <a:gd name="connsiteX66" fmla="*/ 2254403 w 4453528"/>
                <a:gd name="connsiteY66" fmla="*/ 217840 h 1538323"/>
                <a:gd name="connsiteX67" fmla="*/ 2257858 w 4453528"/>
                <a:gd name="connsiteY67" fmla="*/ 231659 h 1538323"/>
                <a:gd name="connsiteX68" fmla="*/ 2185306 w 4453528"/>
                <a:gd name="connsiteY68" fmla="*/ 252388 h 1538323"/>
                <a:gd name="connsiteX69" fmla="*/ 2147304 w 4453528"/>
                <a:gd name="connsiteY69" fmla="*/ 266207 h 1538323"/>
                <a:gd name="connsiteX70" fmla="*/ 2140394 w 4453528"/>
                <a:gd name="connsiteY70" fmla="*/ 259297 h 1538323"/>
                <a:gd name="connsiteX71" fmla="*/ 2226764 w 4453528"/>
                <a:gd name="connsiteY71" fmla="*/ 210930 h 1538323"/>
                <a:gd name="connsiteX72" fmla="*/ 2288857 w 4453528"/>
                <a:gd name="connsiteY72" fmla="*/ 176289 h 1538323"/>
                <a:gd name="connsiteX73" fmla="*/ 2347589 w 4453528"/>
                <a:gd name="connsiteY73" fmla="*/ 145195 h 1538323"/>
                <a:gd name="connsiteX74" fmla="*/ 2361409 w 4453528"/>
                <a:gd name="connsiteY74" fmla="*/ 110647 h 1538323"/>
                <a:gd name="connsiteX75" fmla="*/ 2354499 w 4453528"/>
                <a:gd name="connsiteY75" fmla="*/ 89918 h 1538323"/>
                <a:gd name="connsiteX76" fmla="*/ 2306131 w 4453528"/>
                <a:gd name="connsiteY76" fmla="*/ 58825 h 1538323"/>
                <a:gd name="connsiteX77" fmla="*/ 2174942 w 4453528"/>
                <a:gd name="connsiteY77" fmla="*/ 62280 h 1538323"/>
                <a:gd name="connsiteX78" fmla="*/ 2188761 w 4453528"/>
                <a:gd name="connsiteY78" fmla="*/ 38096 h 1538323"/>
                <a:gd name="connsiteX79" fmla="*/ 2116304 w 4453528"/>
                <a:gd name="connsiteY79" fmla="*/ 34641 h 1538323"/>
                <a:gd name="connsiteX80" fmla="*/ 2154213 w 4453528"/>
                <a:gd name="connsiteY80" fmla="*/ 13819 h 1538323"/>
                <a:gd name="connsiteX81" fmla="*/ 2123214 w 4453528"/>
                <a:gd name="connsiteY81" fmla="*/ 3455 h 1538323"/>
                <a:gd name="connsiteX82" fmla="*/ 2064481 w 4453528"/>
                <a:gd name="connsiteY82" fmla="*/ 0 h 1538323"/>
                <a:gd name="connsiteX83" fmla="*/ 2023024 w 4453528"/>
                <a:gd name="connsiteY83" fmla="*/ 34641 h 1538323"/>
                <a:gd name="connsiteX84" fmla="*/ 2029934 w 4453528"/>
                <a:gd name="connsiteY84" fmla="*/ 62280 h 1538323"/>
                <a:gd name="connsiteX85" fmla="*/ 1943656 w 4453528"/>
                <a:gd name="connsiteY85" fmla="*/ 89918 h 1538323"/>
                <a:gd name="connsiteX86" fmla="*/ 1884925 w 4453528"/>
                <a:gd name="connsiteY86" fmla="*/ 83009 h 1538323"/>
                <a:gd name="connsiteX87" fmla="*/ 1822832 w 4453528"/>
                <a:gd name="connsiteY87" fmla="*/ 89918 h 1538323"/>
                <a:gd name="connsiteX88" fmla="*/ 1677823 w 4453528"/>
                <a:gd name="connsiteY88" fmla="*/ 138286 h 1538323"/>
                <a:gd name="connsiteX89" fmla="*/ 1612182 w 4453528"/>
                <a:gd name="connsiteY89" fmla="*/ 169379 h 1538323"/>
                <a:gd name="connsiteX90" fmla="*/ 1632911 w 4453528"/>
                <a:gd name="connsiteY90" fmla="*/ 207475 h 1538323"/>
                <a:gd name="connsiteX91" fmla="*/ 1553543 w 4453528"/>
                <a:gd name="connsiteY91" fmla="*/ 221294 h 1538323"/>
                <a:gd name="connsiteX92" fmla="*/ 1474083 w 4453528"/>
                <a:gd name="connsiteY92" fmla="*/ 224749 h 1538323"/>
                <a:gd name="connsiteX93" fmla="*/ 1453447 w 4453528"/>
                <a:gd name="connsiteY93" fmla="*/ 238568 h 1538323"/>
                <a:gd name="connsiteX94" fmla="*/ 1463812 w 4453528"/>
                <a:gd name="connsiteY94" fmla="*/ 276571 h 1538323"/>
                <a:gd name="connsiteX95" fmla="*/ 1494812 w 4453528"/>
                <a:gd name="connsiteY95" fmla="*/ 300755 h 1538323"/>
                <a:gd name="connsiteX96" fmla="*/ 1518995 w 4453528"/>
                <a:gd name="connsiteY96" fmla="*/ 324939 h 1538323"/>
                <a:gd name="connsiteX97" fmla="*/ 1470721 w 4453528"/>
                <a:gd name="connsiteY97" fmla="*/ 324939 h 1538323"/>
                <a:gd name="connsiteX98" fmla="*/ 1436173 w 4453528"/>
                <a:gd name="connsiteY98" fmla="*/ 297300 h 1538323"/>
                <a:gd name="connsiteX99" fmla="*/ 1377442 w 4453528"/>
                <a:gd name="connsiteY99" fmla="*/ 280026 h 1538323"/>
                <a:gd name="connsiteX100" fmla="*/ 1367077 w 4453528"/>
                <a:gd name="connsiteY100" fmla="*/ 286936 h 1538323"/>
                <a:gd name="connsiteX101" fmla="*/ 1391261 w 4453528"/>
                <a:gd name="connsiteY101" fmla="*/ 314574 h 1538323"/>
                <a:gd name="connsiteX102" fmla="*/ 1356713 w 4453528"/>
                <a:gd name="connsiteY102" fmla="*/ 307665 h 1538323"/>
                <a:gd name="connsiteX103" fmla="*/ 1336077 w 4453528"/>
                <a:gd name="connsiteY103" fmla="*/ 314574 h 1538323"/>
                <a:gd name="connsiteX104" fmla="*/ 1349803 w 4453528"/>
                <a:gd name="connsiteY104" fmla="*/ 335303 h 1538323"/>
                <a:gd name="connsiteX105" fmla="*/ 1384351 w 4453528"/>
                <a:gd name="connsiteY105" fmla="*/ 345761 h 1538323"/>
                <a:gd name="connsiteX106" fmla="*/ 1408535 w 4453528"/>
                <a:gd name="connsiteY106" fmla="*/ 363035 h 1538323"/>
                <a:gd name="connsiteX107" fmla="*/ 1387806 w 4453528"/>
                <a:gd name="connsiteY107" fmla="*/ 363035 h 1538323"/>
                <a:gd name="connsiteX108" fmla="*/ 1346348 w 4453528"/>
                <a:gd name="connsiteY108" fmla="*/ 352671 h 1538323"/>
                <a:gd name="connsiteX109" fmla="*/ 1318803 w 4453528"/>
                <a:gd name="connsiteY109" fmla="*/ 345761 h 1538323"/>
                <a:gd name="connsiteX110" fmla="*/ 1311894 w 4453528"/>
                <a:gd name="connsiteY110" fmla="*/ 328394 h 1538323"/>
                <a:gd name="connsiteX111" fmla="*/ 1322258 w 4453528"/>
                <a:gd name="connsiteY111" fmla="*/ 304210 h 1538323"/>
                <a:gd name="connsiteX112" fmla="*/ 1318803 w 4453528"/>
                <a:gd name="connsiteY112" fmla="*/ 273117 h 1538323"/>
                <a:gd name="connsiteX113" fmla="*/ 1304984 w 4453528"/>
                <a:gd name="connsiteY113" fmla="*/ 273117 h 1538323"/>
                <a:gd name="connsiteX114" fmla="*/ 1301529 w 4453528"/>
                <a:gd name="connsiteY114" fmla="*/ 300755 h 1538323"/>
                <a:gd name="connsiteX115" fmla="*/ 1277345 w 4453528"/>
                <a:gd name="connsiteY115" fmla="*/ 311120 h 1538323"/>
                <a:gd name="connsiteX116" fmla="*/ 1256617 w 4453528"/>
                <a:gd name="connsiteY116" fmla="*/ 331848 h 1538323"/>
                <a:gd name="connsiteX117" fmla="*/ 1266981 w 4453528"/>
                <a:gd name="connsiteY117" fmla="*/ 352671 h 1538323"/>
                <a:gd name="connsiteX118" fmla="*/ 1284255 w 4453528"/>
                <a:gd name="connsiteY118" fmla="*/ 380309 h 1538323"/>
                <a:gd name="connsiteX119" fmla="*/ 1270436 w 4453528"/>
                <a:gd name="connsiteY119" fmla="*/ 414857 h 1538323"/>
                <a:gd name="connsiteX120" fmla="*/ 1270436 w 4453528"/>
                <a:gd name="connsiteY120" fmla="*/ 449405 h 1538323"/>
                <a:gd name="connsiteX121" fmla="*/ 1342894 w 4453528"/>
                <a:gd name="connsiteY121" fmla="*/ 452860 h 1538323"/>
                <a:gd name="connsiteX122" fmla="*/ 1377442 w 4453528"/>
                <a:gd name="connsiteY122" fmla="*/ 463224 h 1538323"/>
                <a:gd name="connsiteX123" fmla="*/ 1391261 w 4453528"/>
                <a:gd name="connsiteY123" fmla="*/ 490863 h 1538323"/>
                <a:gd name="connsiteX124" fmla="*/ 1367077 w 4453528"/>
                <a:gd name="connsiteY124" fmla="*/ 511685 h 1538323"/>
                <a:gd name="connsiteX125" fmla="*/ 1360167 w 4453528"/>
                <a:gd name="connsiteY125" fmla="*/ 483953 h 1538323"/>
                <a:gd name="connsiteX126" fmla="*/ 1342894 w 4453528"/>
                <a:gd name="connsiteY126" fmla="*/ 466679 h 1538323"/>
                <a:gd name="connsiteX127" fmla="*/ 1304984 w 4453528"/>
                <a:gd name="connsiteY127" fmla="*/ 459770 h 1538323"/>
                <a:gd name="connsiteX128" fmla="*/ 1287710 w 4453528"/>
                <a:gd name="connsiteY128" fmla="*/ 487408 h 1538323"/>
                <a:gd name="connsiteX129" fmla="*/ 1301529 w 4453528"/>
                <a:gd name="connsiteY129" fmla="*/ 515140 h 1538323"/>
                <a:gd name="connsiteX130" fmla="*/ 1253162 w 4453528"/>
                <a:gd name="connsiteY130" fmla="*/ 563507 h 1538323"/>
                <a:gd name="connsiteX131" fmla="*/ 1218614 w 4453528"/>
                <a:gd name="connsiteY131" fmla="*/ 591146 h 1538323"/>
                <a:gd name="connsiteX132" fmla="*/ 1187614 w 4453528"/>
                <a:gd name="connsiteY132" fmla="*/ 587691 h 1538323"/>
                <a:gd name="connsiteX133" fmla="*/ 1156520 w 4453528"/>
                <a:gd name="connsiteY133" fmla="*/ 580781 h 1538323"/>
                <a:gd name="connsiteX134" fmla="*/ 1135792 w 4453528"/>
                <a:gd name="connsiteY134" fmla="*/ 566962 h 1538323"/>
                <a:gd name="connsiteX135" fmla="*/ 1149611 w 4453528"/>
                <a:gd name="connsiteY135" fmla="*/ 560052 h 1538323"/>
                <a:gd name="connsiteX136" fmla="*/ 1177250 w 4453528"/>
                <a:gd name="connsiteY136" fmla="*/ 566962 h 1538323"/>
                <a:gd name="connsiteX137" fmla="*/ 1201433 w 4453528"/>
                <a:gd name="connsiteY137" fmla="*/ 556598 h 1538323"/>
                <a:gd name="connsiteX138" fmla="*/ 1249707 w 4453528"/>
                <a:gd name="connsiteY138" fmla="*/ 515140 h 1538323"/>
                <a:gd name="connsiteX139" fmla="*/ 1263526 w 4453528"/>
                <a:gd name="connsiteY139" fmla="*/ 483953 h 1538323"/>
                <a:gd name="connsiteX140" fmla="*/ 1235888 w 4453528"/>
                <a:gd name="connsiteY140" fmla="*/ 463224 h 1538323"/>
                <a:gd name="connsiteX141" fmla="*/ 1242797 w 4453528"/>
                <a:gd name="connsiteY141" fmla="*/ 387219 h 1538323"/>
                <a:gd name="connsiteX142" fmla="*/ 1235888 w 4453528"/>
                <a:gd name="connsiteY142" fmla="*/ 356125 h 1538323"/>
                <a:gd name="connsiteX143" fmla="*/ 1218614 w 4453528"/>
                <a:gd name="connsiteY143" fmla="*/ 342213 h 1538323"/>
                <a:gd name="connsiteX144" fmla="*/ 1235888 w 4453528"/>
                <a:gd name="connsiteY144" fmla="*/ 314574 h 1538323"/>
                <a:gd name="connsiteX145" fmla="*/ 1242797 w 4453528"/>
                <a:gd name="connsiteY145" fmla="*/ 283481 h 1538323"/>
                <a:gd name="connsiteX146" fmla="*/ 1235888 w 4453528"/>
                <a:gd name="connsiteY146" fmla="*/ 273117 h 1538323"/>
                <a:gd name="connsiteX147" fmla="*/ 1149611 w 4453528"/>
                <a:gd name="connsiteY147" fmla="*/ 266207 h 1538323"/>
                <a:gd name="connsiteX148" fmla="*/ 1121972 w 4453528"/>
                <a:gd name="connsiteY148" fmla="*/ 321484 h 1538323"/>
                <a:gd name="connsiteX149" fmla="*/ 1080515 w 4453528"/>
                <a:gd name="connsiteY149" fmla="*/ 352671 h 1538323"/>
                <a:gd name="connsiteX150" fmla="*/ 1077060 w 4453528"/>
                <a:gd name="connsiteY150" fmla="*/ 363035 h 1538323"/>
                <a:gd name="connsiteX151" fmla="*/ 1094334 w 4453528"/>
                <a:gd name="connsiteY151" fmla="*/ 373399 h 1538323"/>
                <a:gd name="connsiteX152" fmla="*/ 1080515 w 4453528"/>
                <a:gd name="connsiteY152" fmla="*/ 407948 h 1538323"/>
                <a:gd name="connsiteX153" fmla="*/ 1080515 w 4453528"/>
                <a:gd name="connsiteY153" fmla="*/ 425222 h 1538323"/>
                <a:gd name="connsiteX154" fmla="*/ 1111608 w 4453528"/>
                <a:gd name="connsiteY154" fmla="*/ 442496 h 1538323"/>
                <a:gd name="connsiteX155" fmla="*/ 1135792 w 4453528"/>
                <a:gd name="connsiteY155" fmla="*/ 466679 h 1538323"/>
                <a:gd name="connsiteX156" fmla="*/ 1121972 w 4453528"/>
                <a:gd name="connsiteY156" fmla="*/ 490863 h 1538323"/>
                <a:gd name="connsiteX157" fmla="*/ 1070150 w 4453528"/>
                <a:gd name="connsiteY157" fmla="*/ 463224 h 1538323"/>
                <a:gd name="connsiteX158" fmla="*/ 1021876 w 4453528"/>
                <a:gd name="connsiteY158" fmla="*/ 442496 h 1538323"/>
                <a:gd name="connsiteX159" fmla="*/ 963145 w 4453528"/>
                <a:gd name="connsiteY159" fmla="*/ 421767 h 1538323"/>
                <a:gd name="connsiteX160" fmla="*/ 907961 w 4453528"/>
                <a:gd name="connsiteY160" fmla="*/ 418312 h 1538323"/>
                <a:gd name="connsiteX161" fmla="*/ 873413 w 4453528"/>
                <a:gd name="connsiteY161" fmla="*/ 387219 h 1538323"/>
                <a:gd name="connsiteX162" fmla="*/ 859594 w 4453528"/>
                <a:gd name="connsiteY162" fmla="*/ 390673 h 1538323"/>
                <a:gd name="connsiteX163" fmla="*/ 859594 w 4453528"/>
                <a:gd name="connsiteY163" fmla="*/ 414857 h 1538323"/>
                <a:gd name="connsiteX164" fmla="*/ 897597 w 4453528"/>
                <a:gd name="connsiteY164" fmla="*/ 428676 h 1538323"/>
                <a:gd name="connsiteX165" fmla="*/ 918325 w 4453528"/>
                <a:gd name="connsiteY165" fmla="*/ 456315 h 1538323"/>
                <a:gd name="connsiteX166" fmla="*/ 890687 w 4453528"/>
                <a:gd name="connsiteY166" fmla="*/ 473589 h 1538323"/>
                <a:gd name="connsiteX167" fmla="*/ 883778 w 4453528"/>
                <a:gd name="connsiteY167" fmla="*/ 487408 h 1538323"/>
                <a:gd name="connsiteX168" fmla="*/ 866503 w 4453528"/>
                <a:gd name="connsiteY168" fmla="*/ 487408 h 1538323"/>
                <a:gd name="connsiteX169" fmla="*/ 869958 w 4453528"/>
                <a:gd name="connsiteY169" fmla="*/ 473589 h 1538323"/>
                <a:gd name="connsiteX170" fmla="*/ 863048 w 4453528"/>
                <a:gd name="connsiteY170" fmla="*/ 456315 h 1538323"/>
                <a:gd name="connsiteX171" fmla="*/ 821591 w 4453528"/>
                <a:gd name="connsiteY171" fmla="*/ 480498 h 1538323"/>
                <a:gd name="connsiteX172" fmla="*/ 759498 w 4453528"/>
                <a:gd name="connsiteY172" fmla="*/ 477044 h 1538323"/>
                <a:gd name="connsiteX173" fmla="*/ 752588 w 4453528"/>
                <a:gd name="connsiteY173" fmla="*/ 490863 h 1538323"/>
                <a:gd name="connsiteX174" fmla="*/ 718040 w 4453528"/>
                <a:gd name="connsiteY174" fmla="*/ 490863 h 1538323"/>
                <a:gd name="connsiteX175" fmla="*/ 724950 w 4453528"/>
                <a:gd name="connsiteY175" fmla="*/ 459770 h 1538323"/>
                <a:gd name="connsiteX176" fmla="*/ 704221 w 4453528"/>
                <a:gd name="connsiteY176" fmla="*/ 466679 h 1538323"/>
                <a:gd name="connsiteX177" fmla="*/ 683492 w 4453528"/>
                <a:gd name="connsiteY177" fmla="*/ 487408 h 1538323"/>
                <a:gd name="connsiteX178" fmla="*/ 666311 w 4453528"/>
                <a:gd name="connsiteY178" fmla="*/ 483953 h 1538323"/>
                <a:gd name="connsiteX179" fmla="*/ 566122 w 4453528"/>
                <a:gd name="connsiteY179" fmla="*/ 522050 h 1538323"/>
                <a:gd name="connsiteX180" fmla="*/ 548848 w 4453528"/>
                <a:gd name="connsiteY180" fmla="*/ 563507 h 1538323"/>
                <a:gd name="connsiteX181" fmla="*/ 507483 w 4453528"/>
                <a:gd name="connsiteY181" fmla="*/ 560052 h 1538323"/>
                <a:gd name="connsiteX182" fmla="*/ 479845 w 4453528"/>
                <a:gd name="connsiteY182" fmla="*/ 535869 h 1538323"/>
                <a:gd name="connsiteX183" fmla="*/ 497119 w 4453528"/>
                <a:gd name="connsiteY183" fmla="*/ 518595 h 1538323"/>
                <a:gd name="connsiteX184" fmla="*/ 524758 w 4453528"/>
                <a:gd name="connsiteY184" fmla="*/ 518595 h 1538323"/>
                <a:gd name="connsiteX185" fmla="*/ 524758 w 4453528"/>
                <a:gd name="connsiteY185" fmla="*/ 504682 h 1538323"/>
                <a:gd name="connsiteX186" fmla="*/ 504028 w 4453528"/>
                <a:gd name="connsiteY186" fmla="*/ 480498 h 1538323"/>
                <a:gd name="connsiteX187" fmla="*/ 445297 w 4453528"/>
                <a:gd name="connsiteY187" fmla="*/ 483953 h 1538323"/>
                <a:gd name="connsiteX188" fmla="*/ 459116 w 4453528"/>
                <a:gd name="connsiteY188" fmla="*/ 497773 h 1538323"/>
                <a:gd name="connsiteX189" fmla="*/ 452206 w 4453528"/>
                <a:gd name="connsiteY189" fmla="*/ 535869 h 1538323"/>
                <a:gd name="connsiteX190" fmla="*/ 466025 w 4453528"/>
                <a:gd name="connsiteY190" fmla="*/ 549688 h 1538323"/>
                <a:gd name="connsiteX191" fmla="*/ 455661 w 4453528"/>
                <a:gd name="connsiteY191" fmla="*/ 591146 h 1538323"/>
                <a:gd name="connsiteX192" fmla="*/ 407294 w 4453528"/>
                <a:gd name="connsiteY192" fmla="*/ 577327 h 1538323"/>
                <a:gd name="connsiteX193" fmla="*/ 390114 w 4453528"/>
                <a:gd name="connsiteY193" fmla="*/ 591146 h 1538323"/>
                <a:gd name="connsiteX194" fmla="*/ 359020 w 4453528"/>
                <a:gd name="connsiteY194" fmla="*/ 608420 h 1538323"/>
                <a:gd name="connsiteX195" fmla="*/ 338291 w 4453528"/>
                <a:gd name="connsiteY195" fmla="*/ 629149 h 1538323"/>
                <a:gd name="connsiteX196" fmla="*/ 355565 w 4453528"/>
                <a:gd name="connsiteY196" fmla="*/ 649877 h 1538323"/>
                <a:gd name="connsiteX197" fmla="*/ 355565 w 4453528"/>
                <a:gd name="connsiteY197" fmla="*/ 667152 h 1538323"/>
                <a:gd name="connsiteX198" fmla="*/ 310653 w 4453528"/>
                <a:gd name="connsiteY198" fmla="*/ 656787 h 1538323"/>
                <a:gd name="connsiteX199" fmla="*/ 289924 w 4453528"/>
                <a:gd name="connsiteY199" fmla="*/ 649877 h 1538323"/>
                <a:gd name="connsiteX200" fmla="*/ 269289 w 4453528"/>
                <a:gd name="connsiteY200" fmla="*/ 632603 h 1538323"/>
                <a:gd name="connsiteX201" fmla="*/ 255469 w 4453528"/>
                <a:gd name="connsiteY201" fmla="*/ 649877 h 1538323"/>
                <a:gd name="connsiteX202" fmla="*/ 272650 w 4453528"/>
                <a:gd name="connsiteY202" fmla="*/ 670700 h 1538323"/>
                <a:gd name="connsiteX203" fmla="*/ 293378 w 4453528"/>
                <a:gd name="connsiteY203" fmla="*/ 677609 h 1538323"/>
                <a:gd name="connsiteX204" fmla="*/ 289924 w 4453528"/>
                <a:gd name="connsiteY204" fmla="*/ 694883 h 1538323"/>
                <a:gd name="connsiteX205" fmla="*/ 255469 w 4453528"/>
                <a:gd name="connsiteY205" fmla="*/ 694883 h 1538323"/>
                <a:gd name="connsiteX206" fmla="*/ 227831 w 4453528"/>
                <a:gd name="connsiteY206" fmla="*/ 670700 h 1538323"/>
                <a:gd name="connsiteX207" fmla="*/ 210556 w 4453528"/>
                <a:gd name="connsiteY207" fmla="*/ 667152 h 1538323"/>
                <a:gd name="connsiteX208" fmla="*/ 200192 w 4453528"/>
                <a:gd name="connsiteY208" fmla="*/ 622239 h 1538323"/>
                <a:gd name="connsiteX209" fmla="*/ 196737 w 4453528"/>
                <a:gd name="connsiteY209" fmla="*/ 601510 h 1538323"/>
                <a:gd name="connsiteX210" fmla="*/ 182918 w 4453528"/>
                <a:gd name="connsiteY210" fmla="*/ 591146 h 1538323"/>
                <a:gd name="connsiteX211" fmla="*/ 155280 w 4453528"/>
                <a:gd name="connsiteY211" fmla="*/ 577327 h 1538323"/>
                <a:gd name="connsiteX212" fmla="*/ 131189 w 4453528"/>
                <a:gd name="connsiteY212" fmla="*/ 546233 h 1538323"/>
                <a:gd name="connsiteX213" fmla="*/ 162189 w 4453528"/>
                <a:gd name="connsiteY213" fmla="*/ 560052 h 1538323"/>
                <a:gd name="connsiteX214" fmla="*/ 200192 w 4453528"/>
                <a:gd name="connsiteY214" fmla="*/ 573872 h 1538323"/>
                <a:gd name="connsiteX215" fmla="*/ 252014 w 4453528"/>
                <a:gd name="connsiteY215" fmla="*/ 584236 h 1538323"/>
                <a:gd name="connsiteX216" fmla="*/ 296833 w 4453528"/>
                <a:gd name="connsiteY216" fmla="*/ 601510 h 1538323"/>
                <a:gd name="connsiteX217" fmla="*/ 348656 w 4453528"/>
                <a:gd name="connsiteY217" fmla="*/ 587691 h 1538323"/>
                <a:gd name="connsiteX218" fmla="*/ 379749 w 4453528"/>
                <a:gd name="connsiteY218" fmla="*/ 560052 h 1538323"/>
                <a:gd name="connsiteX219" fmla="*/ 376294 w 4453528"/>
                <a:gd name="connsiteY219" fmla="*/ 528959 h 1538323"/>
                <a:gd name="connsiteX220" fmla="*/ 324472 w 4453528"/>
                <a:gd name="connsiteY220" fmla="*/ 501227 h 1538323"/>
                <a:gd name="connsiteX221" fmla="*/ 279559 w 4453528"/>
                <a:gd name="connsiteY221" fmla="*/ 473589 h 1538323"/>
                <a:gd name="connsiteX222" fmla="*/ 231286 w 4453528"/>
                <a:gd name="connsiteY222" fmla="*/ 449405 h 1538323"/>
                <a:gd name="connsiteX223" fmla="*/ 165644 w 4453528"/>
                <a:gd name="connsiteY223" fmla="*/ 445950 h 1538323"/>
                <a:gd name="connsiteX224" fmla="*/ 148370 w 4453528"/>
                <a:gd name="connsiteY224" fmla="*/ 439041 h 1538323"/>
                <a:gd name="connsiteX225" fmla="*/ 138006 w 4453528"/>
                <a:gd name="connsiteY225" fmla="*/ 421767 h 1538323"/>
                <a:gd name="connsiteX226" fmla="*/ 107006 w 4453528"/>
                <a:gd name="connsiteY226" fmla="*/ 421767 h 1538323"/>
                <a:gd name="connsiteX227" fmla="*/ 69003 w 4453528"/>
                <a:gd name="connsiteY227" fmla="*/ 428676 h 1538323"/>
                <a:gd name="connsiteX228" fmla="*/ 69003 w 4453528"/>
                <a:gd name="connsiteY228" fmla="*/ 439041 h 1538323"/>
                <a:gd name="connsiteX229" fmla="*/ 51729 w 4453528"/>
                <a:gd name="connsiteY229" fmla="*/ 442496 h 1538323"/>
                <a:gd name="connsiteX230" fmla="*/ 34455 w 4453528"/>
                <a:gd name="connsiteY230" fmla="*/ 459770 h 1538323"/>
                <a:gd name="connsiteX231" fmla="*/ 27545 w 4453528"/>
                <a:gd name="connsiteY231" fmla="*/ 497773 h 1538323"/>
                <a:gd name="connsiteX232" fmla="*/ 69003 w 4453528"/>
                <a:gd name="connsiteY232" fmla="*/ 522050 h 1538323"/>
                <a:gd name="connsiteX233" fmla="*/ 41364 w 4453528"/>
                <a:gd name="connsiteY233" fmla="*/ 549688 h 1538323"/>
                <a:gd name="connsiteX234" fmla="*/ 58639 w 4453528"/>
                <a:gd name="connsiteY234" fmla="*/ 580781 h 1538323"/>
                <a:gd name="connsiteX235" fmla="*/ 69003 w 4453528"/>
                <a:gd name="connsiteY235" fmla="*/ 608420 h 1538323"/>
                <a:gd name="connsiteX236" fmla="*/ 69003 w 4453528"/>
                <a:gd name="connsiteY236" fmla="*/ 608420 h 1538323"/>
                <a:gd name="connsiteX237" fmla="*/ 69003 w 4453528"/>
                <a:gd name="connsiteY237" fmla="*/ 608420 h 1538323"/>
                <a:gd name="connsiteX238" fmla="*/ 55183 w 4453528"/>
                <a:gd name="connsiteY238" fmla="*/ 642968 h 1538323"/>
                <a:gd name="connsiteX239" fmla="*/ 72458 w 4453528"/>
                <a:gd name="connsiteY239" fmla="*/ 660242 h 1538323"/>
                <a:gd name="connsiteX240" fmla="*/ 86277 w 4453528"/>
                <a:gd name="connsiteY240" fmla="*/ 684519 h 1538323"/>
                <a:gd name="connsiteX241" fmla="*/ 69003 w 4453528"/>
                <a:gd name="connsiteY241" fmla="*/ 701793 h 1538323"/>
                <a:gd name="connsiteX242" fmla="*/ 110461 w 4453528"/>
                <a:gd name="connsiteY242" fmla="*/ 732886 h 1538323"/>
                <a:gd name="connsiteX243" fmla="*/ 96641 w 4453528"/>
                <a:gd name="connsiteY243" fmla="*/ 757070 h 1538323"/>
                <a:gd name="connsiteX244" fmla="*/ 51729 w 4453528"/>
                <a:gd name="connsiteY244" fmla="*/ 798528 h 1538323"/>
                <a:gd name="connsiteX245" fmla="*/ 21756 w 4453528"/>
                <a:gd name="connsiteY245" fmla="*/ 820564 h 1538323"/>
                <a:gd name="connsiteX246" fmla="*/ 37909 w 4453528"/>
                <a:gd name="connsiteY246" fmla="*/ 840079 h 1538323"/>
                <a:gd name="connsiteX247" fmla="*/ 69003 w 4453528"/>
                <a:gd name="connsiteY247" fmla="*/ 853898 h 1538323"/>
                <a:gd name="connsiteX248" fmla="*/ 44819 w 4453528"/>
                <a:gd name="connsiteY248" fmla="*/ 857353 h 1538323"/>
                <a:gd name="connsiteX249" fmla="*/ 13726 w 4453528"/>
                <a:gd name="connsiteY249" fmla="*/ 881536 h 1538323"/>
                <a:gd name="connsiteX250" fmla="*/ 3361 w 4453528"/>
                <a:gd name="connsiteY250" fmla="*/ 902265 h 1538323"/>
                <a:gd name="connsiteX251" fmla="*/ 3361 w 4453528"/>
                <a:gd name="connsiteY251" fmla="*/ 929904 h 1538323"/>
                <a:gd name="connsiteX252" fmla="*/ 0 w 4453528"/>
                <a:gd name="connsiteY252" fmla="*/ 950633 h 1538323"/>
                <a:gd name="connsiteX253" fmla="*/ 10364 w 4453528"/>
                <a:gd name="connsiteY253" fmla="*/ 971361 h 1538323"/>
                <a:gd name="connsiteX254" fmla="*/ 17181 w 4453528"/>
                <a:gd name="connsiteY254" fmla="*/ 999093 h 1538323"/>
                <a:gd name="connsiteX255" fmla="*/ 24090 w 4453528"/>
                <a:gd name="connsiteY255" fmla="*/ 1009458 h 1538323"/>
                <a:gd name="connsiteX256" fmla="*/ 55183 w 4453528"/>
                <a:gd name="connsiteY256" fmla="*/ 1016367 h 1538323"/>
                <a:gd name="connsiteX257" fmla="*/ 55183 w 4453528"/>
                <a:gd name="connsiteY257" fmla="*/ 1026732 h 1538323"/>
                <a:gd name="connsiteX258" fmla="*/ 89732 w 4453528"/>
                <a:gd name="connsiteY258" fmla="*/ 1030187 h 1538323"/>
                <a:gd name="connsiteX259" fmla="*/ 96641 w 4453528"/>
                <a:gd name="connsiteY259" fmla="*/ 1068189 h 1538323"/>
                <a:gd name="connsiteX260" fmla="*/ 144915 w 4453528"/>
                <a:gd name="connsiteY260" fmla="*/ 1120012 h 1538323"/>
                <a:gd name="connsiteX261" fmla="*/ 141461 w 4453528"/>
                <a:gd name="connsiteY261" fmla="*/ 1123466 h 1538323"/>
                <a:gd name="connsiteX262" fmla="*/ 110461 w 4453528"/>
                <a:gd name="connsiteY262" fmla="*/ 1123466 h 1538323"/>
                <a:gd name="connsiteX263" fmla="*/ 110461 w 4453528"/>
                <a:gd name="connsiteY263" fmla="*/ 1158108 h 1538323"/>
                <a:gd name="connsiteX264" fmla="*/ 124280 w 4453528"/>
                <a:gd name="connsiteY264" fmla="*/ 1165017 h 1538323"/>
                <a:gd name="connsiteX265" fmla="*/ 134644 w 4453528"/>
                <a:gd name="connsiteY265" fmla="*/ 1161563 h 1538323"/>
                <a:gd name="connsiteX266" fmla="*/ 141461 w 4453528"/>
                <a:gd name="connsiteY266" fmla="*/ 1154653 h 1538323"/>
                <a:gd name="connsiteX267" fmla="*/ 182918 w 4453528"/>
                <a:gd name="connsiteY267" fmla="*/ 1154653 h 1538323"/>
                <a:gd name="connsiteX268" fmla="*/ 189828 w 4453528"/>
                <a:gd name="connsiteY268" fmla="*/ 1171927 h 1538323"/>
                <a:gd name="connsiteX269" fmla="*/ 186373 w 4453528"/>
                <a:gd name="connsiteY269" fmla="*/ 1192656 h 1538323"/>
                <a:gd name="connsiteX270" fmla="*/ 217466 w 4453528"/>
                <a:gd name="connsiteY270" fmla="*/ 1199566 h 1538323"/>
                <a:gd name="connsiteX271" fmla="*/ 224376 w 4453528"/>
                <a:gd name="connsiteY271" fmla="*/ 1223749 h 1538323"/>
                <a:gd name="connsiteX272" fmla="*/ 279559 w 4453528"/>
                <a:gd name="connsiteY272" fmla="*/ 1227204 h 1538323"/>
                <a:gd name="connsiteX273" fmla="*/ 283014 w 4453528"/>
                <a:gd name="connsiteY273" fmla="*/ 1237568 h 1538323"/>
                <a:gd name="connsiteX274" fmla="*/ 317562 w 4453528"/>
                <a:gd name="connsiteY274" fmla="*/ 1237568 h 1538323"/>
                <a:gd name="connsiteX275" fmla="*/ 345201 w 4453528"/>
                <a:gd name="connsiteY275" fmla="*/ 1254842 h 1538323"/>
                <a:gd name="connsiteX276" fmla="*/ 341746 w 4453528"/>
                <a:gd name="connsiteY276" fmla="*/ 1310213 h 1538323"/>
                <a:gd name="connsiteX277" fmla="*/ 314108 w 4453528"/>
                <a:gd name="connsiteY277" fmla="*/ 1317122 h 1538323"/>
                <a:gd name="connsiteX278" fmla="*/ 296833 w 4453528"/>
                <a:gd name="connsiteY278" fmla="*/ 1324032 h 1538323"/>
                <a:gd name="connsiteX279" fmla="*/ 293378 w 4453528"/>
                <a:gd name="connsiteY279" fmla="*/ 1337851 h 1538323"/>
                <a:gd name="connsiteX280" fmla="*/ 324472 w 4453528"/>
                <a:gd name="connsiteY280" fmla="*/ 1341306 h 1538323"/>
                <a:gd name="connsiteX281" fmla="*/ 296833 w 4453528"/>
                <a:gd name="connsiteY281" fmla="*/ 1358580 h 1538323"/>
                <a:gd name="connsiteX282" fmla="*/ 300288 w 4453528"/>
                <a:gd name="connsiteY282" fmla="*/ 1375854 h 1538323"/>
                <a:gd name="connsiteX283" fmla="*/ 279559 w 4453528"/>
                <a:gd name="connsiteY283" fmla="*/ 1396583 h 1538323"/>
                <a:gd name="connsiteX284" fmla="*/ 272650 w 4453528"/>
                <a:gd name="connsiteY284" fmla="*/ 1420767 h 1538323"/>
                <a:gd name="connsiteX285" fmla="*/ 296833 w 4453528"/>
                <a:gd name="connsiteY285" fmla="*/ 1431131 h 1538323"/>
                <a:gd name="connsiteX286" fmla="*/ 341746 w 4453528"/>
                <a:gd name="connsiteY286" fmla="*/ 1462224 h 1538323"/>
                <a:gd name="connsiteX287" fmla="*/ 362475 w 4453528"/>
                <a:gd name="connsiteY287" fmla="*/ 1458769 h 1538323"/>
                <a:gd name="connsiteX288" fmla="*/ 383203 w 4453528"/>
                <a:gd name="connsiteY288" fmla="*/ 1472682 h 1538323"/>
                <a:gd name="connsiteX289" fmla="*/ 400478 w 4453528"/>
                <a:gd name="connsiteY289" fmla="*/ 1469134 h 1538323"/>
                <a:gd name="connsiteX290" fmla="*/ 414203 w 4453528"/>
                <a:gd name="connsiteY290" fmla="*/ 1469134 h 1538323"/>
                <a:gd name="connsiteX291" fmla="*/ 438387 w 4453528"/>
                <a:gd name="connsiteY291" fmla="*/ 1483047 h 1538323"/>
                <a:gd name="connsiteX292" fmla="*/ 455661 w 4453528"/>
                <a:gd name="connsiteY292" fmla="*/ 1489956 h 1538323"/>
                <a:gd name="connsiteX293" fmla="*/ 466025 w 4453528"/>
                <a:gd name="connsiteY293" fmla="*/ 1489956 h 1538323"/>
                <a:gd name="connsiteX294" fmla="*/ 483300 w 4453528"/>
                <a:gd name="connsiteY294" fmla="*/ 1486501 h 1538323"/>
                <a:gd name="connsiteX295" fmla="*/ 500574 w 4453528"/>
                <a:gd name="connsiteY295" fmla="*/ 1496866 h 1538323"/>
                <a:gd name="connsiteX296" fmla="*/ 517848 w 4453528"/>
                <a:gd name="connsiteY296" fmla="*/ 1514140 h 1538323"/>
                <a:gd name="connsiteX297" fmla="*/ 528212 w 4453528"/>
                <a:gd name="connsiteY297" fmla="*/ 1517595 h 1538323"/>
                <a:gd name="connsiteX298" fmla="*/ 555758 w 4453528"/>
                <a:gd name="connsiteY298" fmla="*/ 1538323 h 1538323"/>
                <a:gd name="connsiteX299" fmla="*/ 562667 w 4453528"/>
                <a:gd name="connsiteY299" fmla="*/ 1534869 h 1538323"/>
                <a:gd name="connsiteX300" fmla="*/ 579941 w 4453528"/>
                <a:gd name="connsiteY300" fmla="*/ 1517595 h 1538323"/>
                <a:gd name="connsiteX301" fmla="*/ 555758 w 4453528"/>
                <a:gd name="connsiteY301" fmla="*/ 1489956 h 1538323"/>
                <a:gd name="connsiteX302" fmla="*/ 552303 w 4453528"/>
                <a:gd name="connsiteY302" fmla="*/ 1458769 h 1538323"/>
                <a:gd name="connsiteX303" fmla="*/ 541938 w 4453528"/>
                <a:gd name="connsiteY303" fmla="*/ 1441496 h 1538323"/>
                <a:gd name="connsiteX304" fmla="*/ 528212 w 4453528"/>
                <a:gd name="connsiteY304" fmla="*/ 1431131 h 1538323"/>
                <a:gd name="connsiteX305" fmla="*/ 541938 w 4453528"/>
                <a:gd name="connsiteY305" fmla="*/ 1413857 h 1538323"/>
                <a:gd name="connsiteX306" fmla="*/ 548848 w 4453528"/>
                <a:gd name="connsiteY306" fmla="*/ 1400038 h 1538323"/>
                <a:gd name="connsiteX307" fmla="*/ 566122 w 4453528"/>
                <a:gd name="connsiteY307" fmla="*/ 1389673 h 1538323"/>
                <a:gd name="connsiteX308" fmla="*/ 593760 w 4453528"/>
                <a:gd name="connsiteY308" fmla="*/ 1368945 h 1538323"/>
                <a:gd name="connsiteX309" fmla="*/ 586850 w 4453528"/>
                <a:gd name="connsiteY309" fmla="*/ 1344761 h 1538323"/>
                <a:gd name="connsiteX310" fmla="*/ 566122 w 4453528"/>
                <a:gd name="connsiteY310" fmla="*/ 1317122 h 1538323"/>
                <a:gd name="connsiteX311" fmla="*/ 541938 w 4453528"/>
                <a:gd name="connsiteY311" fmla="*/ 1310213 h 1538323"/>
                <a:gd name="connsiteX312" fmla="*/ 524758 w 4453528"/>
                <a:gd name="connsiteY312" fmla="*/ 1285936 h 1538323"/>
                <a:gd name="connsiteX313" fmla="*/ 535122 w 4453528"/>
                <a:gd name="connsiteY313" fmla="*/ 1244478 h 1538323"/>
                <a:gd name="connsiteX314" fmla="*/ 555758 w 4453528"/>
                <a:gd name="connsiteY314" fmla="*/ 1220294 h 1538323"/>
                <a:gd name="connsiteX315" fmla="*/ 569577 w 4453528"/>
                <a:gd name="connsiteY315" fmla="*/ 1247933 h 1538323"/>
                <a:gd name="connsiteX316" fmla="*/ 583396 w 4453528"/>
                <a:gd name="connsiteY316" fmla="*/ 1241023 h 1538323"/>
                <a:gd name="connsiteX317" fmla="*/ 586850 w 4453528"/>
                <a:gd name="connsiteY317" fmla="*/ 1220294 h 1538323"/>
                <a:gd name="connsiteX318" fmla="*/ 628308 w 4453528"/>
                <a:gd name="connsiteY318" fmla="*/ 1189201 h 1538323"/>
                <a:gd name="connsiteX319" fmla="*/ 655947 w 4453528"/>
                <a:gd name="connsiteY319" fmla="*/ 1178837 h 1538323"/>
                <a:gd name="connsiteX320" fmla="*/ 718040 w 4453528"/>
                <a:gd name="connsiteY320" fmla="*/ 1189201 h 1538323"/>
                <a:gd name="connsiteX321" fmla="*/ 756043 w 4453528"/>
                <a:gd name="connsiteY321" fmla="*/ 1213385 h 1538323"/>
                <a:gd name="connsiteX322" fmla="*/ 783681 w 4453528"/>
                <a:gd name="connsiteY322" fmla="*/ 1216840 h 1538323"/>
                <a:gd name="connsiteX323" fmla="*/ 821591 w 4453528"/>
                <a:gd name="connsiteY323" fmla="*/ 1199566 h 1538323"/>
                <a:gd name="connsiteX324" fmla="*/ 852684 w 4453528"/>
                <a:gd name="connsiteY324" fmla="*/ 1199566 h 1538323"/>
                <a:gd name="connsiteX325" fmla="*/ 869958 w 4453528"/>
                <a:gd name="connsiteY325" fmla="*/ 1216840 h 1538323"/>
                <a:gd name="connsiteX326" fmla="*/ 914870 w 4453528"/>
                <a:gd name="connsiteY326" fmla="*/ 1213385 h 1538323"/>
                <a:gd name="connsiteX327" fmla="*/ 932145 w 4453528"/>
                <a:gd name="connsiteY327" fmla="*/ 1196111 h 1538323"/>
                <a:gd name="connsiteX328" fmla="*/ 918325 w 4453528"/>
                <a:gd name="connsiteY328" fmla="*/ 1182291 h 1538323"/>
                <a:gd name="connsiteX329" fmla="*/ 894142 w 4453528"/>
                <a:gd name="connsiteY329" fmla="*/ 1175382 h 1538323"/>
                <a:gd name="connsiteX330" fmla="*/ 904506 w 4453528"/>
                <a:gd name="connsiteY330" fmla="*/ 1161563 h 1538323"/>
                <a:gd name="connsiteX331" fmla="*/ 914870 w 4453528"/>
                <a:gd name="connsiteY331" fmla="*/ 1151105 h 1538323"/>
                <a:gd name="connsiteX332" fmla="*/ 918325 w 4453528"/>
                <a:gd name="connsiteY332" fmla="*/ 1133831 h 1538323"/>
                <a:gd name="connsiteX333" fmla="*/ 939054 w 4453528"/>
                <a:gd name="connsiteY333" fmla="*/ 1126921 h 1538323"/>
                <a:gd name="connsiteX334" fmla="*/ 932145 w 4453528"/>
                <a:gd name="connsiteY334" fmla="*/ 1113102 h 1538323"/>
                <a:gd name="connsiteX335" fmla="*/ 925235 w 4453528"/>
                <a:gd name="connsiteY335" fmla="*/ 1095828 h 1538323"/>
                <a:gd name="connsiteX336" fmla="*/ 963145 w 4453528"/>
                <a:gd name="connsiteY336" fmla="*/ 1092373 h 1538323"/>
                <a:gd name="connsiteX337" fmla="*/ 1115063 w 4453528"/>
                <a:gd name="connsiteY337" fmla="*/ 1050915 h 1538323"/>
                <a:gd name="connsiteX338" fmla="*/ 1153066 w 4453528"/>
                <a:gd name="connsiteY338" fmla="*/ 1044006 h 1538323"/>
                <a:gd name="connsiteX339" fmla="*/ 1187614 w 4453528"/>
                <a:gd name="connsiteY339" fmla="*/ 1047460 h 1538323"/>
                <a:gd name="connsiteX340" fmla="*/ 1194523 w 4453528"/>
                <a:gd name="connsiteY340" fmla="*/ 1071644 h 1538323"/>
                <a:gd name="connsiteX341" fmla="*/ 1211798 w 4453528"/>
                <a:gd name="connsiteY341" fmla="*/ 1082009 h 1538323"/>
                <a:gd name="connsiteX342" fmla="*/ 1246252 w 4453528"/>
                <a:gd name="connsiteY342" fmla="*/ 1092373 h 1538323"/>
                <a:gd name="connsiteX343" fmla="*/ 1280800 w 4453528"/>
                <a:gd name="connsiteY343" fmla="*/ 1109647 h 1538323"/>
                <a:gd name="connsiteX344" fmla="*/ 1311894 w 4453528"/>
                <a:gd name="connsiteY344" fmla="*/ 1092373 h 1538323"/>
                <a:gd name="connsiteX345" fmla="*/ 1349803 w 4453528"/>
                <a:gd name="connsiteY345" fmla="*/ 1082009 h 1538323"/>
                <a:gd name="connsiteX346" fmla="*/ 1353258 w 4453528"/>
                <a:gd name="connsiteY346" fmla="*/ 1099283 h 1538323"/>
                <a:gd name="connsiteX347" fmla="*/ 1384351 w 4453528"/>
                <a:gd name="connsiteY347" fmla="*/ 1120012 h 1538323"/>
                <a:gd name="connsiteX348" fmla="*/ 1411990 w 4453528"/>
                <a:gd name="connsiteY348" fmla="*/ 1161563 h 1538323"/>
                <a:gd name="connsiteX349" fmla="*/ 1436173 w 4453528"/>
                <a:gd name="connsiteY349" fmla="*/ 1203020 h 1538323"/>
                <a:gd name="connsiteX350" fmla="*/ 1449992 w 4453528"/>
                <a:gd name="connsiteY350" fmla="*/ 1203020 h 1538323"/>
                <a:gd name="connsiteX351" fmla="*/ 1456902 w 4453528"/>
                <a:gd name="connsiteY351" fmla="*/ 1189201 h 1538323"/>
                <a:gd name="connsiteX352" fmla="*/ 1494812 w 4453528"/>
                <a:gd name="connsiteY352" fmla="*/ 1209930 h 1538323"/>
                <a:gd name="connsiteX353" fmla="*/ 1543179 w 4453528"/>
                <a:gd name="connsiteY353" fmla="*/ 1203020 h 1538323"/>
                <a:gd name="connsiteX354" fmla="*/ 1560453 w 4453528"/>
                <a:gd name="connsiteY354" fmla="*/ 1227204 h 1538323"/>
                <a:gd name="connsiteX355" fmla="*/ 1584637 w 4453528"/>
                <a:gd name="connsiteY355" fmla="*/ 1244478 h 1538323"/>
                <a:gd name="connsiteX356" fmla="*/ 1622546 w 4453528"/>
                <a:gd name="connsiteY356" fmla="*/ 1247933 h 1538323"/>
                <a:gd name="connsiteX357" fmla="*/ 1629456 w 4453528"/>
                <a:gd name="connsiteY357" fmla="*/ 1272117 h 1538323"/>
                <a:gd name="connsiteX358" fmla="*/ 1657095 w 4453528"/>
                <a:gd name="connsiteY358" fmla="*/ 1272117 h 1538323"/>
                <a:gd name="connsiteX359" fmla="*/ 1670914 w 4453528"/>
                <a:gd name="connsiteY359" fmla="*/ 1258297 h 1538323"/>
                <a:gd name="connsiteX360" fmla="*/ 1695097 w 4453528"/>
                <a:gd name="connsiteY360" fmla="*/ 1254842 h 1538323"/>
                <a:gd name="connsiteX361" fmla="*/ 1708917 w 4453528"/>
                <a:gd name="connsiteY361" fmla="*/ 1241023 h 1538323"/>
                <a:gd name="connsiteX362" fmla="*/ 1767555 w 4453528"/>
                <a:gd name="connsiteY362" fmla="*/ 1209930 h 1538323"/>
                <a:gd name="connsiteX363" fmla="*/ 1798648 w 4453528"/>
                <a:gd name="connsiteY363" fmla="*/ 1213385 h 1538323"/>
                <a:gd name="connsiteX364" fmla="*/ 1833196 w 4453528"/>
                <a:gd name="connsiteY364" fmla="*/ 1220294 h 1538323"/>
                <a:gd name="connsiteX365" fmla="*/ 1850470 w 4453528"/>
                <a:gd name="connsiteY365" fmla="*/ 1241023 h 1538323"/>
                <a:gd name="connsiteX366" fmla="*/ 1905654 w 4453528"/>
                <a:gd name="connsiteY366" fmla="*/ 1241023 h 1538323"/>
                <a:gd name="connsiteX367" fmla="*/ 1919473 w 4453528"/>
                <a:gd name="connsiteY367" fmla="*/ 1251388 h 1538323"/>
                <a:gd name="connsiteX368" fmla="*/ 1940202 w 4453528"/>
                <a:gd name="connsiteY368" fmla="*/ 1234114 h 1538323"/>
                <a:gd name="connsiteX369" fmla="*/ 1943656 w 4453528"/>
                <a:gd name="connsiteY369" fmla="*/ 1220294 h 1538323"/>
                <a:gd name="connsiteX370" fmla="*/ 1922928 w 4453528"/>
                <a:gd name="connsiteY370" fmla="*/ 1196111 h 1538323"/>
                <a:gd name="connsiteX371" fmla="*/ 1954021 w 4453528"/>
                <a:gd name="connsiteY371" fmla="*/ 1165017 h 1538323"/>
                <a:gd name="connsiteX372" fmla="*/ 2002295 w 4453528"/>
                <a:gd name="connsiteY372" fmla="*/ 1175382 h 1538323"/>
                <a:gd name="connsiteX373" fmla="*/ 2043753 w 4453528"/>
                <a:gd name="connsiteY373" fmla="*/ 1189201 h 1538323"/>
                <a:gd name="connsiteX374" fmla="*/ 2047208 w 4453528"/>
                <a:gd name="connsiteY374" fmla="*/ 1206475 h 1538323"/>
                <a:gd name="connsiteX375" fmla="*/ 2064481 w 4453528"/>
                <a:gd name="connsiteY375" fmla="*/ 1227204 h 1538323"/>
                <a:gd name="connsiteX376" fmla="*/ 2109394 w 4453528"/>
                <a:gd name="connsiteY376" fmla="*/ 1234114 h 1538323"/>
                <a:gd name="connsiteX377" fmla="*/ 2133578 w 4453528"/>
                <a:gd name="connsiteY377" fmla="*/ 1220294 h 1538323"/>
                <a:gd name="connsiteX378" fmla="*/ 2174942 w 4453528"/>
                <a:gd name="connsiteY378" fmla="*/ 1227204 h 1538323"/>
                <a:gd name="connsiteX379" fmla="*/ 2185306 w 4453528"/>
                <a:gd name="connsiteY379" fmla="*/ 1237568 h 1538323"/>
                <a:gd name="connsiteX380" fmla="*/ 2202581 w 4453528"/>
                <a:gd name="connsiteY380" fmla="*/ 1241023 h 1538323"/>
                <a:gd name="connsiteX381" fmla="*/ 2212945 w 4453528"/>
                <a:gd name="connsiteY381" fmla="*/ 1254842 h 1538323"/>
                <a:gd name="connsiteX382" fmla="*/ 2223309 w 4453528"/>
                <a:gd name="connsiteY382" fmla="*/ 1265207 h 1538323"/>
                <a:gd name="connsiteX383" fmla="*/ 2261312 w 4453528"/>
                <a:gd name="connsiteY383" fmla="*/ 1268662 h 1538323"/>
                <a:gd name="connsiteX384" fmla="*/ 2292312 w 4453528"/>
                <a:gd name="connsiteY384" fmla="*/ 1265207 h 1538323"/>
                <a:gd name="connsiteX385" fmla="*/ 2344134 w 4453528"/>
                <a:gd name="connsiteY385" fmla="*/ 1254842 h 1538323"/>
                <a:gd name="connsiteX386" fmla="*/ 2375228 w 4453528"/>
                <a:gd name="connsiteY386" fmla="*/ 1230659 h 1538323"/>
                <a:gd name="connsiteX387" fmla="*/ 2392502 w 4453528"/>
                <a:gd name="connsiteY387" fmla="*/ 1227204 h 1538323"/>
                <a:gd name="connsiteX388" fmla="*/ 2406228 w 4453528"/>
                <a:gd name="connsiteY388" fmla="*/ 1237568 h 1538323"/>
                <a:gd name="connsiteX389" fmla="*/ 2447685 w 4453528"/>
                <a:gd name="connsiteY389" fmla="*/ 1241023 h 1538323"/>
                <a:gd name="connsiteX390" fmla="*/ 2478779 w 4453528"/>
                <a:gd name="connsiteY390" fmla="*/ 1258297 h 1538323"/>
                <a:gd name="connsiteX391" fmla="*/ 2496053 w 4453528"/>
                <a:gd name="connsiteY391" fmla="*/ 1241023 h 1538323"/>
                <a:gd name="connsiteX392" fmla="*/ 2516781 w 4453528"/>
                <a:gd name="connsiteY392" fmla="*/ 1237568 h 1538323"/>
                <a:gd name="connsiteX393" fmla="*/ 2523691 w 4453528"/>
                <a:gd name="connsiteY393" fmla="*/ 1209930 h 1538323"/>
                <a:gd name="connsiteX394" fmla="*/ 2540872 w 4453528"/>
                <a:gd name="connsiteY394" fmla="*/ 1178837 h 1538323"/>
                <a:gd name="connsiteX395" fmla="*/ 2558146 w 4453528"/>
                <a:gd name="connsiteY395" fmla="*/ 1168472 h 1538323"/>
                <a:gd name="connsiteX396" fmla="*/ 2558146 w 4453528"/>
                <a:gd name="connsiteY396" fmla="*/ 1144195 h 1538323"/>
                <a:gd name="connsiteX397" fmla="*/ 2537510 w 4453528"/>
                <a:gd name="connsiteY397" fmla="*/ 1140740 h 1538323"/>
                <a:gd name="connsiteX398" fmla="*/ 2540872 w 4453528"/>
                <a:gd name="connsiteY398" fmla="*/ 1126921 h 1538323"/>
                <a:gd name="connsiteX399" fmla="*/ 2565056 w 4453528"/>
                <a:gd name="connsiteY399" fmla="*/ 1116557 h 1538323"/>
                <a:gd name="connsiteX400" fmla="*/ 2641061 w 4453528"/>
                <a:gd name="connsiteY400" fmla="*/ 1109647 h 1538323"/>
                <a:gd name="connsiteX401" fmla="*/ 2668700 w 4453528"/>
                <a:gd name="connsiteY401" fmla="*/ 1120012 h 1538323"/>
                <a:gd name="connsiteX402" fmla="*/ 2692790 w 4453528"/>
                <a:gd name="connsiteY402" fmla="*/ 1130376 h 1538323"/>
                <a:gd name="connsiteX403" fmla="*/ 2713519 w 4453528"/>
                <a:gd name="connsiteY403" fmla="*/ 1165017 h 1538323"/>
                <a:gd name="connsiteX404" fmla="*/ 2732567 w 4453528"/>
                <a:gd name="connsiteY404" fmla="*/ 1209930 h 1538323"/>
                <a:gd name="connsiteX405" fmla="*/ 2741157 w 4453528"/>
                <a:gd name="connsiteY405" fmla="*/ 1227204 h 1538323"/>
                <a:gd name="connsiteX406" fmla="*/ 2751522 w 4453528"/>
                <a:gd name="connsiteY406" fmla="*/ 1254842 h 1538323"/>
                <a:gd name="connsiteX407" fmla="*/ 2779160 w 4453528"/>
                <a:gd name="connsiteY407" fmla="*/ 1254842 h 1538323"/>
                <a:gd name="connsiteX408" fmla="*/ 2830889 w 4453528"/>
                <a:gd name="connsiteY408" fmla="*/ 1282481 h 1538323"/>
                <a:gd name="connsiteX409" fmla="*/ 2837798 w 4453528"/>
                <a:gd name="connsiteY409" fmla="*/ 1317122 h 1538323"/>
                <a:gd name="connsiteX410" fmla="*/ 2875801 w 4453528"/>
                <a:gd name="connsiteY410" fmla="*/ 1320577 h 1538323"/>
                <a:gd name="connsiteX411" fmla="*/ 2886166 w 4453528"/>
                <a:gd name="connsiteY411" fmla="*/ 1306758 h 1538323"/>
                <a:gd name="connsiteX412" fmla="*/ 2910350 w 4453528"/>
                <a:gd name="connsiteY412" fmla="*/ 1303303 h 1538323"/>
                <a:gd name="connsiteX413" fmla="*/ 2937988 w 4453528"/>
                <a:gd name="connsiteY413" fmla="*/ 1299755 h 1538323"/>
                <a:gd name="connsiteX414" fmla="*/ 2941443 w 4453528"/>
                <a:gd name="connsiteY414" fmla="*/ 1324032 h 1538323"/>
                <a:gd name="connsiteX415" fmla="*/ 2927623 w 4453528"/>
                <a:gd name="connsiteY415" fmla="*/ 1330942 h 1538323"/>
                <a:gd name="connsiteX416" fmla="*/ 2917259 w 4453528"/>
                <a:gd name="connsiteY416" fmla="*/ 1368945 h 1538323"/>
                <a:gd name="connsiteX417" fmla="*/ 2896530 w 4453528"/>
                <a:gd name="connsiteY417" fmla="*/ 1406947 h 1538323"/>
                <a:gd name="connsiteX418" fmla="*/ 2875801 w 4453528"/>
                <a:gd name="connsiteY418" fmla="*/ 1410402 h 1538323"/>
                <a:gd name="connsiteX419" fmla="*/ 2865437 w 4453528"/>
                <a:gd name="connsiteY419" fmla="*/ 1400038 h 1538323"/>
                <a:gd name="connsiteX420" fmla="*/ 2841253 w 4453528"/>
                <a:gd name="connsiteY420" fmla="*/ 1417312 h 1538323"/>
                <a:gd name="connsiteX421" fmla="*/ 2841253 w 4453528"/>
                <a:gd name="connsiteY421" fmla="*/ 1479592 h 1538323"/>
                <a:gd name="connsiteX422" fmla="*/ 2872347 w 4453528"/>
                <a:gd name="connsiteY422" fmla="*/ 1472682 h 1538323"/>
                <a:gd name="connsiteX423" fmla="*/ 2896530 w 4453528"/>
                <a:gd name="connsiteY423" fmla="*/ 1486501 h 1538323"/>
                <a:gd name="connsiteX424" fmla="*/ 2927623 w 4453528"/>
                <a:gd name="connsiteY424" fmla="*/ 1472682 h 1538323"/>
                <a:gd name="connsiteX425" fmla="*/ 2951714 w 4453528"/>
                <a:gd name="connsiteY425" fmla="*/ 1455315 h 1538323"/>
                <a:gd name="connsiteX426" fmla="*/ 2982807 w 4453528"/>
                <a:gd name="connsiteY426" fmla="*/ 1417312 h 1538323"/>
                <a:gd name="connsiteX427" fmla="*/ 3086358 w 4453528"/>
                <a:gd name="connsiteY427" fmla="*/ 1289391 h 1538323"/>
                <a:gd name="connsiteX428" fmla="*/ 3096723 w 4453528"/>
                <a:gd name="connsiteY428" fmla="*/ 1258297 h 1538323"/>
                <a:gd name="connsiteX429" fmla="*/ 3100177 w 4453528"/>
                <a:gd name="connsiteY429" fmla="*/ 1203020 h 1538323"/>
                <a:gd name="connsiteX430" fmla="*/ 3113996 w 4453528"/>
                <a:gd name="connsiteY430" fmla="*/ 1165017 h 1538323"/>
                <a:gd name="connsiteX431" fmla="*/ 3120906 w 4453528"/>
                <a:gd name="connsiteY431" fmla="*/ 1126921 h 1538323"/>
                <a:gd name="connsiteX432" fmla="*/ 3093268 w 4453528"/>
                <a:gd name="connsiteY432" fmla="*/ 1092373 h 1538323"/>
                <a:gd name="connsiteX433" fmla="*/ 3055358 w 4453528"/>
                <a:gd name="connsiteY433" fmla="*/ 1085463 h 1538323"/>
                <a:gd name="connsiteX434" fmla="*/ 3031174 w 4453528"/>
                <a:gd name="connsiteY434" fmla="*/ 1106192 h 1538323"/>
                <a:gd name="connsiteX435" fmla="*/ 3013901 w 4453528"/>
                <a:gd name="connsiteY435" fmla="*/ 1078554 h 1538323"/>
                <a:gd name="connsiteX436" fmla="*/ 2996626 w 4453528"/>
                <a:gd name="connsiteY436" fmla="*/ 1099283 h 1538323"/>
                <a:gd name="connsiteX437" fmla="*/ 2993171 w 4453528"/>
                <a:gd name="connsiteY437" fmla="*/ 1071644 h 1538323"/>
                <a:gd name="connsiteX438" fmla="*/ 2958623 w 4453528"/>
                <a:gd name="connsiteY438" fmla="*/ 1075099 h 1538323"/>
                <a:gd name="connsiteX439" fmla="*/ 2955169 w 4453528"/>
                <a:gd name="connsiteY439" fmla="*/ 1057825 h 1538323"/>
                <a:gd name="connsiteX440" fmla="*/ 3155454 w 4453528"/>
                <a:gd name="connsiteY440" fmla="*/ 884991 h 1538323"/>
                <a:gd name="connsiteX441" fmla="*/ 3245186 w 4453528"/>
                <a:gd name="connsiteY441" fmla="*/ 884991 h 1538323"/>
                <a:gd name="connsiteX442" fmla="*/ 3269370 w 4453528"/>
                <a:gd name="connsiteY442" fmla="*/ 881536 h 1538323"/>
                <a:gd name="connsiteX443" fmla="*/ 3321192 w 4453528"/>
                <a:gd name="connsiteY443" fmla="*/ 884991 h 1538323"/>
                <a:gd name="connsiteX444" fmla="*/ 3331556 w 4453528"/>
                <a:gd name="connsiteY444" fmla="*/ 871172 h 1538323"/>
                <a:gd name="connsiteX445" fmla="*/ 3355646 w 4453528"/>
                <a:gd name="connsiteY445" fmla="*/ 867717 h 1538323"/>
                <a:gd name="connsiteX446" fmla="*/ 3393649 w 4453528"/>
                <a:gd name="connsiteY446" fmla="*/ 871172 h 1538323"/>
                <a:gd name="connsiteX447" fmla="*/ 3404014 w 4453528"/>
                <a:gd name="connsiteY447" fmla="*/ 884991 h 1538323"/>
                <a:gd name="connsiteX448" fmla="*/ 3390195 w 4453528"/>
                <a:gd name="connsiteY448" fmla="*/ 898810 h 1538323"/>
                <a:gd name="connsiteX449" fmla="*/ 3442017 w 4453528"/>
                <a:gd name="connsiteY449" fmla="*/ 895356 h 1538323"/>
                <a:gd name="connsiteX450" fmla="*/ 3469655 w 4453528"/>
                <a:gd name="connsiteY450" fmla="*/ 891901 h 1538323"/>
                <a:gd name="connsiteX451" fmla="*/ 3497200 w 4453528"/>
                <a:gd name="connsiteY451" fmla="*/ 891901 h 1538323"/>
                <a:gd name="connsiteX452" fmla="*/ 3479926 w 4453528"/>
                <a:gd name="connsiteY452" fmla="*/ 874627 h 1538323"/>
                <a:gd name="connsiteX453" fmla="*/ 3473017 w 4453528"/>
                <a:gd name="connsiteY453" fmla="*/ 867717 h 1538323"/>
                <a:gd name="connsiteX454" fmla="*/ 3486836 w 4453528"/>
                <a:gd name="connsiteY454" fmla="*/ 840079 h 1538323"/>
                <a:gd name="connsiteX455" fmla="*/ 3552477 w 4453528"/>
                <a:gd name="connsiteY455" fmla="*/ 788163 h 1538323"/>
                <a:gd name="connsiteX456" fmla="*/ 3621480 w 4453528"/>
                <a:gd name="connsiteY456" fmla="*/ 788163 h 1538323"/>
                <a:gd name="connsiteX457" fmla="*/ 3638754 w 4453528"/>
                <a:gd name="connsiteY457" fmla="*/ 781254 h 1538323"/>
                <a:gd name="connsiteX458" fmla="*/ 3624935 w 4453528"/>
                <a:gd name="connsiteY458" fmla="*/ 808892 h 1538323"/>
                <a:gd name="connsiteX459" fmla="*/ 3638754 w 4453528"/>
                <a:gd name="connsiteY459" fmla="*/ 822711 h 1538323"/>
                <a:gd name="connsiteX460" fmla="*/ 3694031 w 4453528"/>
                <a:gd name="connsiteY460" fmla="*/ 788163 h 1538323"/>
                <a:gd name="connsiteX461" fmla="*/ 3718215 w 4453528"/>
                <a:gd name="connsiteY461" fmla="*/ 788163 h 1538323"/>
                <a:gd name="connsiteX462" fmla="*/ 3718215 w 4453528"/>
                <a:gd name="connsiteY462" fmla="*/ 757070 h 1538323"/>
                <a:gd name="connsiteX463" fmla="*/ 3728579 w 4453528"/>
                <a:gd name="connsiteY463" fmla="*/ 746706 h 1538323"/>
                <a:gd name="connsiteX464" fmla="*/ 3738943 w 4453528"/>
                <a:gd name="connsiteY464" fmla="*/ 743251 h 1538323"/>
                <a:gd name="connsiteX465" fmla="*/ 3766488 w 4453528"/>
                <a:gd name="connsiteY465" fmla="*/ 753615 h 1538323"/>
                <a:gd name="connsiteX466" fmla="*/ 3752669 w 4453528"/>
                <a:gd name="connsiteY466" fmla="*/ 760525 h 1538323"/>
                <a:gd name="connsiteX467" fmla="*/ 3725124 w 4453528"/>
                <a:gd name="connsiteY467" fmla="*/ 822711 h 1538323"/>
                <a:gd name="connsiteX468" fmla="*/ 3707850 w 4453528"/>
                <a:gd name="connsiteY468" fmla="*/ 829621 h 1538323"/>
                <a:gd name="connsiteX469" fmla="*/ 3652573 w 4453528"/>
                <a:gd name="connsiteY469" fmla="*/ 867717 h 1538323"/>
                <a:gd name="connsiteX470" fmla="*/ 3580115 w 4453528"/>
                <a:gd name="connsiteY470" fmla="*/ 936813 h 1538323"/>
                <a:gd name="connsiteX471" fmla="*/ 3552477 w 4453528"/>
                <a:gd name="connsiteY471" fmla="*/ 943723 h 1538323"/>
                <a:gd name="connsiteX472" fmla="*/ 3531748 w 4453528"/>
                <a:gd name="connsiteY472" fmla="*/ 981819 h 1538323"/>
                <a:gd name="connsiteX473" fmla="*/ 3511019 w 4453528"/>
                <a:gd name="connsiteY473" fmla="*/ 1006003 h 1538323"/>
                <a:gd name="connsiteX474" fmla="*/ 3511019 w 4453528"/>
                <a:gd name="connsiteY474" fmla="*/ 1068189 h 1538323"/>
                <a:gd name="connsiteX475" fmla="*/ 3531748 w 4453528"/>
                <a:gd name="connsiteY475" fmla="*/ 1154653 h 1538323"/>
                <a:gd name="connsiteX476" fmla="*/ 3538658 w 4453528"/>
                <a:gd name="connsiteY476" fmla="*/ 1209930 h 1538323"/>
                <a:gd name="connsiteX477" fmla="*/ 3590480 w 4453528"/>
                <a:gd name="connsiteY477" fmla="*/ 1158108 h 1538323"/>
                <a:gd name="connsiteX478" fmla="*/ 3590480 w 4453528"/>
                <a:gd name="connsiteY478" fmla="*/ 1133831 h 1538323"/>
                <a:gd name="connsiteX479" fmla="*/ 3631844 w 4453528"/>
                <a:gd name="connsiteY479" fmla="*/ 1120012 h 1538323"/>
                <a:gd name="connsiteX480" fmla="*/ 3635299 w 4453528"/>
                <a:gd name="connsiteY480" fmla="*/ 1113102 h 1538323"/>
                <a:gd name="connsiteX481" fmla="*/ 3631844 w 4453528"/>
                <a:gd name="connsiteY481" fmla="*/ 1106192 h 1538323"/>
                <a:gd name="connsiteX482" fmla="*/ 3631844 w 4453528"/>
                <a:gd name="connsiteY482" fmla="*/ 1095828 h 1538323"/>
                <a:gd name="connsiteX483" fmla="*/ 3645663 w 4453528"/>
                <a:gd name="connsiteY483" fmla="*/ 1082009 h 1538323"/>
                <a:gd name="connsiteX484" fmla="*/ 3687121 w 4453528"/>
                <a:gd name="connsiteY484" fmla="*/ 1068189 h 1538323"/>
                <a:gd name="connsiteX485" fmla="*/ 3676757 w 4453528"/>
                <a:gd name="connsiteY485" fmla="*/ 1037096 h 1538323"/>
                <a:gd name="connsiteX486" fmla="*/ 3687121 w 4453528"/>
                <a:gd name="connsiteY486" fmla="*/ 1012912 h 1538323"/>
                <a:gd name="connsiteX487" fmla="*/ 3718215 w 4453528"/>
                <a:gd name="connsiteY487" fmla="*/ 1002548 h 1538323"/>
                <a:gd name="connsiteX488" fmla="*/ 3707850 w 4453528"/>
                <a:gd name="connsiteY488" fmla="*/ 974816 h 1538323"/>
                <a:gd name="connsiteX489" fmla="*/ 3714760 w 4453528"/>
                <a:gd name="connsiteY489" fmla="*/ 943723 h 1538323"/>
                <a:gd name="connsiteX490" fmla="*/ 3687121 w 4453528"/>
                <a:gd name="connsiteY490" fmla="*/ 943723 h 1538323"/>
                <a:gd name="connsiteX491" fmla="*/ 3687121 w 4453528"/>
                <a:gd name="connsiteY491" fmla="*/ 922994 h 1538323"/>
                <a:gd name="connsiteX492" fmla="*/ 3728579 w 4453528"/>
                <a:gd name="connsiteY492" fmla="*/ 857353 h 1538323"/>
                <a:gd name="connsiteX493" fmla="*/ 3776853 w 4453528"/>
                <a:gd name="connsiteY493" fmla="*/ 857353 h 1538323"/>
                <a:gd name="connsiteX494" fmla="*/ 3783762 w 4453528"/>
                <a:gd name="connsiteY494" fmla="*/ 836624 h 1538323"/>
                <a:gd name="connsiteX495" fmla="*/ 3801037 w 4453528"/>
                <a:gd name="connsiteY495" fmla="*/ 836624 h 1538323"/>
                <a:gd name="connsiteX496" fmla="*/ 3807946 w 4453528"/>
                <a:gd name="connsiteY496" fmla="*/ 864262 h 1538323"/>
                <a:gd name="connsiteX497" fmla="*/ 3835585 w 4453528"/>
                <a:gd name="connsiteY497" fmla="*/ 836624 h 1538323"/>
                <a:gd name="connsiteX498" fmla="*/ 3887313 w 4453528"/>
                <a:gd name="connsiteY498" fmla="*/ 836624 h 1538323"/>
                <a:gd name="connsiteX499" fmla="*/ 3911497 w 4453528"/>
                <a:gd name="connsiteY499" fmla="*/ 857353 h 1538323"/>
                <a:gd name="connsiteX500" fmla="*/ 3980593 w 4453528"/>
                <a:gd name="connsiteY500" fmla="*/ 801982 h 1538323"/>
                <a:gd name="connsiteX501" fmla="*/ 4015048 w 4453528"/>
                <a:gd name="connsiteY501" fmla="*/ 784708 h 1538323"/>
                <a:gd name="connsiteX502" fmla="*/ 4077234 w 4453528"/>
                <a:gd name="connsiteY502" fmla="*/ 757070 h 1538323"/>
                <a:gd name="connsiteX503" fmla="*/ 4097963 w 4453528"/>
                <a:gd name="connsiteY503" fmla="*/ 739796 h 1538323"/>
                <a:gd name="connsiteX504" fmla="*/ 4142876 w 4453528"/>
                <a:gd name="connsiteY504" fmla="*/ 757070 h 1538323"/>
                <a:gd name="connsiteX505" fmla="*/ 4166966 w 4453528"/>
                <a:gd name="connsiteY505" fmla="*/ 743251 h 1538323"/>
                <a:gd name="connsiteX506" fmla="*/ 4146331 w 4453528"/>
                <a:gd name="connsiteY506" fmla="*/ 712157 h 1538323"/>
                <a:gd name="connsiteX507" fmla="*/ 4135966 w 4453528"/>
                <a:gd name="connsiteY507" fmla="*/ 681064 h 1538323"/>
                <a:gd name="connsiteX508" fmla="*/ 4111782 w 4453528"/>
                <a:gd name="connsiteY508" fmla="*/ 667152 h 1538323"/>
                <a:gd name="connsiteX509" fmla="*/ 4087599 w 4453528"/>
                <a:gd name="connsiteY509" fmla="*/ 656787 h 1538323"/>
                <a:gd name="connsiteX510" fmla="*/ 4091054 w 4453528"/>
                <a:gd name="connsiteY510" fmla="*/ 642968 h 1538323"/>
                <a:gd name="connsiteX511" fmla="*/ 4104873 w 4453528"/>
                <a:gd name="connsiteY511" fmla="*/ 653332 h 1538323"/>
                <a:gd name="connsiteX512" fmla="*/ 4129057 w 4453528"/>
                <a:gd name="connsiteY512" fmla="*/ 656787 h 1538323"/>
                <a:gd name="connsiteX513" fmla="*/ 4163511 w 4453528"/>
                <a:gd name="connsiteY513" fmla="*/ 653332 h 1538323"/>
                <a:gd name="connsiteX514" fmla="*/ 4194604 w 4453528"/>
                <a:gd name="connsiteY514" fmla="*/ 625694 h 1538323"/>
                <a:gd name="connsiteX515" fmla="*/ 4184240 w 4453528"/>
                <a:gd name="connsiteY515" fmla="*/ 615329 h 1538323"/>
                <a:gd name="connsiteX516" fmla="*/ 4187695 w 4453528"/>
                <a:gd name="connsiteY516" fmla="*/ 591146 h 1538323"/>
                <a:gd name="connsiteX517" fmla="*/ 4211879 w 4453528"/>
                <a:gd name="connsiteY517" fmla="*/ 587691 h 1538323"/>
                <a:gd name="connsiteX518" fmla="*/ 4222243 w 4453528"/>
                <a:gd name="connsiteY518" fmla="*/ 622239 h 1538323"/>
                <a:gd name="connsiteX519" fmla="*/ 4294701 w 4453528"/>
                <a:gd name="connsiteY519" fmla="*/ 618784 h 1538323"/>
                <a:gd name="connsiteX520" fmla="*/ 4291246 w 4453528"/>
                <a:gd name="connsiteY520" fmla="*/ 646423 h 1538323"/>
                <a:gd name="connsiteX521" fmla="*/ 4318884 w 4453528"/>
                <a:gd name="connsiteY521" fmla="*/ 656787 h 1538323"/>
                <a:gd name="connsiteX522" fmla="*/ 4367252 w 4453528"/>
                <a:gd name="connsiteY522" fmla="*/ 681064 h 1538323"/>
                <a:gd name="connsiteX523" fmla="*/ 4381071 w 4453528"/>
                <a:gd name="connsiteY523" fmla="*/ 649877 h 1538323"/>
                <a:gd name="connsiteX524" fmla="*/ 4387981 w 4453528"/>
                <a:gd name="connsiteY524" fmla="*/ 625694 h 1538323"/>
                <a:gd name="connsiteX525" fmla="*/ 4432800 w 4453528"/>
                <a:gd name="connsiteY525" fmla="*/ 615329 h 1538323"/>
                <a:gd name="connsiteX526" fmla="*/ 4453529 w 4453528"/>
                <a:gd name="connsiteY526" fmla="*/ 594601 h 1538323"/>
                <a:gd name="connsiteX527" fmla="*/ 4432800 w 4453528"/>
                <a:gd name="connsiteY527" fmla="*/ 573872 h 153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Lst>
              <a:rect l="l" t="t" r="r" b="b"/>
              <a:pathLst>
                <a:path w="4453528" h="1538323">
                  <a:moveTo>
                    <a:pt x="4432800" y="573872"/>
                  </a:moveTo>
                  <a:lnTo>
                    <a:pt x="4401800" y="553143"/>
                  </a:lnTo>
                  <a:lnTo>
                    <a:pt x="4367252" y="546233"/>
                  </a:lnTo>
                  <a:lnTo>
                    <a:pt x="4339613" y="542778"/>
                  </a:lnTo>
                  <a:lnTo>
                    <a:pt x="4349978" y="573872"/>
                  </a:lnTo>
                  <a:lnTo>
                    <a:pt x="4336158" y="580781"/>
                  </a:lnTo>
                  <a:lnTo>
                    <a:pt x="4318884" y="553143"/>
                  </a:lnTo>
                  <a:lnTo>
                    <a:pt x="4308520" y="532414"/>
                  </a:lnTo>
                  <a:lnTo>
                    <a:pt x="4294701" y="511685"/>
                  </a:lnTo>
                  <a:lnTo>
                    <a:pt x="4215334" y="477044"/>
                  </a:lnTo>
                  <a:lnTo>
                    <a:pt x="4170421" y="452860"/>
                  </a:lnTo>
                  <a:lnTo>
                    <a:pt x="4094509" y="425222"/>
                  </a:lnTo>
                  <a:lnTo>
                    <a:pt x="4028867" y="414857"/>
                  </a:lnTo>
                  <a:lnTo>
                    <a:pt x="3973684" y="414857"/>
                  </a:lnTo>
                  <a:lnTo>
                    <a:pt x="3942590" y="401038"/>
                  </a:lnTo>
                  <a:lnTo>
                    <a:pt x="3921862" y="404493"/>
                  </a:lnTo>
                  <a:lnTo>
                    <a:pt x="3925316" y="435586"/>
                  </a:lnTo>
                  <a:lnTo>
                    <a:pt x="3935681" y="456315"/>
                  </a:lnTo>
                  <a:lnTo>
                    <a:pt x="3925316" y="470134"/>
                  </a:lnTo>
                  <a:lnTo>
                    <a:pt x="3890768" y="466679"/>
                  </a:lnTo>
                  <a:lnTo>
                    <a:pt x="3859768" y="442496"/>
                  </a:lnTo>
                  <a:lnTo>
                    <a:pt x="3859768" y="421767"/>
                  </a:lnTo>
                  <a:lnTo>
                    <a:pt x="3849404" y="418312"/>
                  </a:lnTo>
                  <a:lnTo>
                    <a:pt x="3821765" y="432131"/>
                  </a:lnTo>
                  <a:lnTo>
                    <a:pt x="3807946" y="432131"/>
                  </a:lnTo>
                  <a:lnTo>
                    <a:pt x="3694031" y="425222"/>
                  </a:lnTo>
                  <a:lnTo>
                    <a:pt x="3669847" y="435586"/>
                  </a:lnTo>
                  <a:lnTo>
                    <a:pt x="3638754" y="425222"/>
                  </a:lnTo>
                  <a:lnTo>
                    <a:pt x="3631844" y="411402"/>
                  </a:lnTo>
                  <a:lnTo>
                    <a:pt x="3635299" y="387219"/>
                  </a:lnTo>
                  <a:lnTo>
                    <a:pt x="3597390" y="366490"/>
                  </a:lnTo>
                  <a:lnTo>
                    <a:pt x="3504110" y="363035"/>
                  </a:lnTo>
                  <a:lnTo>
                    <a:pt x="3414378" y="359580"/>
                  </a:lnTo>
                  <a:lnTo>
                    <a:pt x="3362556" y="338758"/>
                  </a:lnTo>
                  <a:lnTo>
                    <a:pt x="3338373" y="328394"/>
                  </a:lnTo>
                  <a:lnTo>
                    <a:pt x="3352192" y="311120"/>
                  </a:lnTo>
                  <a:lnTo>
                    <a:pt x="3324646" y="297300"/>
                  </a:lnTo>
                  <a:lnTo>
                    <a:pt x="3262460" y="304210"/>
                  </a:lnTo>
                  <a:lnTo>
                    <a:pt x="3252095" y="297300"/>
                  </a:lnTo>
                  <a:lnTo>
                    <a:pt x="3231367" y="280026"/>
                  </a:lnTo>
                  <a:lnTo>
                    <a:pt x="3113996" y="273117"/>
                  </a:lnTo>
                  <a:lnTo>
                    <a:pt x="3076087" y="286936"/>
                  </a:lnTo>
                  <a:lnTo>
                    <a:pt x="3079448" y="318029"/>
                  </a:lnTo>
                  <a:lnTo>
                    <a:pt x="3051903" y="331848"/>
                  </a:lnTo>
                  <a:lnTo>
                    <a:pt x="3013901" y="345761"/>
                  </a:lnTo>
                  <a:lnTo>
                    <a:pt x="2968988" y="328394"/>
                  </a:lnTo>
                  <a:lnTo>
                    <a:pt x="2927623" y="342213"/>
                  </a:lnTo>
                  <a:lnTo>
                    <a:pt x="2882711" y="318029"/>
                  </a:lnTo>
                  <a:lnTo>
                    <a:pt x="2848163" y="369945"/>
                  </a:lnTo>
                  <a:lnTo>
                    <a:pt x="2810160" y="359580"/>
                  </a:lnTo>
                  <a:lnTo>
                    <a:pt x="2772251" y="314574"/>
                  </a:lnTo>
                  <a:lnTo>
                    <a:pt x="2792979" y="300755"/>
                  </a:lnTo>
                  <a:lnTo>
                    <a:pt x="2786070" y="269662"/>
                  </a:lnTo>
                  <a:lnTo>
                    <a:pt x="2754976" y="235114"/>
                  </a:lnTo>
                  <a:lnTo>
                    <a:pt x="2699700" y="238568"/>
                  </a:lnTo>
                  <a:lnTo>
                    <a:pt x="2665245" y="221294"/>
                  </a:lnTo>
                  <a:lnTo>
                    <a:pt x="2641061" y="217840"/>
                  </a:lnTo>
                  <a:lnTo>
                    <a:pt x="2627242" y="262752"/>
                  </a:lnTo>
                  <a:lnTo>
                    <a:pt x="2502962" y="248933"/>
                  </a:lnTo>
                  <a:lnTo>
                    <a:pt x="2502962" y="231659"/>
                  </a:lnTo>
                  <a:lnTo>
                    <a:pt x="2375228" y="228204"/>
                  </a:lnTo>
                  <a:lnTo>
                    <a:pt x="2357954" y="238568"/>
                  </a:lnTo>
                  <a:lnTo>
                    <a:pt x="2326860" y="217840"/>
                  </a:lnTo>
                  <a:lnTo>
                    <a:pt x="2306131" y="210930"/>
                  </a:lnTo>
                  <a:lnTo>
                    <a:pt x="2299222" y="193656"/>
                  </a:lnTo>
                  <a:lnTo>
                    <a:pt x="2271584" y="200566"/>
                  </a:lnTo>
                  <a:lnTo>
                    <a:pt x="2254403" y="217840"/>
                  </a:lnTo>
                  <a:lnTo>
                    <a:pt x="2257858" y="231659"/>
                  </a:lnTo>
                  <a:lnTo>
                    <a:pt x="2185306" y="252388"/>
                  </a:lnTo>
                  <a:lnTo>
                    <a:pt x="2147304" y="266207"/>
                  </a:lnTo>
                  <a:lnTo>
                    <a:pt x="2140394" y="259297"/>
                  </a:lnTo>
                  <a:lnTo>
                    <a:pt x="2226764" y="210930"/>
                  </a:lnTo>
                  <a:lnTo>
                    <a:pt x="2288857" y="176289"/>
                  </a:lnTo>
                  <a:lnTo>
                    <a:pt x="2347589" y="145195"/>
                  </a:lnTo>
                  <a:lnTo>
                    <a:pt x="2361409" y="110647"/>
                  </a:lnTo>
                  <a:lnTo>
                    <a:pt x="2354499" y="89918"/>
                  </a:lnTo>
                  <a:lnTo>
                    <a:pt x="2306131" y="58825"/>
                  </a:lnTo>
                  <a:lnTo>
                    <a:pt x="2174942" y="62280"/>
                  </a:lnTo>
                  <a:lnTo>
                    <a:pt x="2188761" y="38096"/>
                  </a:lnTo>
                  <a:lnTo>
                    <a:pt x="2116304" y="34641"/>
                  </a:lnTo>
                  <a:lnTo>
                    <a:pt x="2154213" y="13819"/>
                  </a:lnTo>
                  <a:lnTo>
                    <a:pt x="2123214" y="3455"/>
                  </a:lnTo>
                  <a:lnTo>
                    <a:pt x="2064481" y="0"/>
                  </a:lnTo>
                  <a:lnTo>
                    <a:pt x="2023024" y="34641"/>
                  </a:lnTo>
                  <a:lnTo>
                    <a:pt x="2029934" y="62280"/>
                  </a:lnTo>
                  <a:lnTo>
                    <a:pt x="1943656" y="89918"/>
                  </a:lnTo>
                  <a:lnTo>
                    <a:pt x="1884925" y="83009"/>
                  </a:lnTo>
                  <a:lnTo>
                    <a:pt x="1822832" y="89918"/>
                  </a:lnTo>
                  <a:lnTo>
                    <a:pt x="1677823" y="138286"/>
                  </a:lnTo>
                  <a:lnTo>
                    <a:pt x="1612182" y="169379"/>
                  </a:lnTo>
                  <a:lnTo>
                    <a:pt x="1632911" y="207475"/>
                  </a:lnTo>
                  <a:lnTo>
                    <a:pt x="1553543" y="221294"/>
                  </a:lnTo>
                  <a:lnTo>
                    <a:pt x="1474083" y="224749"/>
                  </a:lnTo>
                  <a:lnTo>
                    <a:pt x="1453447" y="238568"/>
                  </a:lnTo>
                  <a:lnTo>
                    <a:pt x="1463812" y="276571"/>
                  </a:lnTo>
                  <a:lnTo>
                    <a:pt x="1494812" y="300755"/>
                  </a:lnTo>
                  <a:lnTo>
                    <a:pt x="1518995" y="324939"/>
                  </a:lnTo>
                  <a:lnTo>
                    <a:pt x="1470721" y="324939"/>
                  </a:lnTo>
                  <a:lnTo>
                    <a:pt x="1436173" y="297300"/>
                  </a:lnTo>
                  <a:lnTo>
                    <a:pt x="1377442" y="280026"/>
                  </a:lnTo>
                  <a:lnTo>
                    <a:pt x="1367077" y="286936"/>
                  </a:lnTo>
                  <a:lnTo>
                    <a:pt x="1391261" y="314574"/>
                  </a:lnTo>
                  <a:lnTo>
                    <a:pt x="1356713" y="307665"/>
                  </a:lnTo>
                  <a:lnTo>
                    <a:pt x="1336077" y="314574"/>
                  </a:lnTo>
                  <a:lnTo>
                    <a:pt x="1349803" y="335303"/>
                  </a:lnTo>
                  <a:lnTo>
                    <a:pt x="1384351" y="345761"/>
                  </a:lnTo>
                  <a:lnTo>
                    <a:pt x="1408535" y="363035"/>
                  </a:lnTo>
                  <a:lnTo>
                    <a:pt x="1387806" y="363035"/>
                  </a:lnTo>
                  <a:lnTo>
                    <a:pt x="1346348" y="352671"/>
                  </a:lnTo>
                  <a:lnTo>
                    <a:pt x="1318803" y="345761"/>
                  </a:lnTo>
                  <a:lnTo>
                    <a:pt x="1311894" y="328394"/>
                  </a:lnTo>
                  <a:lnTo>
                    <a:pt x="1322258" y="304210"/>
                  </a:lnTo>
                  <a:lnTo>
                    <a:pt x="1318803" y="273117"/>
                  </a:lnTo>
                  <a:lnTo>
                    <a:pt x="1304984" y="273117"/>
                  </a:lnTo>
                  <a:lnTo>
                    <a:pt x="1301529" y="300755"/>
                  </a:lnTo>
                  <a:lnTo>
                    <a:pt x="1277345" y="311120"/>
                  </a:lnTo>
                  <a:lnTo>
                    <a:pt x="1256617" y="331848"/>
                  </a:lnTo>
                  <a:lnTo>
                    <a:pt x="1266981" y="352671"/>
                  </a:lnTo>
                  <a:lnTo>
                    <a:pt x="1284255" y="380309"/>
                  </a:lnTo>
                  <a:lnTo>
                    <a:pt x="1270436" y="414857"/>
                  </a:lnTo>
                  <a:lnTo>
                    <a:pt x="1270436" y="449405"/>
                  </a:lnTo>
                  <a:lnTo>
                    <a:pt x="1342894" y="452860"/>
                  </a:lnTo>
                  <a:lnTo>
                    <a:pt x="1377442" y="463224"/>
                  </a:lnTo>
                  <a:lnTo>
                    <a:pt x="1391261" y="490863"/>
                  </a:lnTo>
                  <a:lnTo>
                    <a:pt x="1367077" y="511685"/>
                  </a:lnTo>
                  <a:lnTo>
                    <a:pt x="1360167" y="483953"/>
                  </a:lnTo>
                  <a:lnTo>
                    <a:pt x="1342894" y="466679"/>
                  </a:lnTo>
                  <a:lnTo>
                    <a:pt x="1304984" y="459770"/>
                  </a:lnTo>
                  <a:lnTo>
                    <a:pt x="1287710" y="487408"/>
                  </a:lnTo>
                  <a:lnTo>
                    <a:pt x="1301529" y="515140"/>
                  </a:lnTo>
                  <a:lnTo>
                    <a:pt x="1253162" y="563507"/>
                  </a:lnTo>
                  <a:lnTo>
                    <a:pt x="1218614" y="591146"/>
                  </a:lnTo>
                  <a:lnTo>
                    <a:pt x="1187614" y="587691"/>
                  </a:lnTo>
                  <a:lnTo>
                    <a:pt x="1156520" y="580781"/>
                  </a:lnTo>
                  <a:lnTo>
                    <a:pt x="1135792" y="566962"/>
                  </a:lnTo>
                  <a:lnTo>
                    <a:pt x="1149611" y="560052"/>
                  </a:lnTo>
                  <a:lnTo>
                    <a:pt x="1177250" y="566962"/>
                  </a:lnTo>
                  <a:lnTo>
                    <a:pt x="1201433" y="556598"/>
                  </a:lnTo>
                  <a:lnTo>
                    <a:pt x="1249707" y="515140"/>
                  </a:lnTo>
                  <a:lnTo>
                    <a:pt x="1263526" y="483953"/>
                  </a:lnTo>
                  <a:lnTo>
                    <a:pt x="1235888" y="463224"/>
                  </a:lnTo>
                  <a:lnTo>
                    <a:pt x="1242797" y="387219"/>
                  </a:lnTo>
                  <a:lnTo>
                    <a:pt x="1235888" y="356125"/>
                  </a:lnTo>
                  <a:lnTo>
                    <a:pt x="1218614" y="342213"/>
                  </a:lnTo>
                  <a:lnTo>
                    <a:pt x="1235888" y="314574"/>
                  </a:lnTo>
                  <a:lnTo>
                    <a:pt x="1242797" y="283481"/>
                  </a:lnTo>
                  <a:lnTo>
                    <a:pt x="1235888" y="273117"/>
                  </a:lnTo>
                  <a:lnTo>
                    <a:pt x="1149611" y="266207"/>
                  </a:lnTo>
                  <a:lnTo>
                    <a:pt x="1121972" y="321484"/>
                  </a:lnTo>
                  <a:lnTo>
                    <a:pt x="1080515" y="352671"/>
                  </a:lnTo>
                  <a:lnTo>
                    <a:pt x="1077060" y="363035"/>
                  </a:lnTo>
                  <a:lnTo>
                    <a:pt x="1094334" y="373399"/>
                  </a:lnTo>
                  <a:lnTo>
                    <a:pt x="1080515" y="407948"/>
                  </a:lnTo>
                  <a:lnTo>
                    <a:pt x="1080515" y="425222"/>
                  </a:lnTo>
                  <a:lnTo>
                    <a:pt x="1111608" y="442496"/>
                  </a:lnTo>
                  <a:lnTo>
                    <a:pt x="1135792" y="466679"/>
                  </a:lnTo>
                  <a:lnTo>
                    <a:pt x="1121972" y="490863"/>
                  </a:lnTo>
                  <a:lnTo>
                    <a:pt x="1070150" y="463224"/>
                  </a:lnTo>
                  <a:lnTo>
                    <a:pt x="1021876" y="442496"/>
                  </a:lnTo>
                  <a:lnTo>
                    <a:pt x="963145" y="421767"/>
                  </a:lnTo>
                  <a:lnTo>
                    <a:pt x="907961" y="418312"/>
                  </a:lnTo>
                  <a:lnTo>
                    <a:pt x="873413" y="387219"/>
                  </a:lnTo>
                  <a:lnTo>
                    <a:pt x="859594" y="390673"/>
                  </a:lnTo>
                  <a:lnTo>
                    <a:pt x="859594" y="414857"/>
                  </a:lnTo>
                  <a:lnTo>
                    <a:pt x="897597" y="428676"/>
                  </a:lnTo>
                  <a:lnTo>
                    <a:pt x="918325" y="456315"/>
                  </a:lnTo>
                  <a:lnTo>
                    <a:pt x="890687" y="473589"/>
                  </a:lnTo>
                  <a:lnTo>
                    <a:pt x="883778" y="487408"/>
                  </a:lnTo>
                  <a:lnTo>
                    <a:pt x="866503" y="487408"/>
                  </a:lnTo>
                  <a:lnTo>
                    <a:pt x="869958" y="473589"/>
                  </a:lnTo>
                  <a:lnTo>
                    <a:pt x="863048" y="456315"/>
                  </a:lnTo>
                  <a:lnTo>
                    <a:pt x="821591" y="480498"/>
                  </a:lnTo>
                  <a:lnTo>
                    <a:pt x="759498" y="477044"/>
                  </a:lnTo>
                  <a:lnTo>
                    <a:pt x="752588" y="490863"/>
                  </a:lnTo>
                  <a:lnTo>
                    <a:pt x="718040" y="490863"/>
                  </a:lnTo>
                  <a:lnTo>
                    <a:pt x="724950" y="459770"/>
                  </a:lnTo>
                  <a:lnTo>
                    <a:pt x="704221" y="466679"/>
                  </a:lnTo>
                  <a:lnTo>
                    <a:pt x="683492" y="487408"/>
                  </a:lnTo>
                  <a:lnTo>
                    <a:pt x="666311" y="483953"/>
                  </a:lnTo>
                  <a:lnTo>
                    <a:pt x="566122" y="522050"/>
                  </a:lnTo>
                  <a:lnTo>
                    <a:pt x="548848" y="563507"/>
                  </a:lnTo>
                  <a:lnTo>
                    <a:pt x="507483" y="560052"/>
                  </a:lnTo>
                  <a:lnTo>
                    <a:pt x="479845" y="535869"/>
                  </a:lnTo>
                  <a:lnTo>
                    <a:pt x="497119" y="518595"/>
                  </a:lnTo>
                  <a:lnTo>
                    <a:pt x="524758" y="518595"/>
                  </a:lnTo>
                  <a:lnTo>
                    <a:pt x="524758" y="504682"/>
                  </a:lnTo>
                  <a:lnTo>
                    <a:pt x="504028" y="480498"/>
                  </a:lnTo>
                  <a:lnTo>
                    <a:pt x="445297" y="483953"/>
                  </a:lnTo>
                  <a:lnTo>
                    <a:pt x="459116" y="497773"/>
                  </a:lnTo>
                  <a:lnTo>
                    <a:pt x="452206" y="535869"/>
                  </a:lnTo>
                  <a:lnTo>
                    <a:pt x="466025" y="549688"/>
                  </a:lnTo>
                  <a:lnTo>
                    <a:pt x="455661" y="591146"/>
                  </a:lnTo>
                  <a:lnTo>
                    <a:pt x="407294" y="577327"/>
                  </a:lnTo>
                  <a:lnTo>
                    <a:pt x="390114" y="591146"/>
                  </a:lnTo>
                  <a:lnTo>
                    <a:pt x="359020" y="608420"/>
                  </a:lnTo>
                  <a:lnTo>
                    <a:pt x="338291" y="629149"/>
                  </a:lnTo>
                  <a:lnTo>
                    <a:pt x="355565" y="649877"/>
                  </a:lnTo>
                  <a:lnTo>
                    <a:pt x="355565" y="667152"/>
                  </a:lnTo>
                  <a:lnTo>
                    <a:pt x="310653" y="656787"/>
                  </a:lnTo>
                  <a:lnTo>
                    <a:pt x="289924" y="649877"/>
                  </a:lnTo>
                  <a:lnTo>
                    <a:pt x="269289" y="632603"/>
                  </a:lnTo>
                  <a:lnTo>
                    <a:pt x="255469" y="649877"/>
                  </a:lnTo>
                  <a:lnTo>
                    <a:pt x="272650" y="670700"/>
                  </a:lnTo>
                  <a:lnTo>
                    <a:pt x="293378" y="677609"/>
                  </a:lnTo>
                  <a:lnTo>
                    <a:pt x="289924" y="694883"/>
                  </a:lnTo>
                  <a:lnTo>
                    <a:pt x="255469" y="694883"/>
                  </a:lnTo>
                  <a:lnTo>
                    <a:pt x="227831" y="670700"/>
                  </a:lnTo>
                  <a:lnTo>
                    <a:pt x="210556" y="667152"/>
                  </a:lnTo>
                  <a:lnTo>
                    <a:pt x="200192" y="622239"/>
                  </a:lnTo>
                  <a:lnTo>
                    <a:pt x="196737" y="601510"/>
                  </a:lnTo>
                  <a:lnTo>
                    <a:pt x="182918" y="591146"/>
                  </a:lnTo>
                  <a:lnTo>
                    <a:pt x="155280" y="577327"/>
                  </a:lnTo>
                  <a:lnTo>
                    <a:pt x="131189" y="546233"/>
                  </a:lnTo>
                  <a:lnTo>
                    <a:pt x="162189" y="560052"/>
                  </a:lnTo>
                  <a:lnTo>
                    <a:pt x="200192" y="573872"/>
                  </a:lnTo>
                  <a:lnTo>
                    <a:pt x="252014" y="584236"/>
                  </a:lnTo>
                  <a:lnTo>
                    <a:pt x="296833" y="601510"/>
                  </a:lnTo>
                  <a:lnTo>
                    <a:pt x="348656" y="587691"/>
                  </a:lnTo>
                  <a:lnTo>
                    <a:pt x="379749" y="560052"/>
                  </a:lnTo>
                  <a:lnTo>
                    <a:pt x="376294" y="528959"/>
                  </a:lnTo>
                  <a:lnTo>
                    <a:pt x="324472" y="501227"/>
                  </a:lnTo>
                  <a:lnTo>
                    <a:pt x="279559" y="473589"/>
                  </a:lnTo>
                  <a:lnTo>
                    <a:pt x="231286" y="449405"/>
                  </a:lnTo>
                  <a:lnTo>
                    <a:pt x="165644" y="445950"/>
                  </a:lnTo>
                  <a:lnTo>
                    <a:pt x="148370" y="439041"/>
                  </a:lnTo>
                  <a:lnTo>
                    <a:pt x="138006" y="421767"/>
                  </a:lnTo>
                  <a:lnTo>
                    <a:pt x="107006" y="421767"/>
                  </a:lnTo>
                  <a:lnTo>
                    <a:pt x="69003" y="428676"/>
                  </a:lnTo>
                  <a:lnTo>
                    <a:pt x="69003" y="439041"/>
                  </a:lnTo>
                  <a:lnTo>
                    <a:pt x="51729" y="442496"/>
                  </a:lnTo>
                  <a:lnTo>
                    <a:pt x="34455" y="459770"/>
                  </a:lnTo>
                  <a:lnTo>
                    <a:pt x="27545" y="497773"/>
                  </a:lnTo>
                  <a:lnTo>
                    <a:pt x="69003" y="522050"/>
                  </a:lnTo>
                  <a:lnTo>
                    <a:pt x="41364" y="549688"/>
                  </a:lnTo>
                  <a:lnTo>
                    <a:pt x="58639" y="580781"/>
                  </a:lnTo>
                  <a:lnTo>
                    <a:pt x="69003" y="608420"/>
                  </a:lnTo>
                  <a:lnTo>
                    <a:pt x="69003" y="608420"/>
                  </a:lnTo>
                  <a:lnTo>
                    <a:pt x="69003" y="608420"/>
                  </a:lnTo>
                  <a:lnTo>
                    <a:pt x="55183" y="642968"/>
                  </a:lnTo>
                  <a:lnTo>
                    <a:pt x="72458" y="660242"/>
                  </a:lnTo>
                  <a:lnTo>
                    <a:pt x="86277" y="684519"/>
                  </a:lnTo>
                  <a:lnTo>
                    <a:pt x="69003" y="701793"/>
                  </a:lnTo>
                  <a:lnTo>
                    <a:pt x="110461" y="732886"/>
                  </a:lnTo>
                  <a:lnTo>
                    <a:pt x="96641" y="757070"/>
                  </a:lnTo>
                  <a:lnTo>
                    <a:pt x="51729" y="798528"/>
                  </a:lnTo>
                  <a:lnTo>
                    <a:pt x="21756" y="820564"/>
                  </a:lnTo>
                  <a:lnTo>
                    <a:pt x="37909" y="840079"/>
                  </a:lnTo>
                  <a:lnTo>
                    <a:pt x="69003" y="853898"/>
                  </a:lnTo>
                  <a:lnTo>
                    <a:pt x="44819" y="857353"/>
                  </a:lnTo>
                  <a:lnTo>
                    <a:pt x="13726" y="881536"/>
                  </a:lnTo>
                  <a:lnTo>
                    <a:pt x="3361" y="902265"/>
                  </a:lnTo>
                  <a:lnTo>
                    <a:pt x="3361" y="929904"/>
                  </a:lnTo>
                  <a:lnTo>
                    <a:pt x="0" y="950633"/>
                  </a:lnTo>
                  <a:lnTo>
                    <a:pt x="10364" y="971361"/>
                  </a:lnTo>
                  <a:lnTo>
                    <a:pt x="17181" y="999093"/>
                  </a:lnTo>
                  <a:lnTo>
                    <a:pt x="24090" y="1009458"/>
                  </a:lnTo>
                  <a:lnTo>
                    <a:pt x="55183" y="1016367"/>
                  </a:lnTo>
                  <a:lnTo>
                    <a:pt x="55183" y="1026732"/>
                  </a:lnTo>
                  <a:lnTo>
                    <a:pt x="89732" y="1030187"/>
                  </a:lnTo>
                  <a:lnTo>
                    <a:pt x="96641" y="1068189"/>
                  </a:lnTo>
                  <a:lnTo>
                    <a:pt x="144915" y="1120012"/>
                  </a:lnTo>
                  <a:lnTo>
                    <a:pt x="141461" y="1123466"/>
                  </a:lnTo>
                  <a:lnTo>
                    <a:pt x="110461" y="1123466"/>
                  </a:lnTo>
                  <a:lnTo>
                    <a:pt x="110461" y="1158108"/>
                  </a:lnTo>
                  <a:lnTo>
                    <a:pt x="124280" y="1165017"/>
                  </a:lnTo>
                  <a:lnTo>
                    <a:pt x="134644" y="1161563"/>
                  </a:lnTo>
                  <a:lnTo>
                    <a:pt x="141461" y="1154653"/>
                  </a:lnTo>
                  <a:lnTo>
                    <a:pt x="182918" y="1154653"/>
                  </a:lnTo>
                  <a:lnTo>
                    <a:pt x="189828" y="1171927"/>
                  </a:lnTo>
                  <a:lnTo>
                    <a:pt x="186373" y="1192656"/>
                  </a:lnTo>
                  <a:lnTo>
                    <a:pt x="217466" y="1199566"/>
                  </a:lnTo>
                  <a:lnTo>
                    <a:pt x="224376" y="1223749"/>
                  </a:lnTo>
                  <a:lnTo>
                    <a:pt x="279559" y="1227204"/>
                  </a:lnTo>
                  <a:lnTo>
                    <a:pt x="283014" y="1237568"/>
                  </a:lnTo>
                  <a:lnTo>
                    <a:pt x="317562" y="1237568"/>
                  </a:lnTo>
                  <a:lnTo>
                    <a:pt x="345201" y="1254842"/>
                  </a:lnTo>
                  <a:lnTo>
                    <a:pt x="341746" y="1310213"/>
                  </a:lnTo>
                  <a:lnTo>
                    <a:pt x="314108" y="1317122"/>
                  </a:lnTo>
                  <a:lnTo>
                    <a:pt x="296833" y="1324032"/>
                  </a:lnTo>
                  <a:lnTo>
                    <a:pt x="293378" y="1337851"/>
                  </a:lnTo>
                  <a:lnTo>
                    <a:pt x="324472" y="1341306"/>
                  </a:lnTo>
                  <a:lnTo>
                    <a:pt x="296833" y="1358580"/>
                  </a:lnTo>
                  <a:lnTo>
                    <a:pt x="300288" y="1375854"/>
                  </a:lnTo>
                  <a:lnTo>
                    <a:pt x="279559" y="1396583"/>
                  </a:lnTo>
                  <a:lnTo>
                    <a:pt x="272650" y="1420767"/>
                  </a:lnTo>
                  <a:lnTo>
                    <a:pt x="296833" y="1431131"/>
                  </a:lnTo>
                  <a:lnTo>
                    <a:pt x="341746" y="1462224"/>
                  </a:lnTo>
                  <a:lnTo>
                    <a:pt x="362475" y="1458769"/>
                  </a:lnTo>
                  <a:lnTo>
                    <a:pt x="383203" y="1472682"/>
                  </a:lnTo>
                  <a:lnTo>
                    <a:pt x="400478" y="1469134"/>
                  </a:lnTo>
                  <a:lnTo>
                    <a:pt x="414203" y="1469134"/>
                  </a:lnTo>
                  <a:lnTo>
                    <a:pt x="438387" y="1483047"/>
                  </a:lnTo>
                  <a:lnTo>
                    <a:pt x="455661" y="1489956"/>
                  </a:lnTo>
                  <a:lnTo>
                    <a:pt x="466025" y="1489956"/>
                  </a:lnTo>
                  <a:lnTo>
                    <a:pt x="483300" y="1486501"/>
                  </a:lnTo>
                  <a:lnTo>
                    <a:pt x="500574" y="1496866"/>
                  </a:lnTo>
                  <a:lnTo>
                    <a:pt x="517848" y="1514140"/>
                  </a:lnTo>
                  <a:lnTo>
                    <a:pt x="528212" y="1517595"/>
                  </a:lnTo>
                  <a:lnTo>
                    <a:pt x="555758" y="1538323"/>
                  </a:lnTo>
                  <a:lnTo>
                    <a:pt x="562667" y="1534869"/>
                  </a:lnTo>
                  <a:lnTo>
                    <a:pt x="579941" y="1517595"/>
                  </a:lnTo>
                  <a:lnTo>
                    <a:pt x="555758" y="1489956"/>
                  </a:lnTo>
                  <a:lnTo>
                    <a:pt x="552303" y="1458769"/>
                  </a:lnTo>
                  <a:lnTo>
                    <a:pt x="541938" y="1441496"/>
                  </a:lnTo>
                  <a:lnTo>
                    <a:pt x="528212" y="1431131"/>
                  </a:lnTo>
                  <a:lnTo>
                    <a:pt x="541938" y="1413857"/>
                  </a:lnTo>
                  <a:lnTo>
                    <a:pt x="548848" y="1400038"/>
                  </a:lnTo>
                  <a:lnTo>
                    <a:pt x="566122" y="1389673"/>
                  </a:lnTo>
                  <a:lnTo>
                    <a:pt x="593760" y="1368945"/>
                  </a:lnTo>
                  <a:lnTo>
                    <a:pt x="586850" y="1344761"/>
                  </a:lnTo>
                  <a:lnTo>
                    <a:pt x="566122" y="1317122"/>
                  </a:lnTo>
                  <a:lnTo>
                    <a:pt x="541938" y="1310213"/>
                  </a:lnTo>
                  <a:lnTo>
                    <a:pt x="524758" y="1285936"/>
                  </a:lnTo>
                  <a:lnTo>
                    <a:pt x="535122" y="1244478"/>
                  </a:lnTo>
                  <a:lnTo>
                    <a:pt x="555758" y="1220294"/>
                  </a:lnTo>
                  <a:lnTo>
                    <a:pt x="569577" y="1247933"/>
                  </a:lnTo>
                  <a:lnTo>
                    <a:pt x="583396" y="1241023"/>
                  </a:lnTo>
                  <a:lnTo>
                    <a:pt x="586850" y="1220294"/>
                  </a:lnTo>
                  <a:lnTo>
                    <a:pt x="628308" y="1189201"/>
                  </a:lnTo>
                  <a:lnTo>
                    <a:pt x="655947" y="1178837"/>
                  </a:lnTo>
                  <a:lnTo>
                    <a:pt x="718040" y="1189201"/>
                  </a:lnTo>
                  <a:lnTo>
                    <a:pt x="756043" y="1213385"/>
                  </a:lnTo>
                  <a:lnTo>
                    <a:pt x="783681" y="1216840"/>
                  </a:lnTo>
                  <a:lnTo>
                    <a:pt x="821591" y="1199566"/>
                  </a:lnTo>
                  <a:lnTo>
                    <a:pt x="852684" y="1199566"/>
                  </a:lnTo>
                  <a:lnTo>
                    <a:pt x="869958" y="1216840"/>
                  </a:lnTo>
                  <a:lnTo>
                    <a:pt x="914870" y="1213385"/>
                  </a:lnTo>
                  <a:lnTo>
                    <a:pt x="932145" y="1196111"/>
                  </a:lnTo>
                  <a:lnTo>
                    <a:pt x="918325" y="1182291"/>
                  </a:lnTo>
                  <a:lnTo>
                    <a:pt x="894142" y="1175382"/>
                  </a:lnTo>
                  <a:lnTo>
                    <a:pt x="904506" y="1161563"/>
                  </a:lnTo>
                  <a:lnTo>
                    <a:pt x="914870" y="1151105"/>
                  </a:lnTo>
                  <a:lnTo>
                    <a:pt x="918325" y="1133831"/>
                  </a:lnTo>
                  <a:lnTo>
                    <a:pt x="939054" y="1126921"/>
                  </a:lnTo>
                  <a:lnTo>
                    <a:pt x="932145" y="1113102"/>
                  </a:lnTo>
                  <a:lnTo>
                    <a:pt x="925235" y="1095828"/>
                  </a:lnTo>
                  <a:lnTo>
                    <a:pt x="963145" y="1092373"/>
                  </a:lnTo>
                  <a:lnTo>
                    <a:pt x="1115063" y="1050915"/>
                  </a:lnTo>
                  <a:lnTo>
                    <a:pt x="1153066" y="1044006"/>
                  </a:lnTo>
                  <a:lnTo>
                    <a:pt x="1187614" y="1047460"/>
                  </a:lnTo>
                  <a:lnTo>
                    <a:pt x="1194523" y="1071644"/>
                  </a:lnTo>
                  <a:lnTo>
                    <a:pt x="1211798" y="1082009"/>
                  </a:lnTo>
                  <a:lnTo>
                    <a:pt x="1246252" y="1092373"/>
                  </a:lnTo>
                  <a:lnTo>
                    <a:pt x="1280800" y="1109647"/>
                  </a:lnTo>
                  <a:lnTo>
                    <a:pt x="1311894" y="1092373"/>
                  </a:lnTo>
                  <a:lnTo>
                    <a:pt x="1349803" y="1082009"/>
                  </a:lnTo>
                  <a:lnTo>
                    <a:pt x="1353258" y="1099283"/>
                  </a:lnTo>
                  <a:lnTo>
                    <a:pt x="1384351" y="1120012"/>
                  </a:lnTo>
                  <a:lnTo>
                    <a:pt x="1411990" y="1161563"/>
                  </a:lnTo>
                  <a:lnTo>
                    <a:pt x="1436173" y="1203020"/>
                  </a:lnTo>
                  <a:lnTo>
                    <a:pt x="1449992" y="1203020"/>
                  </a:lnTo>
                  <a:lnTo>
                    <a:pt x="1456902" y="1189201"/>
                  </a:lnTo>
                  <a:lnTo>
                    <a:pt x="1494812" y="1209930"/>
                  </a:lnTo>
                  <a:lnTo>
                    <a:pt x="1543179" y="1203020"/>
                  </a:lnTo>
                  <a:lnTo>
                    <a:pt x="1560453" y="1227204"/>
                  </a:lnTo>
                  <a:lnTo>
                    <a:pt x="1584637" y="1244478"/>
                  </a:lnTo>
                  <a:lnTo>
                    <a:pt x="1622546" y="1247933"/>
                  </a:lnTo>
                  <a:lnTo>
                    <a:pt x="1629456" y="1272117"/>
                  </a:lnTo>
                  <a:lnTo>
                    <a:pt x="1657095" y="1272117"/>
                  </a:lnTo>
                  <a:lnTo>
                    <a:pt x="1670914" y="1258297"/>
                  </a:lnTo>
                  <a:lnTo>
                    <a:pt x="1695097" y="1254842"/>
                  </a:lnTo>
                  <a:lnTo>
                    <a:pt x="1708917" y="1241023"/>
                  </a:lnTo>
                  <a:lnTo>
                    <a:pt x="1767555" y="1209930"/>
                  </a:lnTo>
                  <a:lnTo>
                    <a:pt x="1798648" y="1213385"/>
                  </a:lnTo>
                  <a:lnTo>
                    <a:pt x="1833196" y="1220294"/>
                  </a:lnTo>
                  <a:lnTo>
                    <a:pt x="1850470" y="1241023"/>
                  </a:lnTo>
                  <a:lnTo>
                    <a:pt x="1905654" y="1241023"/>
                  </a:lnTo>
                  <a:lnTo>
                    <a:pt x="1919473" y="1251388"/>
                  </a:lnTo>
                  <a:lnTo>
                    <a:pt x="1940202" y="1234114"/>
                  </a:lnTo>
                  <a:lnTo>
                    <a:pt x="1943656" y="1220294"/>
                  </a:lnTo>
                  <a:lnTo>
                    <a:pt x="1922928" y="1196111"/>
                  </a:lnTo>
                  <a:lnTo>
                    <a:pt x="1954021" y="1165017"/>
                  </a:lnTo>
                  <a:lnTo>
                    <a:pt x="2002295" y="1175382"/>
                  </a:lnTo>
                  <a:lnTo>
                    <a:pt x="2043753" y="1189201"/>
                  </a:lnTo>
                  <a:lnTo>
                    <a:pt x="2047208" y="1206475"/>
                  </a:lnTo>
                  <a:lnTo>
                    <a:pt x="2064481" y="1227204"/>
                  </a:lnTo>
                  <a:lnTo>
                    <a:pt x="2109394" y="1234114"/>
                  </a:lnTo>
                  <a:lnTo>
                    <a:pt x="2133578" y="1220294"/>
                  </a:lnTo>
                  <a:lnTo>
                    <a:pt x="2174942" y="1227204"/>
                  </a:lnTo>
                  <a:lnTo>
                    <a:pt x="2185306" y="1237568"/>
                  </a:lnTo>
                  <a:lnTo>
                    <a:pt x="2202581" y="1241023"/>
                  </a:lnTo>
                  <a:lnTo>
                    <a:pt x="2212945" y="1254842"/>
                  </a:lnTo>
                  <a:lnTo>
                    <a:pt x="2223309" y="1265207"/>
                  </a:lnTo>
                  <a:lnTo>
                    <a:pt x="2261312" y="1268662"/>
                  </a:lnTo>
                  <a:lnTo>
                    <a:pt x="2292312" y="1265207"/>
                  </a:lnTo>
                  <a:lnTo>
                    <a:pt x="2344134" y="1254842"/>
                  </a:lnTo>
                  <a:lnTo>
                    <a:pt x="2375228" y="1230659"/>
                  </a:lnTo>
                  <a:lnTo>
                    <a:pt x="2392502" y="1227204"/>
                  </a:lnTo>
                  <a:lnTo>
                    <a:pt x="2406228" y="1237568"/>
                  </a:lnTo>
                  <a:lnTo>
                    <a:pt x="2447685" y="1241023"/>
                  </a:lnTo>
                  <a:lnTo>
                    <a:pt x="2478779" y="1258297"/>
                  </a:lnTo>
                  <a:lnTo>
                    <a:pt x="2496053" y="1241023"/>
                  </a:lnTo>
                  <a:lnTo>
                    <a:pt x="2516781" y="1237568"/>
                  </a:lnTo>
                  <a:lnTo>
                    <a:pt x="2523691" y="1209930"/>
                  </a:lnTo>
                  <a:lnTo>
                    <a:pt x="2540872" y="1178837"/>
                  </a:lnTo>
                  <a:lnTo>
                    <a:pt x="2558146" y="1168472"/>
                  </a:lnTo>
                  <a:lnTo>
                    <a:pt x="2558146" y="1144195"/>
                  </a:lnTo>
                  <a:lnTo>
                    <a:pt x="2537510" y="1140740"/>
                  </a:lnTo>
                  <a:lnTo>
                    <a:pt x="2540872" y="1126921"/>
                  </a:lnTo>
                  <a:lnTo>
                    <a:pt x="2565056" y="1116557"/>
                  </a:lnTo>
                  <a:lnTo>
                    <a:pt x="2641061" y="1109647"/>
                  </a:lnTo>
                  <a:lnTo>
                    <a:pt x="2668700" y="1120012"/>
                  </a:lnTo>
                  <a:lnTo>
                    <a:pt x="2692790" y="1130376"/>
                  </a:lnTo>
                  <a:lnTo>
                    <a:pt x="2713519" y="1165017"/>
                  </a:lnTo>
                  <a:lnTo>
                    <a:pt x="2732567" y="1209930"/>
                  </a:lnTo>
                  <a:lnTo>
                    <a:pt x="2741157" y="1227204"/>
                  </a:lnTo>
                  <a:lnTo>
                    <a:pt x="2751522" y="1254842"/>
                  </a:lnTo>
                  <a:lnTo>
                    <a:pt x="2779160" y="1254842"/>
                  </a:lnTo>
                  <a:lnTo>
                    <a:pt x="2830889" y="1282481"/>
                  </a:lnTo>
                  <a:lnTo>
                    <a:pt x="2837798" y="1317122"/>
                  </a:lnTo>
                  <a:lnTo>
                    <a:pt x="2875801" y="1320577"/>
                  </a:lnTo>
                  <a:lnTo>
                    <a:pt x="2886166" y="1306758"/>
                  </a:lnTo>
                  <a:lnTo>
                    <a:pt x="2910350" y="1303303"/>
                  </a:lnTo>
                  <a:lnTo>
                    <a:pt x="2937988" y="1299755"/>
                  </a:lnTo>
                  <a:lnTo>
                    <a:pt x="2941443" y="1324032"/>
                  </a:lnTo>
                  <a:lnTo>
                    <a:pt x="2927623" y="1330942"/>
                  </a:lnTo>
                  <a:lnTo>
                    <a:pt x="2917259" y="1368945"/>
                  </a:lnTo>
                  <a:lnTo>
                    <a:pt x="2896530" y="1406947"/>
                  </a:lnTo>
                  <a:lnTo>
                    <a:pt x="2875801" y="1410402"/>
                  </a:lnTo>
                  <a:lnTo>
                    <a:pt x="2865437" y="1400038"/>
                  </a:lnTo>
                  <a:lnTo>
                    <a:pt x="2841253" y="1417312"/>
                  </a:lnTo>
                  <a:lnTo>
                    <a:pt x="2841253" y="1479592"/>
                  </a:lnTo>
                  <a:lnTo>
                    <a:pt x="2872347" y="1472682"/>
                  </a:lnTo>
                  <a:lnTo>
                    <a:pt x="2896530" y="1486501"/>
                  </a:lnTo>
                  <a:lnTo>
                    <a:pt x="2927623" y="1472682"/>
                  </a:lnTo>
                  <a:lnTo>
                    <a:pt x="2951714" y="1455315"/>
                  </a:lnTo>
                  <a:lnTo>
                    <a:pt x="2982807" y="1417312"/>
                  </a:lnTo>
                  <a:lnTo>
                    <a:pt x="3086358" y="1289391"/>
                  </a:lnTo>
                  <a:lnTo>
                    <a:pt x="3096723" y="1258297"/>
                  </a:lnTo>
                  <a:lnTo>
                    <a:pt x="3100177" y="1203020"/>
                  </a:lnTo>
                  <a:lnTo>
                    <a:pt x="3113996" y="1165017"/>
                  </a:lnTo>
                  <a:lnTo>
                    <a:pt x="3120906" y="1126921"/>
                  </a:lnTo>
                  <a:lnTo>
                    <a:pt x="3093268" y="1092373"/>
                  </a:lnTo>
                  <a:lnTo>
                    <a:pt x="3055358" y="1085463"/>
                  </a:lnTo>
                  <a:lnTo>
                    <a:pt x="3031174" y="1106192"/>
                  </a:lnTo>
                  <a:lnTo>
                    <a:pt x="3013901" y="1078554"/>
                  </a:lnTo>
                  <a:lnTo>
                    <a:pt x="2996626" y="1099283"/>
                  </a:lnTo>
                  <a:lnTo>
                    <a:pt x="2993171" y="1071644"/>
                  </a:lnTo>
                  <a:lnTo>
                    <a:pt x="2958623" y="1075099"/>
                  </a:lnTo>
                  <a:lnTo>
                    <a:pt x="2955169" y="1057825"/>
                  </a:lnTo>
                  <a:lnTo>
                    <a:pt x="3155454" y="884991"/>
                  </a:lnTo>
                  <a:lnTo>
                    <a:pt x="3245186" y="884991"/>
                  </a:lnTo>
                  <a:lnTo>
                    <a:pt x="3269370" y="881536"/>
                  </a:lnTo>
                  <a:lnTo>
                    <a:pt x="3321192" y="884991"/>
                  </a:lnTo>
                  <a:lnTo>
                    <a:pt x="3331556" y="871172"/>
                  </a:lnTo>
                  <a:lnTo>
                    <a:pt x="3355646" y="867717"/>
                  </a:lnTo>
                  <a:lnTo>
                    <a:pt x="3393649" y="871172"/>
                  </a:lnTo>
                  <a:lnTo>
                    <a:pt x="3404014" y="884991"/>
                  </a:lnTo>
                  <a:lnTo>
                    <a:pt x="3390195" y="898810"/>
                  </a:lnTo>
                  <a:lnTo>
                    <a:pt x="3442017" y="895356"/>
                  </a:lnTo>
                  <a:lnTo>
                    <a:pt x="3469655" y="891901"/>
                  </a:lnTo>
                  <a:lnTo>
                    <a:pt x="3497200" y="891901"/>
                  </a:lnTo>
                  <a:lnTo>
                    <a:pt x="3479926" y="874627"/>
                  </a:lnTo>
                  <a:lnTo>
                    <a:pt x="3473017" y="867717"/>
                  </a:lnTo>
                  <a:lnTo>
                    <a:pt x="3486836" y="840079"/>
                  </a:lnTo>
                  <a:lnTo>
                    <a:pt x="3552477" y="788163"/>
                  </a:lnTo>
                  <a:lnTo>
                    <a:pt x="3621480" y="788163"/>
                  </a:lnTo>
                  <a:lnTo>
                    <a:pt x="3638754" y="781254"/>
                  </a:lnTo>
                  <a:lnTo>
                    <a:pt x="3624935" y="808892"/>
                  </a:lnTo>
                  <a:lnTo>
                    <a:pt x="3638754" y="822711"/>
                  </a:lnTo>
                  <a:lnTo>
                    <a:pt x="3694031" y="788163"/>
                  </a:lnTo>
                  <a:lnTo>
                    <a:pt x="3718215" y="788163"/>
                  </a:lnTo>
                  <a:lnTo>
                    <a:pt x="3718215" y="757070"/>
                  </a:lnTo>
                  <a:lnTo>
                    <a:pt x="3728579" y="746706"/>
                  </a:lnTo>
                  <a:lnTo>
                    <a:pt x="3738943" y="743251"/>
                  </a:lnTo>
                  <a:lnTo>
                    <a:pt x="3766488" y="753615"/>
                  </a:lnTo>
                  <a:lnTo>
                    <a:pt x="3752669" y="760525"/>
                  </a:lnTo>
                  <a:lnTo>
                    <a:pt x="3725124" y="822711"/>
                  </a:lnTo>
                  <a:lnTo>
                    <a:pt x="3707850" y="829621"/>
                  </a:lnTo>
                  <a:lnTo>
                    <a:pt x="3652573" y="867717"/>
                  </a:lnTo>
                  <a:lnTo>
                    <a:pt x="3580115" y="936813"/>
                  </a:lnTo>
                  <a:lnTo>
                    <a:pt x="3552477" y="943723"/>
                  </a:lnTo>
                  <a:lnTo>
                    <a:pt x="3531748" y="981819"/>
                  </a:lnTo>
                  <a:lnTo>
                    <a:pt x="3511019" y="1006003"/>
                  </a:lnTo>
                  <a:lnTo>
                    <a:pt x="3511019" y="1068189"/>
                  </a:lnTo>
                  <a:lnTo>
                    <a:pt x="3531748" y="1154653"/>
                  </a:lnTo>
                  <a:lnTo>
                    <a:pt x="3538658" y="1209930"/>
                  </a:lnTo>
                  <a:lnTo>
                    <a:pt x="3590480" y="1158108"/>
                  </a:lnTo>
                  <a:lnTo>
                    <a:pt x="3590480" y="1133831"/>
                  </a:lnTo>
                  <a:lnTo>
                    <a:pt x="3631844" y="1120012"/>
                  </a:lnTo>
                  <a:lnTo>
                    <a:pt x="3635299" y="1113102"/>
                  </a:lnTo>
                  <a:lnTo>
                    <a:pt x="3631844" y="1106192"/>
                  </a:lnTo>
                  <a:lnTo>
                    <a:pt x="3631844" y="1095828"/>
                  </a:lnTo>
                  <a:lnTo>
                    <a:pt x="3645663" y="1082009"/>
                  </a:lnTo>
                  <a:lnTo>
                    <a:pt x="3687121" y="1068189"/>
                  </a:lnTo>
                  <a:lnTo>
                    <a:pt x="3676757" y="1037096"/>
                  </a:lnTo>
                  <a:lnTo>
                    <a:pt x="3687121" y="1012912"/>
                  </a:lnTo>
                  <a:lnTo>
                    <a:pt x="3718215" y="1002548"/>
                  </a:lnTo>
                  <a:lnTo>
                    <a:pt x="3707850" y="974816"/>
                  </a:lnTo>
                  <a:lnTo>
                    <a:pt x="3714760" y="943723"/>
                  </a:lnTo>
                  <a:lnTo>
                    <a:pt x="3687121" y="943723"/>
                  </a:lnTo>
                  <a:lnTo>
                    <a:pt x="3687121" y="922994"/>
                  </a:lnTo>
                  <a:lnTo>
                    <a:pt x="3728579" y="857353"/>
                  </a:lnTo>
                  <a:lnTo>
                    <a:pt x="3776853" y="857353"/>
                  </a:lnTo>
                  <a:lnTo>
                    <a:pt x="3783762" y="836624"/>
                  </a:lnTo>
                  <a:lnTo>
                    <a:pt x="3801037" y="836624"/>
                  </a:lnTo>
                  <a:lnTo>
                    <a:pt x="3807946" y="864262"/>
                  </a:lnTo>
                  <a:lnTo>
                    <a:pt x="3835585" y="836624"/>
                  </a:lnTo>
                  <a:lnTo>
                    <a:pt x="3887313" y="836624"/>
                  </a:lnTo>
                  <a:lnTo>
                    <a:pt x="3911497" y="857353"/>
                  </a:lnTo>
                  <a:lnTo>
                    <a:pt x="3980593" y="801982"/>
                  </a:lnTo>
                  <a:lnTo>
                    <a:pt x="4015048" y="784708"/>
                  </a:lnTo>
                  <a:lnTo>
                    <a:pt x="4077234" y="757070"/>
                  </a:lnTo>
                  <a:lnTo>
                    <a:pt x="4097963" y="739796"/>
                  </a:lnTo>
                  <a:lnTo>
                    <a:pt x="4142876" y="757070"/>
                  </a:lnTo>
                  <a:lnTo>
                    <a:pt x="4166966" y="743251"/>
                  </a:lnTo>
                  <a:lnTo>
                    <a:pt x="4146331" y="712157"/>
                  </a:lnTo>
                  <a:lnTo>
                    <a:pt x="4135966" y="681064"/>
                  </a:lnTo>
                  <a:lnTo>
                    <a:pt x="4111782" y="667152"/>
                  </a:lnTo>
                  <a:lnTo>
                    <a:pt x="4087599" y="656787"/>
                  </a:lnTo>
                  <a:lnTo>
                    <a:pt x="4091054" y="642968"/>
                  </a:lnTo>
                  <a:lnTo>
                    <a:pt x="4104873" y="653332"/>
                  </a:lnTo>
                  <a:lnTo>
                    <a:pt x="4129057" y="656787"/>
                  </a:lnTo>
                  <a:lnTo>
                    <a:pt x="4163511" y="653332"/>
                  </a:lnTo>
                  <a:lnTo>
                    <a:pt x="4194604" y="625694"/>
                  </a:lnTo>
                  <a:lnTo>
                    <a:pt x="4184240" y="615329"/>
                  </a:lnTo>
                  <a:lnTo>
                    <a:pt x="4187695" y="591146"/>
                  </a:lnTo>
                  <a:lnTo>
                    <a:pt x="4211879" y="587691"/>
                  </a:lnTo>
                  <a:lnTo>
                    <a:pt x="4222243" y="622239"/>
                  </a:lnTo>
                  <a:lnTo>
                    <a:pt x="4294701" y="618784"/>
                  </a:lnTo>
                  <a:lnTo>
                    <a:pt x="4291246" y="646423"/>
                  </a:lnTo>
                  <a:lnTo>
                    <a:pt x="4318884" y="656787"/>
                  </a:lnTo>
                  <a:lnTo>
                    <a:pt x="4367252" y="681064"/>
                  </a:lnTo>
                  <a:lnTo>
                    <a:pt x="4381071" y="649877"/>
                  </a:lnTo>
                  <a:lnTo>
                    <a:pt x="4387981" y="625694"/>
                  </a:lnTo>
                  <a:lnTo>
                    <a:pt x="4432800" y="615329"/>
                  </a:lnTo>
                  <a:lnTo>
                    <a:pt x="4453529" y="594601"/>
                  </a:lnTo>
                  <a:lnTo>
                    <a:pt x="4432800" y="573872"/>
                  </a:lnTo>
                  <a:close/>
                </a:path>
              </a:pathLst>
            </a:custGeom>
            <a:solidFill>
              <a:srgbClr val="CEE3BF"/>
            </a:solidFill>
            <a:ln w="9334" cap="flat">
              <a:noFill/>
              <a:prstDash val="solid"/>
              <a:miter/>
            </a:ln>
          </p:spPr>
          <p:txBody>
            <a:bodyPr rtlCol="0" anchor="ctr"/>
            <a:lstStyle/>
            <a:p>
              <a:endParaRPr lang="en-GB" dirty="0"/>
            </a:p>
          </p:txBody>
        </p:sp>
        <p:sp>
          <p:nvSpPr>
            <p:cNvPr id="1252" name="Freeform: Shape 1251">
              <a:extLst>
                <a:ext uri="{FF2B5EF4-FFF2-40B4-BE49-F238E27FC236}">
                  <a16:creationId xmlns:a16="http://schemas.microsoft.com/office/drawing/2014/main" id="{BBE3FA18-7EB1-4DD1-9C9D-8B6755878652}"/>
                </a:ext>
              </a:extLst>
            </p:cNvPr>
            <p:cNvSpPr/>
            <p:nvPr/>
          </p:nvSpPr>
          <p:spPr>
            <a:xfrm>
              <a:off x="7250489" y="1826508"/>
              <a:ext cx="476390" cy="338757"/>
            </a:xfrm>
            <a:custGeom>
              <a:avLst/>
              <a:gdLst>
                <a:gd name="connsiteX0" fmla="*/ 34455 w 476390"/>
                <a:gd name="connsiteY0" fmla="*/ 314574 h 338757"/>
                <a:gd name="connsiteX1" fmla="*/ 51729 w 476390"/>
                <a:gd name="connsiteY1" fmla="*/ 304117 h 338757"/>
                <a:gd name="connsiteX2" fmla="*/ 62093 w 476390"/>
                <a:gd name="connsiteY2" fmla="*/ 314574 h 338757"/>
                <a:gd name="connsiteX3" fmla="*/ 62093 w 476390"/>
                <a:gd name="connsiteY3" fmla="*/ 335303 h 338757"/>
                <a:gd name="connsiteX4" fmla="*/ 151825 w 476390"/>
                <a:gd name="connsiteY4" fmla="*/ 338758 h 338757"/>
                <a:gd name="connsiteX5" fmla="*/ 127734 w 476390"/>
                <a:gd name="connsiteY5" fmla="*/ 318029 h 338757"/>
                <a:gd name="connsiteX6" fmla="*/ 124280 w 476390"/>
                <a:gd name="connsiteY6" fmla="*/ 300662 h 338757"/>
                <a:gd name="connsiteX7" fmla="*/ 107006 w 476390"/>
                <a:gd name="connsiteY7" fmla="*/ 286842 h 338757"/>
                <a:gd name="connsiteX8" fmla="*/ 110461 w 476390"/>
                <a:gd name="connsiteY8" fmla="*/ 241930 h 338757"/>
                <a:gd name="connsiteX9" fmla="*/ 148370 w 476390"/>
                <a:gd name="connsiteY9" fmla="*/ 200472 h 338757"/>
                <a:gd name="connsiteX10" fmla="*/ 165644 w 476390"/>
                <a:gd name="connsiteY10" fmla="*/ 176289 h 338757"/>
                <a:gd name="connsiteX11" fmla="*/ 189828 w 476390"/>
                <a:gd name="connsiteY11" fmla="*/ 162469 h 338757"/>
                <a:gd name="connsiteX12" fmla="*/ 189828 w 476390"/>
                <a:gd name="connsiteY12" fmla="*/ 141647 h 338757"/>
                <a:gd name="connsiteX13" fmla="*/ 210556 w 476390"/>
                <a:gd name="connsiteY13" fmla="*/ 138192 h 338757"/>
                <a:gd name="connsiteX14" fmla="*/ 234740 w 476390"/>
                <a:gd name="connsiteY14" fmla="*/ 127828 h 338757"/>
                <a:gd name="connsiteX15" fmla="*/ 286469 w 476390"/>
                <a:gd name="connsiteY15" fmla="*/ 86370 h 338757"/>
                <a:gd name="connsiteX16" fmla="*/ 383203 w 476390"/>
                <a:gd name="connsiteY16" fmla="*/ 69096 h 338757"/>
                <a:gd name="connsiteX17" fmla="*/ 438387 w 476390"/>
                <a:gd name="connsiteY17" fmla="*/ 51822 h 338757"/>
                <a:gd name="connsiteX18" fmla="*/ 469481 w 476390"/>
                <a:gd name="connsiteY18" fmla="*/ 31093 h 338757"/>
                <a:gd name="connsiteX19" fmla="*/ 476390 w 476390"/>
                <a:gd name="connsiteY19" fmla="*/ 10364 h 338757"/>
                <a:gd name="connsiteX20" fmla="*/ 459116 w 476390"/>
                <a:gd name="connsiteY20" fmla="*/ 0 h 338757"/>
                <a:gd name="connsiteX21" fmla="*/ 431478 w 476390"/>
                <a:gd name="connsiteY21" fmla="*/ 0 h 338757"/>
                <a:gd name="connsiteX22" fmla="*/ 397023 w 476390"/>
                <a:gd name="connsiteY22" fmla="*/ 13819 h 338757"/>
                <a:gd name="connsiteX23" fmla="*/ 362475 w 476390"/>
                <a:gd name="connsiteY23" fmla="*/ 34548 h 338757"/>
                <a:gd name="connsiteX24" fmla="*/ 303743 w 476390"/>
                <a:gd name="connsiteY24" fmla="*/ 41458 h 338757"/>
                <a:gd name="connsiteX25" fmla="*/ 241650 w 476390"/>
                <a:gd name="connsiteY25" fmla="*/ 48367 h 338757"/>
                <a:gd name="connsiteX26" fmla="*/ 227831 w 476390"/>
                <a:gd name="connsiteY26" fmla="*/ 62187 h 338757"/>
                <a:gd name="connsiteX27" fmla="*/ 189828 w 476390"/>
                <a:gd name="connsiteY27" fmla="*/ 69096 h 338757"/>
                <a:gd name="connsiteX28" fmla="*/ 131189 w 476390"/>
                <a:gd name="connsiteY28" fmla="*/ 114009 h 338757"/>
                <a:gd name="connsiteX29" fmla="*/ 110461 w 476390"/>
                <a:gd name="connsiteY29" fmla="*/ 145102 h 338757"/>
                <a:gd name="connsiteX30" fmla="*/ 65548 w 476390"/>
                <a:gd name="connsiteY30" fmla="*/ 183198 h 338757"/>
                <a:gd name="connsiteX31" fmla="*/ 82822 w 476390"/>
                <a:gd name="connsiteY31" fmla="*/ 186653 h 338757"/>
                <a:gd name="connsiteX32" fmla="*/ 75912 w 476390"/>
                <a:gd name="connsiteY32" fmla="*/ 200472 h 338757"/>
                <a:gd name="connsiteX33" fmla="*/ 58639 w 476390"/>
                <a:gd name="connsiteY33" fmla="*/ 203927 h 338757"/>
                <a:gd name="connsiteX34" fmla="*/ 34455 w 476390"/>
                <a:gd name="connsiteY34" fmla="*/ 228111 h 338757"/>
                <a:gd name="connsiteX35" fmla="*/ 34455 w 476390"/>
                <a:gd name="connsiteY35" fmla="*/ 245385 h 338757"/>
                <a:gd name="connsiteX36" fmla="*/ 20636 w 476390"/>
                <a:gd name="connsiteY36" fmla="*/ 259204 h 338757"/>
                <a:gd name="connsiteX37" fmla="*/ 0 w 476390"/>
                <a:gd name="connsiteY37" fmla="*/ 266114 h 338757"/>
                <a:gd name="connsiteX38" fmla="*/ 0 w 476390"/>
                <a:gd name="connsiteY38" fmla="*/ 286842 h 338757"/>
                <a:gd name="connsiteX39" fmla="*/ 17181 w 476390"/>
                <a:gd name="connsiteY39" fmla="*/ 304117 h 338757"/>
                <a:gd name="connsiteX40" fmla="*/ 34455 w 476390"/>
                <a:gd name="connsiteY40" fmla="*/ 314574 h 33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6390" h="338757">
                  <a:moveTo>
                    <a:pt x="34455" y="314574"/>
                  </a:moveTo>
                  <a:lnTo>
                    <a:pt x="51729" y="304117"/>
                  </a:lnTo>
                  <a:lnTo>
                    <a:pt x="62093" y="314574"/>
                  </a:lnTo>
                  <a:lnTo>
                    <a:pt x="62093" y="335303"/>
                  </a:lnTo>
                  <a:lnTo>
                    <a:pt x="151825" y="338758"/>
                  </a:lnTo>
                  <a:lnTo>
                    <a:pt x="127734" y="318029"/>
                  </a:lnTo>
                  <a:lnTo>
                    <a:pt x="124280" y="300662"/>
                  </a:lnTo>
                  <a:lnTo>
                    <a:pt x="107006" y="286842"/>
                  </a:lnTo>
                  <a:lnTo>
                    <a:pt x="110461" y="241930"/>
                  </a:lnTo>
                  <a:lnTo>
                    <a:pt x="148370" y="200472"/>
                  </a:lnTo>
                  <a:lnTo>
                    <a:pt x="165644" y="176289"/>
                  </a:lnTo>
                  <a:lnTo>
                    <a:pt x="189828" y="162469"/>
                  </a:lnTo>
                  <a:lnTo>
                    <a:pt x="189828" y="141647"/>
                  </a:lnTo>
                  <a:lnTo>
                    <a:pt x="210556" y="138192"/>
                  </a:lnTo>
                  <a:lnTo>
                    <a:pt x="234740" y="127828"/>
                  </a:lnTo>
                  <a:lnTo>
                    <a:pt x="286469" y="86370"/>
                  </a:lnTo>
                  <a:lnTo>
                    <a:pt x="383203" y="69096"/>
                  </a:lnTo>
                  <a:lnTo>
                    <a:pt x="438387" y="51822"/>
                  </a:lnTo>
                  <a:lnTo>
                    <a:pt x="469481" y="31093"/>
                  </a:lnTo>
                  <a:lnTo>
                    <a:pt x="476390" y="10364"/>
                  </a:lnTo>
                  <a:lnTo>
                    <a:pt x="459116" y="0"/>
                  </a:lnTo>
                  <a:lnTo>
                    <a:pt x="431478" y="0"/>
                  </a:lnTo>
                  <a:lnTo>
                    <a:pt x="397023" y="13819"/>
                  </a:lnTo>
                  <a:lnTo>
                    <a:pt x="362475" y="34548"/>
                  </a:lnTo>
                  <a:lnTo>
                    <a:pt x="303743" y="41458"/>
                  </a:lnTo>
                  <a:lnTo>
                    <a:pt x="241650" y="48367"/>
                  </a:lnTo>
                  <a:lnTo>
                    <a:pt x="227831" y="62187"/>
                  </a:lnTo>
                  <a:lnTo>
                    <a:pt x="189828" y="69096"/>
                  </a:lnTo>
                  <a:lnTo>
                    <a:pt x="131189" y="114009"/>
                  </a:lnTo>
                  <a:lnTo>
                    <a:pt x="110461" y="145102"/>
                  </a:lnTo>
                  <a:lnTo>
                    <a:pt x="65548" y="183198"/>
                  </a:lnTo>
                  <a:lnTo>
                    <a:pt x="82822" y="186653"/>
                  </a:lnTo>
                  <a:lnTo>
                    <a:pt x="75912" y="200472"/>
                  </a:lnTo>
                  <a:lnTo>
                    <a:pt x="58639" y="203927"/>
                  </a:lnTo>
                  <a:lnTo>
                    <a:pt x="34455" y="228111"/>
                  </a:lnTo>
                  <a:lnTo>
                    <a:pt x="34455" y="245385"/>
                  </a:lnTo>
                  <a:lnTo>
                    <a:pt x="20636" y="259204"/>
                  </a:lnTo>
                  <a:lnTo>
                    <a:pt x="0" y="266114"/>
                  </a:lnTo>
                  <a:lnTo>
                    <a:pt x="0" y="286842"/>
                  </a:lnTo>
                  <a:lnTo>
                    <a:pt x="17181" y="304117"/>
                  </a:lnTo>
                  <a:lnTo>
                    <a:pt x="34455" y="314574"/>
                  </a:lnTo>
                  <a:close/>
                </a:path>
              </a:pathLst>
            </a:custGeom>
            <a:solidFill>
              <a:srgbClr val="CEE3BF"/>
            </a:solidFill>
            <a:ln w="9334" cap="flat">
              <a:noFill/>
              <a:prstDash val="solid"/>
              <a:miter/>
            </a:ln>
          </p:spPr>
          <p:txBody>
            <a:bodyPr rtlCol="0" anchor="ctr"/>
            <a:lstStyle/>
            <a:p>
              <a:endParaRPr lang="en-GB" dirty="0"/>
            </a:p>
          </p:txBody>
        </p:sp>
        <p:sp>
          <p:nvSpPr>
            <p:cNvPr id="1253" name="Freeform: Shape 1252">
              <a:extLst>
                <a:ext uri="{FF2B5EF4-FFF2-40B4-BE49-F238E27FC236}">
                  <a16:creationId xmlns:a16="http://schemas.microsoft.com/office/drawing/2014/main" id="{A2B75866-7273-422E-A220-5BFD31CD9165}"/>
                </a:ext>
              </a:extLst>
            </p:cNvPr>
            <p:cNvSpPr/>
            <p:nvPr/>
          </p:nvSpPr>
          <p:spPr>
            <a:xfrm>
              <a:off x="8558928" y="1684768"/>
              <a:ext cx="165737" cy="89825"/>
            </a:xfrm>
            <a:custGeom>
              <a:avLst/>
              <a:gdLst>
                <a:gd name="connsiteX0" fmla="*/ 13819 w 165737"/>
                <a:gd name="connsiteY0" fmla="*/ 89825 h 89825"/>
                <a:gd name="connsiteX1" fmla="*/ 34455 w 165737"/>
                <a:gd name="connsiteY1" fmla="*/ 82915 h 89825"/>
                <a:gd name="connsiteX2" fmla="*/ 44819 w 165737"/>
                <a:gd name="connsiteY2" fmla="*/ 72551 h 89825"/>
                <a:gd name="connsiteX3" fmla="*/ 100096 w 165737"/>
                <a:gd name="connsiteY3" fmla="*/ 69096 h 89825"/>
                <a:gd name="connsiteX4" fmla="*/ 148464 w 165737"/>
                <a:gd name="connsiteY4" fmla="*/ 69096 h 89825"/>
                <a:gd name="connsiteX5" fmla="*/ 162283 w 165737"/>
                <a:gd name="connsiteY5" fmla="*/ 55277 h 89825"/>
                <a:gd name="connsiteX6" fmla="*/ 165737 w 165737"/>
                <a:gd name="connsiteY6" fmla="*/ 38003 h 89825"/>
                <a:gd name="connsiteX7" fmla="*/ 141554 w 165737"/>
                <a:gd name="connsiteY7" fmla="*/ 27638 h 89825"/>
                <a:gd name="connsiteX8" fmla="*/ 120825 w 165737"/>
                <a:gd name="connsiteY8" fmla="*/ 10364 h 89825"/>
                <a:gd name="connsiteX9" fmla="*/ 93186 w 165737"/>
                <a:gd name="connsiteY9" fmla="*/ 24184 h 89825"/>
                <a:gd name="connsiteX10" fmla="*/ 100096 w 165737"/>
                <a:gd name="connsiteY10" fmla="*/ 0 h 89825"/>
                <a:gd name="connsiteX11" fmla="*/ 69003 w 165737"/>
                <a:gd name="connsiteY11" fmla="*/ 3455 h 89825"/>
                <a:gd name="connsiteX12" fmla="*/ 48274 w 165737"/>
                <a:gd name="connsiteY12" fmla="*/ 24184 h 89825"/>
                <a:gd name="connsiteX13" fmla="*/ 27639 w 165737"/>
                <a:gd name="connsiteY13" fmla="*/ 51822 h 89825"/>
                <a:gd name="connsiteX14" fmla="*/ 0 w 165737"/>
                <a:gd name="connsiteY14" fmla="*/ 82915 h 89825"/>
                <a:gd name="connsiteX15" fmla="*/ 13819 w 165737"/>
                <a:gd name="connsiteY15" fmla="*/ 89825 h 8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37" h="89825">
                  <a:moveTo>
                    <a:pt x="13819" y="89825"/>
                  </a:moveTo>
                  <a:lnTo>
                    <a:pt x="34455" y="82915"/>
                  </a:lnTo>
                  <a:lnTo>
                    <a:pt x="44819" y="72551"/>
                  </a:lnTo>
                  <a:lnTo>
                    <a:pt x="100096" y="69096"/>
                  </a:lnTo>
                  <a:lnTo>
                    <a:pt x="148464" y="69096"/>
                  </a:lnTo>
                  <a:lnTo>
                    <a:pt x="162283" y="55277"/>
                  </a:lnTo>
                  <a:lnTo>
                    <a:pt x="165737" y="38003"/>
                  </a:lnTo>
                  <a:lnTo>
                    <a:pt x="141554" y="27638"/>
                  </a:lnTo>
                  <a:lnTo>
                    <a:pt x="120825" y="10364"/>
                  </a:lnTo>
                  <a:lnTo>
                    <a:pt x="93186" y="24184"/>
                  </a:lnTo>
                  <a:lnTo>
                    <a:pt x="100096" y="0"/>
                  </a:lnTo>
                  <a:lnTo>
                    <a:pt x="69003" y="3455"/>
                  </a:lnTo>
                  <a:lnTo>
                    <a:pt x="48274" y="24184"/>
                  </a:lnTo>
                  <a:lnTo>
                    <a:pt x="27639" y="51822"/>
                  </a:lnTo>
                  <a:lnTo>
                    <a:pt x="0" y="82915"/>
                  </a:lnTo>
                  <a:lnTo>
                    <a:pt x="13819" y="89825"/>
                  </a:lnTo>
                  <a:close/>
                </a:path>
              </a:pathLst>
            </a:custGeom>
            <a:solidFill>
              <a:srgbClr val="CEE3BF"/>
            </a:solidFill>
            <a:ln w="9334" cap="flat">
              <a:noFill/>
              <a:prstDash val="solid"/>
              <a:miter/>
            </a:ln>
          </p:spPr>
          <p:txBody>
            <a:bodyPr rtlCol="0" anchor="ctr"/>
            <a:lstStyle/>
            <a:p>
              <a:endParaRPr lang="en-GB" dirty="0"/>
            </a:p>
          </p:txBody>
        </p:sp>
        <p:sp>
          <p:nvSpPr>
            <p:cNvPr id="1254" name="Freeform: Shape 1253">
              <a:extLst>
                <a:ext uri="{FF2B5EF4-FFF2-40B4-BE49-F238E27FC236}">
                  <a16:creationId xmlns:a16="http://schemas.microsoft.com/office/drawing/2014/main" id="{BB02228C-70CF-444B-918C-5E4EFB0D8CB9}"/>
                </a:ext>
              </a:extLst>
            </p:cNvPr>
            <p:cNvSpPr/>
            <p:nvPr/>
          </p:nvSpPr>
          <p:spPr>
            <a:xfrm>
              <a:off x="8407009" y="1636307"/>
              <a:ext cx="165737" cy="79553"/>
            </a:xfrm>
            <a:custGeom>
              <a:avLst/>
              <a:gdLst>
                <a:gd name="connsiteX0" fmla="*/ 79367 w 165737"/>
                <a:gd name="connsiteY0" fmla="*/ 0 h 79553"/>
                <a:gd name="connsiteX1" fmla="*/ 27639 w 165737"/>
                <a:gd name="connsiteY1" fmla="*/ 10364 h 79553"/>
                <a:gd name="connsiteX2" fmla="*/ 0 w 165737"/>
                <a:gd name="connsiteY2" fmla="*/ 38096 h 79553"/>
                <a:gd name="connsiteX3" fmla="*/ 13820 w 165737"/>
                <a:gd name="connsiteY3" fmla="*/ 48461 h 79553"/>
                <a:gd name="connsiteX4" fmla="*/ 27639 w 165737"/>
                <a:gd name="connsiteY4" fmla="*/ 69190 h 79553"/>
                <a:gd name="connsiteX5" fmla="*/ 69003 w 165737"/>
                <a:gd name="connsiteY5" fmla="*/ 69190 h 79553"/>
                <a:gd name="connsiteX6" fmla="*/ 93187 w 165737"/>
                <a:gd name="connsiteY6" fmla="*/ 79554 h 79553"/>
                <a:gd name="connsiteX7" fmla="*/ 158828 w 165737"/>
                <a:gd name="connsiteY7" fmla="*/ 79554 h 79553"/>
                <a:gd name="connsiteX8" fmla="*/ 145009 w 165737"/>
                <a:gd name="connsiteY8" fmla="*/ 62280 h 79553"/>
                <a:gd name="connsiteX9" fmla="*/ 165737 w 165737"/>
                <a:gd name="connsiteY9" fmla="*/ 45006 h 79553"/>
                <a:gd name="connsiteX10" fmla="*/ 165737 w 165737"/>
                <a:gd name="connsiteY10" fmla="*/ 24277 h 79553"/>
                <a:gd name="connsiteX11" fmla="*/ 151918 w 165737"/>
                <a:gd name="connsiteY11" fmla="*/ 10364 h 79553"/>
                <a:gd name="connsiteX12" fmla="*/ 131190 w 165737"/>
                <a:gd name="connsiteY12" fmla="*/ 13913 h 79553"/>
                <a:gd name="connsiteX13" fmla="*/ 110461 w 165737"/>
                <a:gd name="connsiteY13" fmla="*/ 17274 h 79553"/>
                <a:gd name="connsiteX14" fmla="*/ 110461 w 165737"/>
                <a:gd name="connsiteY14" fmla="*/ 3455 h 79553"/>
                <a:gd name="connsiteX15" fmla="*/ 79367 w 165737"/>
                <a:gd name="connsiteY15" fmla="*/ 0 h 79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737" h="79553">
                  <a:moveTo>
                    <a:pt x="79367" y="0"/>
                  </a:moveTo>
                  <a:lnTo>
                    <a:pt x="27639" y="10364"/>
                  </a:lnTo>
                  <a:lnTo>
                    <a:pt x="0" y="38096"/>
                  </a:lnTo>
                  <a:lnTo>
                    <a:pt x="13820" y="48461"/>
                  </a:lnTo>
                  <a:lnTo>
                    <a:pt x="27639" y="69190"/>
                  </a:lnTo>
                  <a:lnTo>
                    <a:pt x="69003" y="69190"/>
                  </a:lnTo>
                  <a:lnTo>
                    <a:pt x="93187" y="79554"/>
                  </a:lnTo>
                  <a:lnTo>
                    <a:pt x="158828" y="79554"/>
                  </a:lnTo>
                  <a:lnTo>
                    <a:pt x="145009" y="62280"/>
                  </a:lnTo>
                  <a:lnTo>
                    <a:pt x="165737" y="45006"/>
                  </a:lnTo>
                  <a:lnTo>
                    <a:pt x="165737" y="24277"/>
                  </a:lnTo>
                  <a:lnTo>
                    <a:pt x="151918" y="10364"/>
                  </a:lnTo>
                  <a:lnTo>
                    <a:pt x="131190" y="13913"/>
                  </a:lnTo>
                  <a:lnTo>
                    <a:pt x="110461" y="17274"/>
                  </a:lnTo>
                  <a:lnTo>
                    <a:pt x="110461" y="3455"/>
                  </a:lnTo>
                  <a:lnTo>
                    <a:pt x="79367" y="0"/>
                  </a:lnTo>
                  <a:close/>
                </a:path>
              </a:pathLst>
            </a:custGeom>
            <a:solidFill>
              <a:srgbClr val="CEE3BF"/>
            </a:solidFill>
            <a:ln w="9334" cap="flat">
              <a:noFill/>
              <a:prstDash val="solid"/>
              <a:miter/>
            </a:ln>
          </p:spPr>
          <p:txBody>
            <a:bodyPr rtlCol="0" anchor="ctr"/>
            <a:lstStyle/>
            <a:p>
              <a:endParaRPr lang="en-GB" dirty="0"/>
            </a:p>
          </p:txBody>
        </p:sp>
        <p:sp>
          <p:nvSpPr>
            <p:cNvPr id="1255" name="Freeform: Shape 1254">
              <a:extLst>
                <a:ext uri="{FF2B5EF4-FFF2-40B4-BE49-F238E27FC236}">
                  <a16:creationId xmlns:a16="http://schemas.microsoft.com/office/drawing/2014/main" id="{BC6DEA73-75B9-453E-8927-EF19100D579B}"/>
                </a:ext>
              </a:extLst>
            </p:cNvPr>
            <p:cNvSpPr/>
            <p:nvPr/>
          </p:nvSpPr>
          <p:spPr>
            <a:xfrm>
              <a:off x="8365552" y="1563756"/>
              <a:ext cx="145008" cy="76005"/>
            </a:xfrm>
            <a:custGeom>
              <a:avLst/>
              <a:gdLst>
                <a:gd name="connsiteX0" fmla="*/ 62187 w 145008"/>
                <a:gd name="connsiteY0" fmla="*/ 72551 h 76005"/>
                <a:gd name="connsiteX1" fmla="*/ 96735 w 145008"/>
                <a:gd name="connsiteY1" fmla="*/ 65641 h 76005"/>
                <a:gd name="connsiteX2" fmla="*/ 127735 w 145008"/>
                <a:gd name="connsiteY2" fmla="*/ 62187 h 76005"/>
                <a:gd name="connsiteX3" fmla="*/ 131190 w 145008"/>
                <a:gd name="connsiteY3" fmla="*/ 48367 h 76005"/>
                <a:gd name="connsiteX4" fmla="*/ 145009 w 145008"/>
                <a:gd name="connsiteY4" fmla="*/ 38003 h 76005"/>
                <a:gd name="connsiteX5" fmla="*/ 124280 w 145008"/>
                <a:gd name="connsiteY5" fmla="*/ 24184 h 76005"/>
                <a:gd name="connsiteX6" fmla="*/ 103551 w 145008"/>
                <a:gd name="connsiteY6" fmla="*/ 3455 h 76005"/>
                <a:gd name="connsiteX7" fmla="*/ 76006 w 145008"/>
                <a:gd name="connsiteY7" fmla="*/ 0 h 76005"/>
                <a:gd name="connsiteX8" fmla="*/ 69096 w 145008"/>
                <a:gd name="connsiteY8" fmla="*/ 17274 h 76005"/>
                <a:gd name="connsiteX9" fmla="*/ 27639 w 145008"/>
                <a:gd name="connsiteY9" fmla="*/ 20729 h 76005"/>
                <a:gd name="connsiteX10" fmla="*/ 20729 w 145008"/>
                <a:gd name="connsiteY10" fmla="*/ 31093 h 76005"/>
                <a:gd name="connsiteX11" fmla="*/ 17274 w 145008"/>
                <a:gd name="connsiteY11" fmla="*/ 48367 h 76005"/>
                <a:gd name="connsiteX12" fmla="*/ 0 w 145008"/>
                <a:gd name="connsiteY12" fmla="*/ 58732 h 76005"/>
                <a:gd name="connsiteX13" fmla="*/ 38003 w 145008"/>
                <a:gd name="connsiteY13" fmla="*/ 76006 h 76005"/>
                <a:gd name="connsiteX14" fmla="*/ 62187 w 145008"/>
                <a:gd name="connsiteY14" fmla="*/ 72551 h 7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008" h="76005">
                  <a:moveTo>
                    <a:pt x="62187" y="72551"/>
                  </a:moveTo>
                  <a:lnTo>
                    <a:pt x="96735" y="65641"/>
                  </a:lnTo>
                  <a:lnTo>
                    <a:pt x="127735" y="62187"/>
                  </a:lnTo>
                  <a:lnTo>
                    <a:pt x="131190" y="48367"/>
                  </a:lnTo>
                  <a:lnTo>
                    <a:pt x="145009" y="38003"/>
                  </a:lnTo>
                  <a:lnTo>
                    <a:pt x="124280" y="24184"/>
                  </a:lnTo>
                  <a:lnTo>
                    <a:pt x="103551" y="3455"/>
                  </a:lnTo>
                  <a:lnTo>
                    <a:pt x="76006" y="0"/>
                  </a:lnTo>
                  <a:lnTo>
                    <a:pt x="69096" y="17274"/>
                  </a:lnTo>
                  <a:lnTo>
                    <a:pt x="27639" y="20729"/>
                  </a:lnTo>
                  <a:lnTo>
                    <a:pt x="20729" y="31093"/>
                  </a:lnTo>
                  <a:lnTo>
                    <a:pt x="17274" y="48367"/>
                  </a:lnTo>
                  <a:lnTo>
                    <a:pt x="0" y="58732"/>
                  </a:lnTo>
                  <a:lnTo>
                    <a:pt x="38003" y="76006"/>
                  </a:lnTo>
                  <a:lnTo>
                    <a:pt x="62187" y="72551"/>
                  </a:lnTo>
                  <a:close/>
                </a:path>
              </a:pathLst>
            </a:custGeom>
            <a:solidFill>
              <a:srgbClr val="CEE3BF"/>
            </a:solidFill>
            <a:ln w="9334" cap="flat">
              <a:noFill/>
              <a:prstDash val="solid"/>
              <a:miter/>
            </a:ln>
          </p:spPr>
          <p:txBody>
            <a:bodyPr rtlCol="0" anchor="ctr"/>
            <a:lstStyle/>
            <a:p>
              <a:endParaRPr lang="en-GB" dirty="0"/>
            </a:p>
          </p:txBody>
        </p:sp>
        <p:sp>
          <p:nvSpPr>
            <p:cNvPr id="1256" name="Freeform: Shape 1255">
              <a:extLst>
                <a:ext uri="{FF2B5EF4-FFF2-40B4-BE49-F238E27FC236}">
                  <a16:creationId xmlns:a16="http://schemas.microsoft.com/office/drawing/2014/main" id="{F528B12F-707C-418D-B2AD-3917323AD9B3}"/>
                </a:ext>
              </a:extLst>
            </p:cNvPr>
            <p:cNvSpPr/>
            <p:nvPr/>
          </p:nvSpPr>
          <p:spPr>
            <a:xfrm>
              <a:off x="9594623" y="1878331"/>
              <a:ext cx="220921" cy="76005"/>
            </a:xfrm>
            <a:custGeom>
              <a:avLst/>
              <a:gdLst>
                <a:gd name="connsiteX0" fmla="*/ 44912 w 220921"/>
                <a:gd name="connsiteY0" fmla="*/ 76006 h 76005"/>
                <a:gd name="connsiteX1" fmla="*/ 65548 w 220921"/>
                <a:gd name="connsiteY1" fmla="*/ 72551 h 76005"/>
                <a:gd name="connsiteX2" fmla="*/ 65548 w 220921"/>
                <a:gd name="connsiteY2" fmla="*/ 58732 h 76005"/>
                <a:gd name="connsiteX3" fmla="*/ 82822 w 220921"/>
                <a:gd name="connsiteY3" fmla="*/ 62187 h 76005"/>
                <a:gd name="connsiteX4" fmla="*/ 107006 w 220921"/>
                <a:gd name="connsiteY4" fmla="*/ 62187 h 76005"/>
                <a:gd name="connsiteX5" fmla="*/ 134645 w 220921"/>
                <a:gd name="connsiteY5" fmla="*/ 65641 h 76005"/>
                <a:gd name="connsiteX6" fmla="*/ 151918 w 220921"/>
                <a:gd name="connsiteY6" fmla="*/ 65641 h 76005"/>
                <a:gd name="connsiteX7" fmla="*/ 145009 w 220921"/>
                <a:gd name="connsiteY7" fmla="*/ 51822 h 76005"/>
                <a:gd name="connsiteX8" fmla="*/ 138099 w 220921"/>
                <a:gd name="connsiteY8" fmla="*/ 41458 h 76005"/>
                <a:gd name="connsiteX9" fmla="*/ 134645 w 220921"/>
                <a:gd name="connsiteY9" fmla="*/ 27638 h 76005"/>
                <a:gd name="connsiteX10" fmla="*/ 155373 w 220921"/>
                <a:gd name="connsiteY10" fmla="*/ 24184 h 76005"/>
                <a:gd name="connsiteX11" fmla="*/ 148464 w 220921"/>
                <a:gd name="connsiteY11" fmla="*/ 41458 h 76005"/>
                <a:gd name="connsiteX12" fmla="*/ 158828 w 220921"/>
                <a:gd name="connsiteY12" fmla="*/ 55277 h 76005"/>
                <a:gd name="connsiteX13" fmla="*/ 179557 w 220921"/>
                <a:gd name="connsiteY13" fmla="*/ 62187 h 76005"/>
                <a:gd name="connsiteX14" fmla="*/ 207195 w 220921"/>
                <a:gd name="connsiteY14" fmla="*/ 55277 h 76005"/>
                <a:gd name="connsiteX15" fmla="*/ 220921 w 220921"/>
                <a:gd name="connsiteY15" fmla="*/ 34548 h 76005"/>
                <a:gd name="connsiteX16" fmla="*/ 207195 w 220921"/>
                <a:gd name="connsiteY16" fmla="*/ 24184 h 76005"/>
                <a:gd name="connsiteX17" fmla="*/ 172647 w 220921"/>
                <a:gd name="connsiteY17" fmla="*/ 13819 h 76005"/>
                <a:gd name="connsiteX18" fmla="*/ 148464 w 220921"/>
                <a:gd name="connsiteY18" fmla="*/ 17274 h 76005"/>
                <a:gd name="connsiteX19" fmla="*/ 131190 w 220921"/>
                <a:gd name="connsiteY19" fmla="*/ 6910 h 76005"/>
                <a:gd name="connsiteX20" fmla="*/ 110461 w 220921"/>
                <a:gd name="connsiteY20" fmla="*/ 6910 h 76005"/>
                <a:gd name="connsiteX21" fmla="*/ 100096 w 220921"/>
                <a:gd name="connsiteY21" fmla="*/ 27638 h 76005"/>
                <a:gd name="connsiteX22" fmla="*/ 79367 w 220921"/>
                <a:gd name="connsiteY22" fmla="*/ 13819 h 76005"/>
                <a:gd name="connsiteX23" fmla="*/ 51823 w 220921"/>
                <a:gd name="connsiteY23" fmla="*/ 0 h 76005"/>
                <a:gd name="connsiteX24" fmla="*/ 31093 w 220921"/>
                <a:gd name="connsiteY24" fmla="*/ 0 h 76005"/>
                <a:gd name="connsiteX25" fmla="*/ 10365 w 220921"/>
                <a:gd name="connsiteY25" fmla="*/ 10364 h 76005"/>
                <a:gd name="connsiteX26" fmla="*/ 0 w 220921"/>
                <a:gd name="connsiteY26" fmla="*/ 34548 h 76005"/>
                <a:gd name="connsiteX27" fmla="*/ 3455 w 220921"/>
                <a:gd name="connsiteY27" fmla="*/ 55277 h 76005"/>
                <a:gd name="connsiteX28" fmla="*/ 44912 w 220921"/>
                <a:gd name="connsiteY28" fmla="*/ 76006 h 7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0921" h="76005">
                  <a:moveTo>
                    <a:pt x="44912" y="76006"/>
                  </a:moveTo>
                  <a:lnTo>
                    <a:pt x="65548" y="72551"/>
                  </a:lnTo>
                  <a:lnTo>
                    <a:pt x="65548" y="58732"/>
                  </a:lnTo>
                  <a:lnTo>
                    <a:pt x="82822" y="62187"/>
                  </a:lnTo>
                  <a:lnTo>
                    <a:pt x="107006" y="62187"/>
                  </a:lnTo>
                  <a:lnTo>
                    <a:pt x="134645" y="65641"/>
                  </a:lnTo>
                  <a:lnTo>
                    <a:pt x="151918" y="65641"/>
                  </a:lnTo>
                  <a:lnTo>
                    <a:pt x="145009" y="51822"/>
                  </a:lnTo>
                  <a:lnTo>
                    <a:pt x="138099" y="41458"/>
                  </a:lnTo>
                  <a:lnTo>
                    <a:pt x="134645" y="27638"/>
                  </a:lnTo>
                  <a:lnTo>
                    <a:pt x="155373" y="24184"/>
                  </a:lnTo>
                  <a:lnTo>
                    <a:pt x="148464" y="41458"/>
                  </a:lnTo>
                  <a:lnTo>
                    <a:pt x="158828" y="55277"/>
                  </a:lnTo>
                  <a:lnTo>
                    <a:pt x="179557" y="62187"/>
                  </a:lnTo>
                  <a:lnTo>
                    <a:pt x="207195" y="55277"/>
                  </a:lnTo>
                  <a:lnTo>
                    <a:pt x="220921" y="34548"/>
                  </a:lnTo>
                  <a:lnTo>
                    <a:pt x="207195" y="24184"/>
                  </a:lnTo>
                  <a:lnTo>
                    <a:pt x="172647" y="13819"/>
                  </a:lnTo>
                  <a:lnTo>
                    <a:pt x="148464" y="17274"/>
                  </a:lnTo>
                  <a:lnTo>
                    <a:pt x="131190" y="6910"/>
                  </a:lnTo>
                  <a:lnTo>
                    <a:pt x="110461" y="6910"/>
                  </a:lnTo>
                  <a:lnTo>
                    <a:pt x="100096" y="27638"/>
                  </a:lnTo>
                  <a:lnTo>
                    <a:pt x="79367" y="13819"/>
                  </a:lnTo>
                  <a:lnTo>
                    <a:pt x="51823" y="0"/>
                  </a:lnTo>
                  <a:lnTo>
                    <a:pt x="31093" y="0"/>
                  </a:lnTo>
                  <a:lnTo>
                    <a:pt x="10365" y="10364"/>
                  </a:lnTo>
                  <a:lnTo>
                    <a:pt x="0" y="34548"/>
                  </a:lnTo>
                  <a:lnTo>
                    <a:pt x="3455" y="55277"/>
                  </a:lnTo>
                  <a:lnTo>
                    <a:pt x="44912" y="76006"/>
                  </a:lnTo>
                  <a:close/>
                </a:path>
              </a:pathLst>
            </a:custGeom>
            <a:solidFill>
              <a:srgbClr val="CEE3BF"/>
            </a:solidFill>
            <a:ln w="9334" cap="flat">
              <a:noFill/>
              <a:prstDash val="solid"/>
              <a:miter/>
            </a:ln>
          </p:spPr>
          <p:txBody>
            <a:bodyPr rtlCol="0" anchor="ctr"/>
            <a:lstStyle/>
            <a:p>
              <a:endParaRPr lang="en-GB" dirty="0"/>
            </a:p>
          </p:txBody>
        </p:sp>
        <p:sp>
          <p:nvSpPr>
            <p:cNvPr id="1257" name="Freeform: Shape 1256">
              <a:extLst>
                <a:ext uri="{FF2B5EF4-FFF2-40B4-BE49-F238E27FC236}">
                  <a16:creationId xmlns:a16="http://schemas.microsoft.com/office/drawing/2014/main" id="{047576D6-7720-4B27-9D4C-D40CD46E4430}"/>
                </a:ext>
              </a:extLst>
            </p:cNvPr>
            <p:cNvSpPr/>
            <p:nvPr/>
          </p:nvSpPr>
          <p:spPr>
            <a:xfrm>
              <a:off x="9843183" y="1912879"/>
              <a:ext cx="127735" cy="41457"/>
            </a:xfrm>
            <a:custGeom>
              <a:avLst/>
              <a:gdLst>
                <a:gd name="connsiteX0" fmla="*/ 34548 w 127735"/>
                <a:gd name="connsiteY0" fmla="*/ 34548 h 41457"/>
                <a:gd name="connsiteX1" fmla="*/ 62187 w 127735"/>
                <a:gd name="connsiteY1" fmla="*/ 41458 h 41457"/>
                <a:gd name="connsiteX2" fmla="*/ 82915 w 127735"/>
                <a:gd name="connsiteY2" fmla="*/ 41458 h 41457"/>
                <a:gd name="connsiteX3" fmla="*/ 103551 w 127735"/>
                <a:gd name="connsiteY3" fmla="*/ 34548 h 41457"/>
                <a:gd name="connsiteX4" fmla="*/ 127735 w 127735"/>
                <a:gd name="connsiteY4" fmla="*/ 24184 h 41457"/>
                <a:gd name="connsiteX5" fmla="*/ 117370 w 127735"/>
                <a:gd name="connsiteY5" fmla="*/ 17274 h 41457"/>
                <a:gd name="connsiteX6" fmla="*/ 86277 w 127735"/>
                <a:gd name="connsiteY6" fmla="*/ 13819 h 41457"/>
                <a:gd name="connsiteX7" fmla="*/ 62187 w 127735"/>
                <a:gd name="connsiteY7" fmla="*/ 6910 h 41457"/>
                <a:gd name="connsiteX8" fmla="*/ 27639 w 127735"/>
                <a:gd name="connsiteY8" fmla="*/ 6910 h 41457"/>
                <a:gd name="connsiteX9" fmla="*/ 10365 w 127735"/>
                <a:gd name="connsiteY9" fmla="*/ 0 h 41457"/>
                <a:gd name="connsiteX10" fmla="*/ 0 w 127735"/>
                <a:gd name="connsiteY10" fmla="*/ 13819 h 41457"/>
                <a:gd name="connsiteX11" fmla="*/ 6910 w 127735"/>
                <a:gd name="connsiteY11" fmla="*/ 27638 h 41457"/>
                <a:gd name="connsiteX12" fmla="*/ 34548 w 127735"/>
                <a:gd name="connsiteY12" fmla="*/ 34548 h 4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735" h="41457">
                  <a:moveTo>
                    <a:pt x="34548" y="34548"/>
                  </a:moveTo>
                  <a:lnTo>
                    <a:pt x="62187" y="41458"/>
                  </a:lnTo>
                  <a:lnTo>
                    <a:pt x="82915" y="41458"/>
                  </a:lnTo>
                  <a:lnTo>
                    <a:pt x="103551" y="34548"/>
                  </a:lnTo>
                  <a:lnTo>
                    <a:pt x="127735" y="24184"/>
                  </a:lnTo>
                  <a:lnTo>
                    <a:pt x="117370" y="17274"/>
                  </a:lnTo>
                  <a:lnTo>
                    <a:pt x="86277" y="13819"/>
                  </a:lnTo>
                  <a:lnTo>
                    <a:pt x="62187" y="6910"/>
                  </a:lnTo>
                  <a:lnTo>
                    <a:pt x="27639" y="6910"/>
                  </a:lnTo>
                  <a:lnTo>
                    <a:pt x="10365" y="0"/>
                  </a:lnTo>
                  <a:lnTo>
                    <a:pt x="0" y="13819"/>
                  </a:lnTo>
                  <a:lnTo>
                    <a:pt x="6910" y="27638"/>
                  </a:lnTo>
                  <a:lnTo>
                    <a:pt x="34548" y="34548"/>
                  </a:lnTo>
                  <a:close/>
                </a:path>
              </a:pathLst>
            </a:custGeom>
            <a:solidFill>
              <a:srgbClr val="CEE3BF"/>
            </a:solidFill>
            <a:ln w="9334" cap="flat">
              <a:noFill/>
              <a:prstDash val="solid"/>
              <a:miter/>
            </a:ln>
          </p:spPr>
          <p:txBody>
            <a:bodyPr rtlCol="0" anchor="ctr"/>
            <a:lstStyle/>
            <a:p>
              <a:endParaRPr lang="en-GB" dirty="0"/>
            </a:p>
          </p:txBody>
        </p:sp>
        <p:sp>
          <p:nvSpPr>
            <p:cNvPr id="1258" name="Freeform: Shape 1257">
              <a:extLst>
                <a:ext uri="{FF2B5EF4-FFF2-40B4-BE49-F238E27FC236}">
                  <a16:creationId xmlns:a16="http://schemas.microsoft.com/office/drawing/2014/main" id="{984FD16F-12B9-48D7-8F41-FC19F47973D0}"/>
                </a:ext>
              </a:extLst>
            </p:cNvPr>
            <p:cNvSpPr/>
            <p:nvPr/>
          </p:nvSpPr>
          <p:spPr>
            <a:xfrm>
              <a:off x="10733963" y="2113351"/>
              <a:ext cx="100095" cy="41551"/>
            </a:xfrm>
            <a:custGeom>
              <a:avLst/>
              <a:gdLst>
                <a:gd name="connsiteX0" fmla="*/ 17181 w 100095"/>
                <a:gd name="connsiteY0" fmla="*/ 41551 h 41551"/>
                <a:gd name="connsiteX1" fmla="*/ 41364 w 100095"/>
                <a:gd name="connsiteY1" fmla="*/ 41551 h 41551"/>
                <a:gd name="connsiteX2" fmla="*/ 79367 w 100095"/>
                <a:gd name="connsiteY2" fmla="*/ 34642 h 41551"/>
                <a:gd name="connsiteX3" fmla="*/ 100096 w 100095"/>
                <a:gd name="connsiteY3" fmla="*/ 31187 h 41551"/>
                <a:gd name="connsiteX4" fmla="*/ 100096 w 100095"/>
                <a:gd name="connsiteY4" fmla="*/ 13819 h 41551"/>
                <a:gd name="connsiteX5" fmla="*/ 82822 w 100095"/>
                <a:gd name="connsiteY5" fmla="*/ 6910 h 41551"/>
                <a:gd name="connsiteX6" fmla="*/ 62093 w 100095"/>
                <a:gd name="connsiteY6" fmla="*/ 0 h 41551"/>
                <a:gd name="connsiteX7" fmla="*/ 37909 w 100095"/>
                <a:gd name="connsiteY7" fmla="*/ 3455 h 41551"/>
                <a:gd name="connsiteX8" fmla="*/ 24090 w 100095"/>
                <a:gd name="connsiteY8" fmla="*/ 13819 h 41551"/>
                <a:gd name="connsiteX9" fmla="*/ 0 w 100095"/>
                <a:gd name="connsiteY9" fmla="*/ 27732 h 41551"/>
                <a:gd name="connsiteX10" fmla="*/ 3361 w 100095"/>
                <a:gd name="connsiteY10" fmla="*/ 41551 h 41551"/>
                <a:gd name="connsiteX11" fmla="*/ 17181 w 100095"/>
                <a:gd name="connsiteY11" fmla="*/ 41551 h 4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95" h="41551">
                  <a:moveTo>
                    <a:pt x="17181" y="41551"/>
                  </a:moveTo>
                  <a:lnTo>
                    <a:pt x="41364" y="41551"/>
                  </a:lnTo>
                  <a:lnTo>
                    <a:pt x="79367" y="34642"/>
                  </a:lnTo>
                  <a:lnTo>
                    <a:pt x="100096" y="31187"/>
                  </a:lnTo>
                  <a:lnTo>
                    <a:pt x="100096" y="13819"/>
                  </a:lnTo>
                  <a:lnTo>
                    <a:pt x="82822" y="6910"/>
                  </a:lnTo>
                  <a:lnTo>
                    <a:pt x="62093" y="0"/>
                  </a:lnTo>
                  <a:lnTo>
                    <a:pt x="37909" y="3455"/>
                  </a:lnTo>
                  <a:lnTo>
                    <a:pt x="24090" y="13819"/>
                  </a:lnTo>
                  <a:lnTo>
                    <a:pt x="0" y="27732"/>
                  </a:lnTo>
                  <a:lnTo>
                    <a:pt x="3361" y="41551"/>
                  </a:lnTo>
                  <a:lnTo>
                    <a:pt x="17181" y="41551"/>
                  </a:lnTo>
                  <a:close/>
                </a:path>
              </a:pathLst>
            </a:custGeom>
            <a:solidFill>
              <a:srgbClr val="CEE3BF"/>
            </a:solidFill>
            <a:ln w="9334" cap="flat">
              <a:noFill/>
              <a:prstDash val="solid"/>
              <a:miter/>
            </a:ln>
          </p:spPr>
          <p:txBody>
            <a:bodyPr rtlCol="0" anchor="ctr"/>
            <a:lstStyle/>
            <a:p>
              <a:endParaRPr lang="en-GB" dirty="0"/>
            </a:p>
          </p:txBody>
        </p:sp>
        <p:sp>
          <p:nvSpPr>
            <p:cNvPr id="1259" name="Freeform: Shape 1258">
              <a:extLst>
                <a:ext uri="{FF2B5EF4-FFF2-40B4-BE49-F238E27FC236}">
                  <a16:creationId xmlns:a16="http://schemas.microsoft.com/office/drawing/2014/main" id="{65651678-1D30-4E54-8BF9-FD48FB459665}"/>
                </a:ext>
              </a:extLst>
            </p:cNvPr>
            <p:cNvSpPr/>
            <p:nvPr/>
          </p:nvSpPr>
          <p:spPr>
            <a:xfrm>
              <a:off x="6137014" y="1646672"/>
              <a:ext cx="288336" cy="207475"/>
            </a:xfrm>
            <a:custGeom>
              <a:avLst/>
              <a:gdLst>
                <a:gd name="connsiteX0" fmla="*/ 19048 w 288336"/>
                <a:gd name="connsiteY0" fmla="*/ 41551 h 207475"/>
                <a:gd name="connsiteX1" fmla="*/ 32868 w 288336"/>
                <a:gd name="connsiteY1" fmla="*/ 41551 h 207475"/>
                <a:gd name="connsiteX2" fmla="*/ 32868 w 288336"/>
                <a:gd name="connsiteY2" fmla="*/ 48461 h 207475"/>
                <a:gd name="connsiteX3" fmla="*/ 12138 w 288336"/>
                <a:gd name="connsiteY3" fmla="*/ 62280 h 207475"/>
                <a:gd name="connsiteX4" fmla="*/ 19048 w 288336"/>
                <a:gd name="connsiteY4" fmla="*/ 79554 h 207475"/>
                <a:gd name="connsiteX5" fmla="*/ 46687 w 288336"/>
                <a:gd name="connsiteY5" fmla="*/ 100283 h 207475"/>
                <a:gd name="connsiteX6" fmla="*/ 63868 w 288336"/>
                <a:gd name="connsiteY6" fmla="*/ 110647 h 207475"/>
                <a:gd name="connsiteX7" fmla="*/ 88051 w 288336"/>
                <a:gd name="connsiteY7" fmla="*/ 96828 h 207475"/>
                <a:gd name="connsiteX8" fmla="*/ 94960 w 288336"/>
                <a:gd name="connsiteY8" fmla="*/ 83009 h 207475"/>
                <a:gd name="connsiteX9" fmla="*/ 105325 w 288336"/>
                <a:gd name="connsiteY9" fmla="*/ 83009 h 207475"/>
                <a:gd name="connsiteX10" fmla="*/ 112235 w 288336"/>
                <a:gd name="connsiteY10" fmla="*/ 72644 h 207475"/>
                <a:gd name="connsiteX11" fmla="*/ 122599 w 288336"/>
                <a:gd name="connsiteY11" fmla="*/ 76099 h 207475"/>
                <a:gd name="connsiteX12" fmla="*/ 122599 w 288336"/>
                <a:gd name="connsiteY12" fmla="*/ 89918 h 207475"/>
                <a:gd name="connsiteX13" fmla="*/ 143328 w 288336"/>
                <a:gd name="connsiteY13" fmla="*/ 89918 h 207475"/>
                <a:gd name="connsiteX14" fmla="*/ 153693 w 288336"/>
                <a:gd name="connsiteY14" fmla="*/ 83009 h 207475"/>
                <a:gd name="connsiteX15" fmla="*/ 167512 w 288336"/>
                <a:gd name="connsiteY15" fmla="*/ 96828 h 207475"/>
                <a:gd name="connsiteX16" fmla="*/ 146783 w 288336"/>
                <a:gd name="connsiteY16" fmla="*/ 103738 h 207475"/>
                <a:gd name="connsiteX17" fmla="*/ 119144 w 288336"/>
                <a:gd name="connsiteY17" fmla="*/ 103738 h 207475"/>
                <a:gd name="connsiteX18" fmla="*/ 94960 w 288336"/>
                <a:gd name="connsiteY18" fmla="*/ 110647 h 207475"/>
                <a:gd name="connsiteX19" fmla="*/ 74232 w 288336"/>
                <a:gd name="connsiteY19" fmla="*/ 117557 h 207475"/>
                <a:gd name="connsiteX20" fmla="*/ 74232 w 288336"/>
                <a:gd name="connsiteY20" fmla="*/ 134831 h 207475"/>
                <a:gd name="connsiteX21" fmla="*/ 101870 w 288336"/>
                <a:gd name="connsiteY21" fmla="*/ 131376 h 207475"/>
                <a:gd name="connsiteX22" fmla="*/ 122599 w 288336"/>
                <a:gd name="connsiteY22" fmla="*/ 138286 h 207475"/>
                <a:gd name="connsiteX23" fmla="*/ 143328 w 288336"/>
                <a:gd name="connsiteY23" fmla="*/ 152105 h 207475"/>
                <a:gd name="connsiteX24" fmla="*/ 94960 w 288336"/>
                <a:gd name="connsiteY24" fmla="*/ 145195 h 207475"/>
                <a:gd name="connsiteX25" fmla="*/ 77687 w 288336"/>
                <a:gd name="connsiteY25" fmla="*/ 159015 h 207475"/>
                <a:gd name="connsiteX26" fmla="*/ 101870 w 288336"/>
                <a:gd name="connsiteY26" fmla="*/ 169472 h 207475"/>
                <a:gd name="connsiteX27" fmla="*/ 115690 w 288336"/>
                <a:gd name="connsiteY27" fmla="*/ 179837 h 207475"/>
                <a:gd name="connsiteX28" fmla="*/ 139873 w 288336"/>
                <a:gd name="connsiteY28" fmla="*/ 176382 h 207475"/>
                <a:gd name="connsiteX29" fmla="*/ 139873 w 288336"/>
                <a:gd name="connsiteY29" fmla="*/ 197111 h 207475"/>
                <a:gd name="connsiteX30" fmla="*/ 160602 w 288336"/>
                <a:gd name="connsiteY30" fmla="*/ 207475 h 207475"/>
                <a:gd name="connsiteX31" fmla="*/ 174421 w 288336"/>
                <a:gd name="connsiteY31" fmla="*/ 176382 h 207475"/>
                <a:gd name="connsiteX32" fmla="*/ 184692 w 288336"/>
                <a:gd name="connsiteY32" fmla="*/ 152105 h 207475"/>
                <a:gd name="connsiteX33" fmla="*/ 201966 w 288336"/>
                <a:gd name="connsiteY33" fmla="*/ 145195 h 207475"/>
                <a:gd name="connsiteX34" fmla="*/ 205421 w 288336"/>
                <a:gd name="connsiteY34" fmla="*/ 117557 h 207475"/>
                <a:gd name="connsiteX35" fmla="*/ 212331 w 288336"/>
                <a:gd name="connsiteY35" fmla="*/ 103738 h 207475"/>
                <a:gd name="connsiteX36" fmla="*/ 236514 w 288336"/>
                <a:gd name="connsiteY36" fmla="*/ 89918 h 207475"/>
                <a:gd name="connsiteX37" fmla="*/ 274517 w 288336"/>
                <a:gd name="connsiteY37" fmla="*/ 83009 h 207475"/>
                <a:gd name="connsiteX38" fmla="*/ 288337 w 288336"/>
                <a:gd name="connsiteY38" fmla="*/ 76099 h 207475"/>
                <a:gd name="connsiteX39" fmla="*/ 260698 w 288336"/>
                <a:gd name="connsiteY39" fmla="*/ 62280 h 207475"/>
                <a:gd name="connsiteX40" fmla="*/ 219240 w 288336"/>
                <a:gd name="connsiteY40" fmla="*/ 51915 h 207475"/>
                <a:gd name="connsiteX41" fmla="*/ 219240 w 288336"/>
                <a:gd name="connsiteY41" fmla="*/ 38096 h 207475"/>
                <a:gd name="connsiteX42" fmla="*/ 198512 w 288336"/>
                <a:gd name="connsiteY42" fmla="*/ 27732 h 207475"/>
                <a:gd name="connsiteX43" fmla="*/ 191695 w 288336"/>
                <a:gd name="connsiteY43" fmla="*/ 38096 h 207475"/>
                <a:gd name="connsiteX44" fmla="*/ 177876 w 288336"/>
                <a:gd name="connsiteY44" fmla="*/ 34641 h 207475"/>
                <a:gd name="connsiteX45" fmla="*/ 184692 w 288336"/>
                <a:gd name="connsiteY45" fmla="*/ 13913 h 207475"/>
                <a:gd name="connsiteX46" fmla="*/ 164057 w 288336"/>
                <a:gd name="connsiteY46" fmla="*/ 6910 h 207475"/>
                <a:gd name="connsiteX47" fmla="*/ 146783 w 288336"/>
                <a:gd name="connsiteY47" fmla="*/ 0 h 207475"/>
                <a:gd name="connsiteX48" fmla="*/ 139873 w 288336"/>
                <a:gd name="connsiteY48" fmla="*/ 6910 h 207475"/>
                <a:gd name="connsiteX49" fmla="*/ 143328 w 288336"/>
                <a:gd name="connsiteY49" fmla="*/ 20822 h 207475"/>
                <a:gd name="connsiteX50" fmla="*/ 150238 w 288336"/>
                <a:gd name="connsiteY50" fmla="*/ 41551 h 207475"/>
                <a:gd name="connsiteX51" fmla="*/ 153693 w 288336"/>
                <a:gd name="connsiteY51" fmla="*/ 65735 h 207475"/>
                <a:gd name="connsiteX52" fmla="*/ 143328 w 288336"/>
                <a:gd name="connsiteY52" fmla="*/ 62280 h 207475"/>
                <a:gd name="connsiteX53" fmla="*/ 132963 w 288336"/>
                <a:gd name="connsiteY53" fmla="*/ 48461 h 207475"/>
                <a:gd name="connsiteX54" fmla="*/ 129509 w 288336"/>
                <a:gd name="connsiteY54" fmla="*/ 38096 h 207475"/>
                <a:gd name="connsiteX55" fmla="*/ 126054 w 288336"/>
                <a:gd name="connsiteY55" fmla="*/ 24277 h 207475"/>
                <a:gd name="connsiteX56" fmla="*/ 108780 w 288336"/>
                <a:gd name="connsiteY56" fmla="*/ 17367 h 207475"/>
                <a:gd name="connsiteX57" fmla="*/ 94960 w 288336"/>
                <a:gd name="connsiteY57" fmla="*/ 20822 h 207475"/>
                <a:gd name="connsiteX58" fmla="*/ 88051 w 288336"/>
                <a:gd name="connsiteY58" fmla="*/ 45006 h 207475"/>
                <a:gd name="connsiteX59" fmla="*/ 81141 w 288336"/>
                <a:gd name="connsiteY59" fmla="*/ 17367 h 207475"/>
                <a:gd name="connsiteX60" fmla="*/ 57051 w 288336"/>
                <a:gd name="connsiteY60" fmla="*/ 13913 h 207475"/>
                <a:gd name="connsiteX61" fmla="*/ 32868 w 288336"/>
                <a:gd name="connsiteY61" fmla="*/ 13913 h 207475"/>
                <a:gd name="connsiteX62" fmla="*/ 6910 w 288336"/>
                <a:gd name="connsiteY62" fmla="*/ 20822 h 207475"/>
                <a:gd name="connsiteX63" fmla="*/ 0 w 288336"/>
                <a:gd name="connsiteY63" fmla="*/ 34641 h 207475"/>
                <a:gd name="connsiteX64" fmla="*/ 3455 w 288336"/>
                <a:gd name="connsiteY64" fmla="*/ 51915 h 207475"/>
                <a:gd name="connsiteX65" fmla="*/ 19048 w 288336"/>
                <a:gd name="connsiteY65" fmla="*/ 41551 h 20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88336" h="207475">
                  <a:moveTo>
                    <a:pt x="19048" y="41551"/>
                  </a:moveTo>
                  <a:lnTo>
                    <a:pt x="32868" y="41551"/>
                  </a:lnTo>
                  <a:lnTo>
                    <a:pt x="32868" y="48461"/>
                  </a:lnTo>
                  <a:lnTo>
                    <a:pt x="12138" y="62280"/>
                  </a:lnTo>
                  <a:lnTo>
                    <a:pt x="19048" y="79554"/>
                  </a:lnTo>
                  <a:lnTo>
                    <a:pt x="46687" y="100283"/>
                  </a:lnTo>
                  <a:lnTo>
                    <a:pt x="63868" y="110647"/>
                  </a:lnTo>
                  <a:lnTo>
                    <a:pt x="88051" y="96828"/>
                  </a:lnTo>
                  <a:lnTo>
                    <a:pt x="94960" y="83009"/>
                  </a:lnTo>
                  <a:lnTo>
                    <a:pt x="105325" y="83009"/>
                  </a:lnTo>
                  <a:lnTo>
                    <a:pt x="112235" y="72644"/>
                  </a:lnTo>
                  <a:lnTo>
                    <a:pt x="122599" y="76099"/>
                  </a:lnTo>
                  <a:lnTo>
                    <a:pt x="122599" y="89918"/>
                  </a:lnTo>
                  <a:lnTo>
                    <a:pt x="143328" y="89918"/>
                  </a:lnTo>
                  <a:lnTo>
                    <a:pt x="153693" y="83009"/>
                  </a:lnTo>
                  <a:lnTo>
                    <a:pt x="167512" y="96828"/>
                  </a:lnTo>
                  <a:lnTo>
                    <a:pt x="146783" y="103738"/>
                  </a:lnTo>
                  <a:lnTo>
                    <a:pt x="119144" y="103738"/>
                  </a:lnTo>
                  <a:lnTo>
                    <a:pt x="94960" y="110647"/>
                  </a:lnTo>
                  <a:lnTo>
                    <a:pt x="74232" y="117557"/>
                  </a:lnTo>
                  <a:lnTo>
                    <a:pt x="74232" y="134831"/>
                  </a:lnTo>
                  <a:lnTo>
                    <a:pt x="101870" y="131376"/>
                  </a:lnTo>
                  <a:lnTo>
                    <a:pt x="122599" y="138286"/>
                  </a:lnTo>
                  <a:lnTo>
                    <a:pt x="143328" y="152105"/>
                  </a:lnTo>
                  <a:lnTo>
                    <a:pt x="94960" y="145195"/>
                  </a:lnTo>
                  <a:lnTo>
                    <a:pt x="77687" y="159015"/>
                  </a:lnTo>
                  <a:lnTo>
                    <a:pt x="101870" y="169472"/>
                  </a:lnTo>
                  <a:lnTo>
                    <a:pt x="115690" y="179837"/>
                  </a:lnTo>
                  <a:lnTo>
                    <a:pt x="139873" y="176382"/>
                  </a:lnTo>
                  <a:lnTo>
                    <a:pt x="139873" y="197111"/>
                  </a:lnTo>
                  <a:lnTo>
                    <a:pt x="160602" y="207475"/>
                  </a:lnTo>
                  <a:lnTo>
                    <a:pt x="174421" y="176382"/>
                  </a:lnTo>
                  <a:lnTo>
                    <a:pt x="184692" y="152105"/>
                  </a:lnTo>
                  <a:lnTo>
                    <a:pt x="201966" y="145195"/>
                  </a:lnTo>
                  <a:lnTo>
                    <a:pt x="205421" y="117557"/>
                  </a:lnTo>
                  <a:lnTo>
                    <a:pt x="212331" y="103738"/>
                  </a:lnTo>
                  <a:lnTo>
                    <a:pt x="236514" y="89918"/>
                  </a:lnTo>
                  <a:lnTo>
                    <a:pt x="274517" y="83009"/>
                  </a:lnTo>
                  <a:lnTo>
                    <a:pt x="288337" y="76099"/>
                  </a:lnTo>
                  <a:lnTo>
                    <a:pt x="260698" y="62280"/>
                  </a:lnTo>
                  <a:lnTo>
                    <a:pt x="219240" y="51915"/>
                  </a:lnTo>
                  <a:lnTo>
                    <a:pt x="219240" y="38096"/>
                  </a:lnTo>
                  <a:lnTo>
                    <a:pt x="198512" y="27732"/>
                  </a:lnTo>
                  <a:lnTo>
                    <a:pt x="191695" y="38096"/>
                  </a:lnTo>
                  <a:lnTo>
                    <a:pt x="177876" y="34641"/>
                  </a:lnTo>
                  <a:lnTo>
                    <a:pt x="184692" y="13913"/>
                  </a:lnTo>
                  <a:lnTo>
                    <a:pt x="164057" y="6910"/>
                  </a:lnTo>
                  <a:lnTo>
                    <a:pt x="146783" y="0"/>
                  </a:lnTo>
                  <a:lnTo>
                    <a:pt x="139873" y="6910"/>
                  </a:lnTo>
                  <a:lnTo>
                    <a:pt x="143328" y="20822"/>
                  </a:lnTo>
                  <a:lnTo>
                    <a:pt x="150238" y="41551"/>
                  </a:lnTo>
                  <a:lnTo>
                    <a:pt x="153693" y="65735"/>
                  </a:lnTo>
                  <a:lnTo>
                    <a:pt x="143328" y="62280"/>
                  </a:lnTo>
                  <a:lnTo>
                    <a:pt x="132963" y="48461"/>
                  </a:lnTo>
                  <a:lnTo>
                    <a:pt x="129509" y="38096"/>
                  </a:lnTo>
                  <a:lnTo>
                    <a:pt x="126054" y="24277"/>
                  </a:lnTo>
                  <a:lnTo>
                    <a:pt x="108780" y="17367"/>
                  </a:lnTo>
                  <a:lnTo>
                    <a:pt x="94960" y="20822"/>
                  </a:lnTo>
                  <a:lnTo>
                    <a:pt x="88051" y="45006"/>
                  </a:lnTo>
                  <a:lnTo>
                    <a:pt x="81141" y="17367"/>
                  </a:lnTo>
                  <a:lnTo>
                    <a:pt x="57051" y="13913"/>
                  </a:lnTo>
                  <a:lnTo>
                    <a:pt x="32868" y="13913"/>
                  </a:lnTo>
                  <a:lnTo>
                    <a:pt x="6910" y="20822"/>
                  </a:lnTo>
                  <a:lnTo>
                    <a:pt x="0" y="34641"/>
                  </a:lnTo>
                  <a:lnTo>
                    <a:pt x="3455" y="51915"/>
                  </a:lnTo>
                  <a:lnTo>
                    <a:pt x="19048" y="41551"/>
                  </a:lnTo>
                  <a:close/>
                </a:path>
              </a:pathLst>
            </a:custGeom>
            <a:solidFill>
              <a:srgbClr val="CEE3BF"/>
            </a:solidFill>
            <a:ln w="9334" cap="flat">
              <a:noFill/>
              <a:prstDash val="solid"/>
              <a:miter/>
            </a:ln>
          </p:spPr>
          <p:txBody>
            <a:bodyPr rtlCol="0" anchor="ctr"/>
            <a:lstStyle/>
            <a:p>
              <a:endParaRPr lang="en-GB" dirty="0"/>
            </a:p>
          </p:txBody>
        </p:sp>
        <p:sp>
          <p:nvSpPr>
            <p:cNvPr id="1260" name="Freeform: Shape 1259">
              <a:extLst>
                <a:ext uri="{FF2B5EF4-FFF2-40B4-BE49-F238E27FC236}">
                  <a16:creationId xmlns:a16="http://schemas.microsoft.com/office/drawing/2014/main" id="{947A25E7-D166-4826-BB32-F0042B8472A4}"/>
                </a:ext>
              </a:extLst>
            </p:cNvPr>
            <p:cNvSpPr/>
            <p:nvPr/>
          </p:nvSpPr>
          <p:spPr>
            <a:xfrm>
              <a:off x="6338980" y="1615578"/>
              <a:ext cx="248652" cy="86463"/>
            </a:xfrm>
            <a:custGeom>
              <a:avLst/>
              <a:gdLst>
                <a:gd name="connsiteX0" fmla="*/ 31093 w 248652"/>
                <a:gd name="connsiteY0" fmla="*/ 45006 h 86463"/>
                <a:gd name="connsiteX1" fmla="*/ 58732 w 248652"/>
                <a:gd name="connsiteY1" fmla="*/ 38003 h 86463"/>
                <a:gd name="connsiteX2" fmla="*/ 86370 w 248652"/>
                <a:gd name="connsiteY2" fmla="*/ 38003 h 86463"/>
                <a:gd name="connsiteX3" fmla="*/ 103644 w 248652"/>
                <a:gd name="connsiteY3" fmla="*/ 41551 h 86463"/>
                <a:gd name="connsiteX4" fmla="*/ 93280 w 248652"/>
                <a:gd name="connsiteY4" fmla="*/ 48461 h 86463"/>
                <a:gd name="connsiteX5" fmla="*/ 62186 w 248652"/>
                <a:gd name="connsiteY5" fmla="*/ 51916 h 86463"/>
                <a:gd name="connsiteX6" fmla="*/ 58732 w 248652"/>
                <a:gd name="connsiteY6" fmla="*/ 65735 h 86463"/>
                <a:gd name="connsiteX7" fmla="*/ 89825 w 248652"/>
                <a:gd name="connsiteY7" fmla="*/ 65735 h 86463"/>
                <a:gd name="connsiteX8" fmla="*/ 107099 w 248652"/>
                <a:gd name="connsiteY8" fmla="*/ 65735 h 86463"/>
                <a:gd name="connsiteX9" fmla="*/ 117370 w 248652"/>
                <a:gd name="connsiteY9" fmla="*/ 65735 h 86463"/>
                <a:gd name="connsiteX10" fmla="*/ 127734 w 248652"/>
                <a:gd name="connsiteY10" fmla="*/ 79554 h 86463"/>
                <a:gd name="connsiteX11" fmla="*/ 158828 w 248652"/>
                <a:gd name="connsiteY11" fmla="*/ 86464 h 86463"/>
                <a:gd name="connsiteX12" fmla="*/ 172647 w 248652"/>
                <a:gd name="connsiteY12" fmla="*/ 65735 h 86463"/>
                <a:gd name="connsiteX13" fmla="*/ 196831 w 248652"/>
                <a:gd name="connsiteY13" fmla="*/ 65735 h 86463"/>
                <a:gd name="connsiteX14" fmla="*/ 210650 w 248652"/>
                <a:gd name="connsiteY14" fmla="*/ 51916 h 86463"/>
                <a:gd name="connsiteX15" fmla="*/ 238289 w 248652"/>
                <a:gd name="connsiteY15" fmla="*/ 38003 h 86463"/>
                <a:gd name="connsiteX16" fmla="*/ 248653 w 248652"/>
                <a:gd name="connsiteY16" fmla="*/ 27638 h 86463"/>
                <a:gd name="connsiteX17" fmla="*/ 227924 w 248652"/>
                <a:gd name="connsiteY17" fmla="*/ 24184 h 86463"/>
                <a:gd name="connsiteX18" fmla="*/ 196831 w 248652"/>
                <a:gd name="connsiteY18" fmla="*/ 17274 h 86463"/>
                <a:gd name="connsiteX19" fmla="*/ 165737 w 248652"/>
                <a:gd name="connsiteY19" fmla="*/ 13819 h 86463"/>
                <a:gd name="connsiteX20" fmla="*/ 141554 w 248652"/>
                <a:gd name="connsiteY20" fmla="*/ 24184 h 86463"/>
                <a:gd name="connsiteX21" fmla="*/ 127734 w 248652"/>
                <a:gd name="connsiteY21" fmla="*/ 0 h 86463"/>
                <a:gd name="connsiteX22" fmla="*/ 114009 w 248652"/>
                <a:gd name="connsiteY22" fmla="*/ 20729 h 86463"/>
                <a:gd name="connsiteX23" fmla="*/ 96735 w 248652"/>
                <a:gd name="connsiteY23" fmla="*/ 17274 h 86463"/>
                <a:gd name="connsiteX24" fmla="*/ 79461 w 248652"/>
                <a:gd name="connsiteY24" fmla="*/ 17274 h 86463"/>
                <a:gd name="connsiteX25" fmla="*/ 51822 w 248652"/>
                <a:gd name="connsiteY25" fmla="*/ 10364 h 86463"/>
                <a:gd name="connsiteX26" fmla="*/ 38003 w 248652"/>
                <a:gd name="connsiteY26" fmla="*/ 10364 h 86463"/>
                <a:gd name="connsiteX27" fmla="*/ 17274 w 248652"/>
                <a:gd name="connsiteY27" fmla="*/ 24184 h 86463"/>
                <a:gd name="connsiteX28" fmla="*/ 0 w 248652"/>
                <a:gd name="connsiteY28" fmla="*/ 31093 h 86463"/>
                <a:gd name="connsiteX29" fmla="*/ 3455 w 248652"/>
                <a:gd name="connsiteY29" fmla="*/ 41551 h 86463"/>
                <a:gd name="connsiteX30" fmla="*/ 31093 w 248652"/>
                <a:gd name="connsiteY30" fmla="*/ 45006 h 8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8652" h="86463">
                  <a:moveTo>
                    <a:pt x="31093" y="45006"/>
                  </a:moveTo>
                  <a:lnTo>
                    <a:pt x="58732" y="38003"/>
                  </a:lnTo>
                  <a:lnTo>
                    <a:pt x="86370" y="38003"/>
                  </a:lnTo>
                  <a:lnTo>
                    <a:pt x="103644" y="41551"/>
                  </a:lnTo>
                  <a:lnTo>
                    <a:pt x="93280" y="48461"/>
                  </a:lnTo>
                  <a:lnTo>
                    <a:pt x="62186" y="51916"/>
                  </a:lnTo>
                  <a:lnTo>
                    <a:pt x="58732" y="65735"/>
                  </a:lnTo>
                  <a:lnTo>
                    <a:pt x="89825" y="65735"/>
                  </a:lnTo>
                  <a:lnTo>
                    <a:pt x="107099" y="65735"/>
                  </a:lnTo>
                  <a:lnTo>
                    <a:pt x="117370" y="65735"/>
                  </a:lnTo>
                  <a:lnTo>
                    <a:pt x="127734" y="79554"/>
                  </a:lnTo>
                  <a:lnTo>
                    <a:pt x="158828" y="86464"/>
                  </a:lnTo>
                  <a:lnTo>
                    <a:pt x="172647" y="65735"/>
                  </a:lnTo>
                  <a:lnTo>
                    <a:pt x="196831" y="65735"/>
                  </a:lnTo>
                  <a:lnTo>
                    <a:pt x="210650" y="51916"/>
                  </a:lnTo>
                  <a:lnTo>
                    <a:pt x="238289" y="38003"/>
                  </a:lnTo>
                  <a:lnTo>
                    <a:pt x="248653" y="27638"/>
                  </a:lnTo>
                  <a:lnTo>
                    <a:pt x="227924" y="24184"/>
                  </a:lnTo>
                  <a:lnTo>
                    <a:pt x="196831" y="17274"/>
                  </a:lnTo>
                  <a:lnTo>
                    <a:pt x="165737" y="13819"/>
                  </a:lnTo>
                  <a:lnTo>
                    <a:pt x="141554" y="24184"/>
                  </a:lnTo>
                  <a:lnTo>
                    <a:pt x="127734" y="0"/>
                  </a:lnTo>
                  <a:lnTo>
                    <a:pt x="114009" y="20729"/>
                  </a:lnTo>
                  <a:lnTo>
                    <a:pt x="96735" y="17274"/>
                  </a:lnTo>
                  <a:lnTo>
                    <a:pt x="79461" y="17274"/>
                  </a:lnTo>
                  <a:lnTo>
                    <a:pt x="51822" y="10364"/>
                  </a:lnTo>
                  <a:lnTo>
                    <a:pt x="38003" y="10364"/>
                  </a:lnTo>
                  <a:lnTo>
                    <a:pt x="17274" y="24184"/>
                  </a:lnTo>
                  <a:lnTo>
                    <a:pt x="0" y="31093"/>
                  </a:lnTo>
                  <a:lnTo>
                    <a:pt x="3455" y="41551"/>
                  </a:lnTo>
                  <a:lnTo>
                    <a:pt x="31093" y="45006"/>
                  </a:lnTo>
                  <a:close/>
                </a:path>
              </a:pathLst>
            </a:custGeom>
            <a:solidFill>
              <a:srgbClr val="CEE3BF"/>
            </a:solidFill>
            <a:ln w="9334" cap="flat">
              <a:noFill/>
              <a:prstDash val="solid"/>
              <a:miter/>
            </a:ln>
          </p:spPr>
          <p:txBody>
            <a:bodyPr rtlCol="0" anchor="ctr"/>
            <a:lstStyle/>
            <a:p>
              <a:endParaRPr lang="en-GB" dirty="0"/>
            </a:p>
          </p:txBody>
        </p:sp>
        <p:sp>
          <p:nvSpPr>
            <p:cNvPr id="1261" name="Freeform: Shape 1260">
              <a:extLst>
                <a:ext uri="{FF2B5EF4-FFF2-40B4-BE49-F238E27FC236}">
                  <a16:creationId xmlns:a16="http://schemas.microsoft.com/office/drawing/2014/main" id="{FE42A455-C305-4E2E-AE15-A5EF3B720C7B}"/>
                </a:ext>
              </a:extLst>
            </p:cNvPr>
            <p:cNvSpPr/>
            <p:nvPr/>
          </p:nvSpPr>
          <p:spPr>
            <a:xfrm>
              <a:off x="6408076" y="1757319"/>
              <a:ext cx="100095" cy="55370"/>
            </a:xfrm>
            <a:custGeom>
              <a:avLst/>
              <a:gdLst>
                <a:gd name="connsiteX0" fmla="*/ 65548 w 100095"/>
                <a:gd name="connsiteY0" fmla="*/ 48367 h 55370"/>
                <a:gd name="connsiteX1" fmla="*/ 89732 w 100095"/>
                <a:gd name="connsiteY1" fmla="*/ 34548 h 55370"/>
                <a:gd name="connsiteX2" fmla="*/ 100096 w 100095"/>
                <a:gd name="connsiteY2" fmla="*/ 20729 h 55370"/>
                <a:gd name="connsiteX3" fmla="*/ 82822 w 100095"/>
                <a:gd name="connsiteY3" fmla="*/ 20729 h 55370"/>
                <a:gd name="connsiteX4" fmla="*/ 72457 w 100095"/>
                <a:gd name="connsiteY4" fmla="*/ 13819 h 55370"/>
                <a:gd name="connsiteX5" fmla="*/ 65548 w 100095"/>
                <a:gd name="connsiteY5" fmla="*/ 0 h 55370"/>
                <a:gd name="connsiteX6" fmla="*/ 51729 w 100095"/>
                <a:gd name="connsiteY6" fmla="*/ 0 h 55370"/>
                <a:gd name="connsiteX7" fmla="*/ 24183 w 100095"/>
                <a:gd name="connsiteY7" fmla="*/ 6910 h 55370"/>
                <a:gd name="connsiteX8" fmla="*/ 17274 w 100095"/>
                <a:gd name="connsiteY8" fmla="*/ 13819 h 55370"/>
                <a:gd name="connsiteX9" fmla="*/ 10364 w 100095"/>
                <a:gd name="connsiteY9" fmla="*/ 24184 h 55370"/>
                <a:gd name="connsiteX10" fmla="*/ 0 w 100095"/>
                <a:gd name="connsiteY10" fmla="*/ 34548 h 55370"/>
                <a:gd name="connsiteX11" fmla="*/ 6910 w 100095"/>
                <a:gd name="connsiteY11" fmla="*/ 48367 h 55370"/>
                <a:gd name="connsiteX12" fmla="*/ 17274 w 100095"/>
                <a:gd name="connsiteY12" fmla="*/ 38003 h 55370"/>
                <a:gd name="connsiteX13" fmla="*/ 31093 w 100095"/>
                <a:gd name="connsiteY13" fmla="*/ 34548 h 55370"/>
                <a:gd name="connsiteX14" fmla="*/ 44912 w 100095"/>
                <a:gd name="connsiteY14" fmla="*/ 34548 h 55370"/>
                <a:gd name="connsiteX15" fmla="*/ 44912 w 100095"/>
                <a:gd name="connsiteY15" fmla="*/ 55370 h 55370"/>
                <a:gd name="connsiteX16" fmla="*/ 65548 w 100095"/>
                <a:gd name="connsiteY16" fmla="*/ 48367 h 5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095" h="55370">
                  <a:moveTo>
                    <a:pt x="65548" y="48367"/>
                  </a:moveTo>
                  <a:lnTo>
                    <a:pt x="89732" y="34548"/>
                  </a:lnTo>
                  <a:lnTo>
                    <a:pt x="100096" y="20729"/>
                  </a:lnTo>
                  <a:lnTo>
                    <a:pt x="82822" y="20729"/>
                  </a:lnTo>
                  <a:lnTo>
                    <a:pt x="72457" y="13819"/>
                  </a:lnTo>
                  <a:lnTo>
                    <a:pt x="65548" y="0"/>
                  </a:lnTo>
                  <a:lnTo>
                    <a:pt x="51729" y="0"/>
                  </a:lnTo>
                  <a:lnTo>
                    <a:pt x="24183" y="6910"/>
                  </a:lnTo>
                  <a:lnTo>
                    <a:pt x="17274" y="13819"/>
                  </a:lnTo>
                  <a:lnTo>
                    <a:pt x="10364" y="24184"/>
                  </a:lnTo>
                  <a:lnTo>
                    <a:pt x="0" y="34548"/>
                  </a:lnTo>
                  <a:lnTo>
                    <a:pt x="6910" y="48367"/>
                  </a:lnTo>
                  <a:lnTo>
                    <a:pt x="17274" y="38003"/>
                  </a:lnTo>
                  <a:lnTo>
                    <a:pt x="31093" y="34548"/>
                  </a:lnTo>
                  <a:lnTo>
                    <a:pt x="44912" y="34548"/>
                  </a:lnTo>
                  <a:lnTo>
                    <a:pt x="44912" y="55370"/>
                  </a:lnTo>
                  <a:lnTo>
                    <a:pt x="65548" y="48367"/>
                  </a:lnTo>
                  <a:close/>
                </a:path>
              </a:pathLst>
            </a:custGeom>
            <a:solidFill>
              <a:srgbClr val="CEE3BF"/>
            </a:solidFill>
            <a:ln w="9334" cap="flat">
              <a:noFill/>
              <a:prstDash val="solid"/>
              <a:miter/>
            </a:ln>
          </p:spPr>
          <p:txBody>
            <a:bodyPr rtlCol="0" anchor="ctr"/>
            <a:lstStyle/>
            <a:p>
              <a:endParaRPr lang="en-GB" dirty="0"/>
            </a:p>
          </p:txBody>
        </p:sp>
        <p:sp>
          <p:nvSpPr>
            <p:cNvPr id="1262" name="Freeform: Shape 1261">
              <a:extLst>
                <a:ext uri="{FF2B5EF4-FFF2-40B4-BE49-F238E27FC236}">
                  <a16:creationId xmlns:a16="http://schemas.microsoft.com/office/drawing/2014/main" id="{DC8FFF30-D115-44A1-968D-92E1993E0F45}"/>
                </a:ext>
              </a:extLst>
            </p:cNvPr>
            <p:cNvSpPr/>
            <p:nvPr/>
          </p:nvSpPr>
          <p:spPr>
            <a:xfrm>
              <a:off x="8445012" y="4377558"/>
              <a:ext cx="296833" cy="304209"/>
            </a:xfrm>
            <a:custGeom>
              <a:avLst/>
              <a:gdLst>
                <a:gd name="connsiteX0" fmla="*/ 296834 w 296833"/>
                <a:gd name="connsiteY0" fmla="*/ 269662 h 304209"/>
                <a:gd name="connsiteX1" fmla="*/ 296834 w 296833"/>
                <a:gd name="connsiteY1" fmla="*/ 224749 h 304209"/>
                <a:gd name="connsiteX2" fmla="*/ 276198 w 296833"/>
                <a:gd name="connsiteY2" fmla="*/ 214385 h 304209"/>
                <a:gd name="connsiteX3" fmla="*/ 258924 w 296833"/>
                <a:gd name="connsiteY3" fmla="*/ 224749 h 304209"/>
                <a:gd name="connsiteX4" fmla="*/ 262379 w 296833"/>
                <a:gd name="connsiteY4" fmla="*/ 214385 h 304209"/>
                <a:gd name="connsiteX5" fmla="*/ 262379 w 296833"/>
                <a:gd name="connsiteY5" fmla="*/ 200565 h 304209"/>
                <a:gd name="connsiteX6" fmla="*/ 248559 w 296833"/>
                <a:gd name="connsiteY6" fmla="*/ 179837 h 304209"/>
                <a:gd name="connsiteX7" fmla="*/ 234740 w 296833"/>
                <a:gd name="connsiteY7" fmla="*/ 176382 h 304209"/>
                <a:gd name="connsiteX8" fmla="*/ 231286 w 296833"/>
                <a:gd name="connsiteY8" fmla="*/ 166018 h 304209"/>
                <a:gd name="connsiteX9" fmla="*/ 231286 w 296833"/>
                <a:gd name="connsiteY9" fmla="*/ 145195 h 304209"/>
                <a:gd name="connsiteX10" fmla="*/ 210556 w 296833"/>
                <a:gd name="connsiteY10" fmla="*/ 134831 h 304209"/>
                <a:gd name="connsiteX11" fmla="*/ 186373 w 296833"/>
                <a:gd name="connsiteY11" fmla="*/ 110647 h 304209"/>
                <a:gd name="connsiteX12" fmla="*/ 165644 w 296833"/>
                <a:gd name="connsiteY12" fmla="*/ 93373 h 304209"/>
                <a:gd name="connsiteX13" fmla="*/ 145009 w 296833"/>
                <a:gd name="connsiteY13" fmla="*/ 86463 h 304209"/>
                <a:gd name="connsiteX14" fmla="*/ 124280 w 296833"/>
                <a:gd name="connsiteY14" fmla="*/ 62280 h 304209"/>
                <a:gd name="connsiteX15" fmla="*/ 103551 w 296833"/>
                <a:gd name="connsiteY15" fmla="*/ 48461 h 304209"/>
                <a:gd name="connsiteX16" fmla="*/ 82822 w 296833"/>
                <a:gd name="connsiteY16" fmla="*/ 31187 h 304209"/>
                <a:gd name="connsiteX17" fmla="*/ 65548 w 296833"/>
                <a:gd name="connsiteY17" fmla="*/ 6910 h 304209"/>
                <a:gd name="connsiteX18" fmla="*/ 34455 w 296833"/>
                <a:gd name="connsiteY18" fmla="*/ 3455 h 304209"/>
                <a:gd name="connsiteX19" fmla="*/ 0 w 296833"/>
                <a:gd name="connsiteY19" fmla="*/ 0 h 304209"/>
                <a:gd name="connsiteX20" fmla="*/ 6910 w 296833"/>
                <a:gd name="connsiteY20" fmla="*/ 17367 h 304209"/>
                <a:gd name="connsiteX21" fmla="*/ 34455 w 296833"/>
                <a:gd name="connsiteY21" fmla="*/ 38096 h 304209"/>
                <a:gd name="connsiteX22" fmla="*/ 65548 w 296833"/>
                <a:gd name="connsiteY22" fmla="*/ 72644 h 304209"/>
                <a:gd name="connsiteX23" fmla="*/ 65548 w 296833"/>
                <a:gd name="connsiteY23" fmla="*/ 86463 h 304209"/>
                <a:gd name="connsiteX24" fmla="*/ 79367 w 296833"/>
                <a:gd name="connsiteY24" fmla="*/ 86463 h 304209"/>
                <a:gd name="connsiteX25" fmla="*/ 103551 w 296833"/>
                <a:gd name="connsiteY25" fmla="*/ 107192 h 304209"/>
                <a:gd name="connsiteX26" fmla="*/ 103551 w 296833"/>
                <a:gd name="connsiteY26" fmla="*/ 121012 h 304209"/>
                <a:gd name="connsiteX27" fmla="*/ 110461 w 296833"/>
                <a:gd name="connsiteY27" fmla="*/ 138286 h 304209"/>
                <a:gd name="connsiteX28" fmla="*/ 148370 w 296833"/>
                <a:gd name="connsiteY28" fmla="*/ 183292 h 304209"/>
                <a:gd name="connsiteX29" fmla="*/ 155373 w 296833"/>
                <a:gd name="connsiteY29" fmla="*/ 207475 h 304209"/>
                <a:gd name="connsiteX30" fmla="*/ 165644 w 296833"/>
                <a:gd name="connsiteY30" fmla="*/ 221294 h 304209"/>
                <a:gd name="connsiteX31" fmla="*/ 245105 w 296833"/>
                <a:gd name="connsiteY31" fmla="*/ 300755 h 304209"/>
                <a:gd name="connsiteX32" fmla="*/ 262379 w 296833"/>
                <a:gd name="connsiteY32" fmla="*/ 304210 h 304209"/>
                <a:gd name="connsiteX33" fmla="*/ 276198 w 296833"/>
                <a:gd name="connsiteY33" fmla="*/ 300755 h 304209"/>
                <a:gd name="connsiteX34" fmla="*/ 293379 w 296833"/>
                <a:gd name="connsiteY34" fmla="*/ 304210 h 304209"/>
                <a:gd name="connsiteX35" fmla="*/ 296834 w 296833"/>
                <a:gd name="connsiteY35" fmla="*/ 269662 h 30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6833" h="304209">
                  <a:moveTo>
                    <a:pt x="296834" y="269662"/>
                  </a:moveTo>
                  <a:lnTo>
                    <a:pt x="296834" y="224749"/>
                  </a:lnTo>
                  <a:lnTo>
                    <a:pt x="276198" y="214385"/>
                  </a:lnTo>
                  <a:lnTo>
                    <a:pt x="258924" y="224749"/>
                  </a:lnTo>
                  <a:lnTo>
                    <a:pt x="262379" y="214385"/>
                  </a:lnTo>
                  <a:lnTo>
                    <a:pt x="262379" y="200565"/>
                  </a:lnTo>
                  <a:lnTo>
                    <a:pt x="248559" y="179837"/>
                  </a:lnTo>
                  <a:lnTo>
                    <a:pt x="234740" y="176382"/>
                  </a:lnTo>
                  <a:lnTo>
                    <a:pt x="231286" y="166018"/>
                  </a:lnTo>
                  <a:lnTo>
                    <a:pt x="231286" y="145195"/>
                  </a:lnTo>
                  <a:lnTo>
                    <a:pt x="210556" y="134831"/>
                  </a:lnTo>
                  <a:lnTo>
                    <a:pt x="186373" y="110647"/>
                  </a:lnTo>
                  <a:lnTo>
                    <a:pt x="165644" y="93373"/>
                  </a:lnTo>
                  <a:lnTo>
                    <a:pt x="145009" y="86463"/>
                  </a:lnTo>
                  <a:lnTo>
                    <a:pt x="124280" y="62280"/>
                  </a:lnTo>
                  <a:lnTo>
                    <a:pt x="103551" y="48461"/>
                  </a:lnTo>
                  <a:lnTo>
                    <a:pt x="82822" y="31187"/>
                  </a:lnTo>
                  <a:lnTo>
                    <a:pt x="65548" y="6910"/>
                  </a:lnTo>
                  <a:lnTo>
                    <a:pt x="34455" y="3455"/>
                  </a:lnTo>
                  <a:lnTo>
                    <a:pt x="0" y="0"/>
                  </a:lnTo>
                  <a:lnTo>
                    <a:pt x="6910" y="17367"/>
                  </a:lnTo>
                  <a:lnTo>
                    <a:pt x="34455" y="38096"/>
                  </a:lnTo>
                  <a:lnTo>
                    <a:pt x="65548" y="72644"/>
                  </a:lnTo>
                  <a:lnTo>
                    <a:pt x="65548" y="86463"/>
                  </a:lnTo>
                  <a:lnTo>
                    <a:pt x="79367" y="86463"/>
                  </a:lnTo>
                  <a:lnTo>
                    <a:pt x="103551" y="107192"/>
                  </a:lnTo>
                  <a:lnTo>
                    <a:pt x="103551" y="121012"/>
                  </a:lnTo>
                  <a:lnTo>
                    <a:pt x="110461" y="138286"/>
                  </a:lnTo>
                  <a:lnTo>
                    <a:pt x="148370" y="183292"/>
                  </a:lnTo>
                  <a:lnTo>
                    <a:pt x="155373" y="207475"/>
                  </a:lnTo>
                  <a:lnTo>
                    <a:pt x="165644" y="221294"/>
                  </a:lnTo>
                  <a:lnTo>
                    <a:pt x="245105" y="300755"/>
                  </a:lnTo>
                  <a:lnTo>
                    <a:pt x="262379" y="304210"/>
                  </a:lnTo>
                  <a:lnTo>
                    <a:pt x="276198" y="300755"/>
                  </a:lnTo>
                  <a:lnTo>
                    <a:pt x="293379" y="304210"/>
                  </a:lnTo>
                  <a:lnTo>
                    <a:pt x="296834" y="269662"/>
                  </a:lnTo>
                  <a:close/>
                </a:path>
              </a:pathLst>
            </a:custGeom>
            <a:solidFill>
              <a:srgbClr val="CEE3BF"/>
            </a:solidFill>
            <a:ln w="9334" cap="flat">
              <a:noFill/>
              <a:prstDash val="solid"/>
              <a:miter/>
            </a:ln>
          </p:spPr>
          <p:txBody>
            <a:bodyPr rtlCol="0" anchor="ctr"/>
            <a:lstStyle/>
            <a:p>
              <a:endParaRPr lang="en-GB" dirty="0"/>
            </a:p>
          </p:txBody>
        </p:sp>
        <p:sp>
          <p:nvSpPr>
            <p:cNvPr id="1263" name="Freeform: Shape 1262">
              <a:extLst>
                <a:ext uri="{FF2B5EF4-FFF2-40B4-BE49-F238E27FC236}">
                  <a16:creationId xmlns:a16="http://schemas.microsoft.com/office/drawing/2014/main" id="{17EB3C55-3E7E-4293-A520-1B6917AE1EE4}"/>
                </a:ext>
              </a:extLst>
            </p:cNvPr>
            <p:cNvSpPr/>
            <p:nvPr/>
          </p:nvSpPr>
          <p:spPr>
            <a:xfrm>
              <a:off x="8731481" y="4692132"/>
              <a:ext cx="272743" cy="76099"/>
            </a:xfrm>
            <a:custGeom>
              <a:avLst/>
              <a:gdLst>
                <a:gd name="connsiteX0" fmla="*/ 248653 w 272743"/>
                <a:gd name="connsiteY0" fmla="*/ 76099 h 76099"/>
                <a:gd name="connsiteX1" fmla="*/ 272743 w 272743"/>
                <a:gd name="connsiteY1" fmla="*/ 72644 h 76099"/>
                <a:gd name="connsiteX2" fmla="*/ 265834 w 272743"/>
                <a:gd name="connsiteY2" fmla="*/ 62280 h 76099"/>
                <a:gd name="connsiteX3" fmla="*/ 248653 w 272743"/>
                <a:gd name="connsiteY3" fmla="*/ 55370 h 76099"/>
                <a:gd name="connsiteX4" fmla="*/ 245198 w 272743"/>
                <a:gd name="connsiteY4" fmla="*/ 45006 h 76099"/>
                <a:gd name="connsiteX5" fmla="*/ 231379 w 272743"/>
                <a:gd name="connsiteY5" fmla="*/ 45006 h 76099"/>
                <a:gd name="connsiteX6" fmla="*/ 196831 w 272743"/>
                <a:gd name="connsiteY6" fmla="*/ 41551 h 76099"/>
                <a:gd name="connsiteX7" fmla="*/ 193376 w 272743"/>
                <a:gd name="connsiteY7" fmla="*/ 31187 h 76099"/>
                <a:gd name="connsiteX8" fmla="*/ 172648 w 272743"/>
                <a:gd name="connsiteY8" fmla="*/ 17274 h 76099"/>
                <a:gd name="connsiteX9" fmla="*/ 145009 w 272743"/>
                <a:gd name="connsiteY9" fmla="*/ 17274 h 76099"/>
                <a:gd name="connsiteX10" fmla="*/ 127828 w 272743"/>
                <a:gd name="connsiteY10" fmla="*/ 24277 h 76099"/>
                <a:gd name="connsiteX11" fmla="*/ 96735 w 272743"/>
                <a:gd name="connsiteY11" fmla="*/ 24277 h 76099"/>
                <a:gd name="connsiteX12" fmla="*/ 79461 w 272743"/>
                <a:gd name="connsiteY12" fmla="*/ 17274 h 76099"/>
                <a:gd name="connsiteX13" fmla="*/ 48367 w 272743"/>
                <a:gd name="connsiteY13" fmla="*/ 0 h 76099"/>
                <a:gd name="connsiteX14" fmla="*/ 13820 w 272743"/>
                <a:gd name="connsiteY14" fmla="*/ 3455 h 76099"/>
                <a:gd name="connsiteX15" fmla="*/ 0 w 272743"/>
                <a:gd name="connsiteY15" fmla="*/ 17274 h 76099"/>
                <a:gd name="connsiteX16" fmla="*/ 17274 w 272743"/>
                <a:gd name="connsiteY16" fmla="*/ 27732 h 76099"/>
                <a:gd name="connsiteX17" fmla="*/ 24184 w 272743"/>
                <a:gd name="connsiteY17" fmla="*/ 34641 h 76099"/>
                <a:gd name="connsiteX18" fmla="*/ 44912 w 272743"/>
                <a:gd name="connsiteY18" fmla="*/ 41551 h 76099"/>
                <a:gd name="connsiteX19" fmla="*/ 62187 w 272743"/>
                <a:gd name="connsiteY19" fmla="*/ 48461 h 76099"/>
                <a:gd name="connsiteX20" fmla="*/ 117464 w 272743"/>
                <a:gd name="connsiteY20" fmla="*/ 48461 h 76099"/>
                <a:gd name="connsiteX21" fmla="*/ 134645 w 272743"/>
                <a:gd name="connsiteY21" fmla="*/ 62280 h 76099"/>
                <a:gd name="connsiteX22" fmla="*/ 186467 w 272743"/>
                <a:gd name="connsiteY22" fmla="*/ 65735 h 76099"/>
                <a:gd name="connsiteX23" fmla="*/ 200286 w 272743"/>
                <a:gd name="connsiteY23" fmla="*/ 65735 h 76099"/>
                <a:gd name="connsiteX24" fmla="*/ 217560 w 272743"/>
                <a:gd name="connsiteY24" fmla="*/ 69189 h 76099"/>
                <a:gd name="connsiteX25" fmla="*/ 248653 w 272743"/>
                <a:gd name="connsiteY25" fmla="*/ 76099 h 7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2743" h="76099">
                  <a:moveTo>
                    <a:pt x="248653" y="76099"/>
                  </a:moveTo>
                  <a:lnTo>
                    <a:pt x="272743" y="72644"/>
                  </a:lnTo>
                  <a:lnTo>
                    <a:pt x="265834" y="62280"/>
                  </a:lnTo>
                  <a:lnTo>
                    <a:pt x="248653" y="55370"/>
                  </a:lnTo>
                  <a:lnTo>
                    <a:pt x="245198" y="45006"/>
                  </a:lnTo>
                  <a:lnTo>
                    <a:pt x="231379" y="45006"/>
                  </a:lnTo>
                  <a:lnTo>
                    <a:pt x="196831" y="41551"/>
                  </a:lnTo>
                  <a:lnTo>
                    <a:pt x="193376" y="31187"/>
                  </a:lnTo>
                  <a:lnTo>
                    <a:pt x="172648" y="17274"/>
                  </a:lnTo>
                  <a:lnTo>
                    <a:pt x="145009" y="17274"/>
                  </a:lnTo>
                  <a:lnTo>
                    <a:pt x="127828" y="24277"/>
                  </a:lnTo>
                  <a:lnTo>
                    <a:pt x="96735" y="24277"/>
                  </a:lnTo>
                  <a:lnTo>
                    <a:pt x="79461" y="17274"/>
                  </a:lnTo>
                  <a:lnTo>
                    <a:pt x="48367" y="0"/>
                  </a:lnTo>
                  <a:lnTo>
                    <a:pt x="13820" y="3455"/>
                  </a:lnTo>
                  <a:lnTo>
                    <a:pt x="0" y="17274"/>
                  </a:lnTo>
                  <a:lnTo>
                    <a:pt x="17274" y="27732"/>
                  </a:lnTo>
                  <a:lnTo>
                    <a:pt x="24184" y="34641"/>
                  </a:lnTo>
                  <a:lnTo>
                    <a:pt x="44912" y="41551"/>
                  </a:lnTo>
                  <a:lnTo>
                    <a:pt x="62187" y="48461"/>
                  </a:lnTo>
                  <a:lnTo>
                    <a:pt x="117464" y="48461"/>
                  </a:lnTo>
                  <a:lnTo>
                    <a:pt x="134645" y="62280"/>
                  </a:lnTo>
                  <a:lnTo>
                    <a:pt x="186467" y="65735"/>
                  </a:lnTo>
                  <a:lnTo>
                    <a:pt x="200286" y="65735"/>
                  </a:lnTo>
                  <a:lnTo>
                    <a:pt x="217560" y="69189"/>
                  </a:lnTo>
                  <a:lnTo>
                    <a:pt x="248653" y="76099"/>
                  </a:lnTo>
                  <a:close/>
                </a:path>
              </a:pathLst>
            </a:custGeom>
            <a:solidFill>
              <a:srgbClr val="CEE3BF"/>
            </a:solidFill>
            <a:ln w="9334" cap="flat">
              <a:noFill/>
              <a:prstDash val="solid"/>
              <a:miter/>
            </a:ln>
          </p:spPr>
          <p:txBody>
            <a:bodyPr rtlCol="0" anchor="ctr"/>
            <a:lstStyle/>
            <a:p>
              <a:endParaRPr lang="en-GB" dirty="0"/>
            </a:p>
          </p:txBody>
        </p:sp>
        <p:sp>
          <p:nvSpPr>
            <p:cNvPr id="1264" name="Freeform: Shape 1263">
              <a:extLst>
                <a:ext uri="{FF2B5EF4-FFF2-40B4-BE49-F238E27FC236}">
                  <a16:creationId xmlns:a16="http://schemas.microsoft.com/office/drawing/2014/main" id="{73AE298D-AD31-40EE-9477-8322EED59A5F}"/>
                </a:ext>
              </a:extLst>
            </p:cNvPr>
            <p:cNvSpPr/>
            <p:nvPr/>
          </p:nvSpPr>
          <p:spPr>
            <a:xfrm>
              <a:off x="9228694" y="4750957"/>
              <a:ext cx="96641" cy="62186"/>
            </a:xfrm>
            <a:custGeom>
              <a:avLst/>
              <a:gdLst>
                <a:gd name="connsiteX0" fmla="*/ 51729 w 96641"/>
                <a:gd name="connsiteY0" fmla="*/ 31093 h 62186"/>
                <a:gd name="connsiteX1" fmla="*/ 93187 w 96641"/>
                <a:gd name="connsiteY1" fmla="*/ 13819 h 62186"/>
                <a:gd name="connsiteX2" fmla="*/ 96642 w 96641"/>
                <a:gd name="connsiteY2" fmla="*/ 3455 h 62186"/>
                <a:gd name="connsiteX3" fmla="*/ 65548 w 96641"/>
                <a:gd name="connsiteY3" fmla="*/ 0 h 62186"/>
                <a:gd name="connsiteX4" fmla="*/ 41364 w 96641"/>
                <a:gd name="connsiteY4" fmla="*/ 13819 h 62186"/>
                <a:gd name="connsiteX5" fmla="*/ 24184 w 96641"/>
                <a:gd name="connsiteY5" fmla="*/ 27638 h 62186"/>
                <a:gd name="connsiteX6" fmla="*/ 13820 w 96641"/>
                <a:gd name="connsiteY6" fmla="*/ 31093 h 62186"/>
                <a:gd name="connsiteX7" fmla="*/ 3455 w 96641"/>
                <a:gd name="connsiteY7" fmla="*/ 38003 h 62186"/>
                <a:gd name="connsiteX8" fmla="*/ 0 w 96641"/>
                <a:gd name="connsiteY8" fmla="*/ 62187 h 62186"/>
                <a:gd name="connsiteX9" fmla="*/ 31093 w 96641"/>
                <a:gd name="connsiteY9" fmla="*/ 48367 h 62186"/>
                <a:gd name="connsiteX10" fmla="*/ 51729 w 96641"/>
                <a:gd name="connsiteY10" fmla="*/ 31093 h 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641" h="62186">
                  <a:moveTo>
                    <a:pt x="51729" y="31093"/>
                  </a:moveTo>
                  <a:lnTo>
                    <a:pt x="93187" y="13819"/>
                  </a:lnTo>
                  <a:lnTo>
                    <a:pt x="96642" y="3455"/>
                  </a:lnTo>
                  <a:lnTo>
                    <a:pt x="65548" y="0"/>
                  </a:lnTo>
                  <a:lnTo>
                    <a:pt x="41364" y="13819"/>
                  </a:lnTo>
                  <a:lnTo>
                    <a:pt x="24184" y="27638"/>
                  </a:lnTo>
                  <a:lnTo>
                    <a:pt x="13820" y="31093"/>
                  </a:lnTo>
                  <a:lnTo>
                    <a:pt x="3455" y="38003"/>
                  </a:lnTo>
                  <a:lnTo>
                    <a:pt x="0" y="62187"/>
                  </a:lnTo>
                  <a:lnTo>
                    <a:pt x="31093" y="48367"/>
                  </a:lnTo>
                  <a:lnTo>
                    <a:pt x="51729" y="31093"/>
                  </a:lnTo>
                  <a:close/>
                </a:path>
              </a:pathLst>
            </a:custGeom>
            <a:solidFill>
              <a:srgbClr val="CEE3BF"/>
            </a:solidFill>
            <a:ln w="9334" cap="flat">
              <a:noFill/>
              <a:prstDash val="solid"/>
              <a:miter/>
            </a:ln>
          </p:spPr>
          <p:txBody>
            <a:bodyPr rtlCol="0" anchor="ctr"/>
            <a:lstStyle/>
            <a:p>
              <a:endParaRPr lang="en-GB" dirty="0"/>
            </a:p>
          </p:txBody>
        </p:sp>
        <p:sp>
          <p:nvSpPr>
            <p:cNvPr id="1265" name="Freeform: Shape 1264">
              <a:extLst>
                <a:ext uri="{FF2B5EF4-FFF2-40B4-BE49-F238E27FC236}">
                  <a16:creationId xmlns:a16="http://schemas.microsoft.com/office/drawing/2014/main" id="{235CCEB2-0035-4CD9-800A-DEE10E2FEA88}"/>
                </a:ext>
              </a:extLst>
            </p:cNvPr>
            <p:cNvSpPr/>
            <p:nvPr/>
          </p:nvSpPr>
          <p:spPr>
            <a:xfrm>
              <a:off x="9100959" y="4782050"/>
              <a:ext cx="51729" cy="27638"/>
            </a:xfrm>
            <a:custGeom>
              <a:avLst/>
              <a:gdLst>
                <a:gd name="connsiteX0" fmla="*/ 3455 w 51729"/>
                <a:gd name="connsiteY0" fmla="*/ 0 h 27638"/>
                <a:gd name="connsiteX1" fmla="*/ 0 w 51729"/>
                <a:gd name="connsiteY1" fmla="*/ 6910 h 27638"/>
                <a:gd name="connsiteX2" fmla="*/ 6910 w 51729"/>
                <a:gd name="connsiteY2" fmla="*/ 13819 h 27638"/>
                <a:gd name="connsiteX3" fmla="*/ 24184 w 51729"/>
                <a:gd name="connsiteY3" fmla="*/ 24184 h 27638"/>
                <a:gd name="connsiteX4" fmla="*/ 44819 w 51729"/>
                <a:gd name="connsiteY4" fmla="*/ 27639 h 27638"/>
                <a:gd name="connsiteX5" fmla="*/ 51729 w 51729"/>
                <a:gd name="connsiteY5" fmla="*/ 20729 h 27638"/>
                <a:gd name="connsiteX6" fmla="*/ 41364 w 51729"/>
                <a:gd name="connsiteY6" fmla="*/ 10365 h 27638"/>
                <a:gd name="connsiteX7" fmla="*/ 24184 w 51729"/>
                <a:gd name="connsiteY7" fmla="*/ 0 h 27638"/>
                <a:gd name="connsiteX8" fmla="*/ 3455 w 51729"/>
                <a:gd name="connsiteY8" fmla="*/ 0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29" h="27638">
                  <a:moveTo>
                    <a:pt x="3455" y="0"/>
                  </a:moveTo>
                  <a:lnTo>
                    <a:pt x="0" y="6910"/>
                  </a:lnTo>
                  <a:lnTo>
                    <a:pt x="6910" y="13819"/>
                  </a:lnTo>
                  <a:lnTo>
                    <a:pt x="24184" y="24184"/>
                  </a:lnTo>
                  <a:lnTo>
                    <a:pt x="44819" y="27639"/>
                  </a:lnTo>
                  <a:lnTo>
                    <a:pt x="51729" y="20729"/>
                  </a:lnTo>
                  <a:lnTo>
                    <a:pt x="41364" y="10365"/>
                  </a:lnTo>
                  <a:lnTo>
                    <a:pt x="24184" y="0"/>
                  </a:lnTo>
                  <a:lnTo>
                    <a:pt x="3455" y="0"/>
                  </a:lnTo>
                  <a:close/>
                </a:path>
              </a:pathLst>
            </a:custGeom>
            <a:solidFill>
              <a:srgbClr val="CEE3BF"/>
            </a:solidFill>
            <a:ln w="9334" cap="flat">
              <a:noFill/>
              <a:prstDash val="solid"/>
              <a:miter/>
            </a:ln>
          </p:spPr>
          <p:txBody>
            <a:bodyPr rtlCol="0" anchor="ctr"/>
            <a:lstStyle/>
            <a:p>
              <a:endParaRPr lang="en-GB" dirty="0"/>
            </a:p>
          </p:txBody>
        </p:sp>
        <p:sp>
          <p:nvSpPr>
            <p:cNvPr id="1266" name="Freeform: Shape 1265">
              <a:extLst>
                <a:ext uri="{FF2B5EF4-FFF2-40B4-BE49-F238E27FC236}">
                  <a16:creationId xmlns:a16="http://schemas.microsoft.com/office/drawing/2014/main" id="{D217785A-5C63-4225-A175-3DBE3094B0CA}"/>
                </a:ext>
              </a:extLst>
            </p:cNvPr>
            <p:cNvSpPr/>
            <p:nvPr/>
          </p:nvSpPr>
          <p:spPr>
            <a:xfrm>
              <a:off x="9125143" y="4750957"/>
              <a:ext cx="65547" cy="17274"/>
            </a:xfrm>
            <a:custGeom>
              <a:avLst/>
              <a:gdLst>
                <a:gd name="connsiteX0" fmla="*/ 65548 w 65547"/>
                <a:gd name="connsiteY0" fmla="*/ 17274 h 17274"/>
                <a:gd name="connsiteX1" fmla="*/ 65548 w 65547"/>
                <a:gd name="connsiteY1" fmla="*/ 6910 h 17274"/>
                <a:gd name="connsiteX2" fmla="*/ 41364 w 65547"/>
                <a:gd name="connsiteY2" fmla="*/ 6910 h 17274"/>
                <a:gd name="connsiteX3" fmla="*/ 31000 w 65547"/>
                <a:gd name="connsiteY3" fmla="*/ 3455 h 17274"/>
                <a:gd name="connsiteX4" fmla="*/ 13726 w 65547"/>
                <a:gd name="connsiteY4" fmla="*/ 0 h 17274"/>
                <a:gd name="connsiteX5" fmla="*/ 6816 w 65547"/>
                <a:gd name="connsiteY5" fmla="*/ 3455 h 17274"/>
                <a:gd name="connsiteX6" fmla="*/ 0 w 65547"/>
                <a:gd name="connsiteY6" fmla="*/ 17274 h 17274"/>
                <a:gd name="connsiteX7" fmla="*/ 31000 w 65547"/>
                <a:gd name="connsiteY7" fmla="*/ 17274 h 17274"/>
                <a:gd name="connsiteX8" fmla="*/ 65548 w 65547"/>
                <a:gd name="connsiteY8" fmla="*/ 17274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47" h="17274">
                  <a:moveTo>
                    <a:pt x="65548" y="17274"/>
                  </a:moveTo>
                  <a:lnTo>
                    <a:pt x="65548" y="6910"/>
                  </a:lnTo>
                  <a:lnTo>
                    <a:pt x="41364" y="6910"/>
                  </a:lnTo>
                  <a:lnTo>
                    <a:pt x="31000" y="3455"/>
                  </a:lnTo>
                  <a:lnTo>
                    <a:pt x="13726" y="0"/>
                  </a:lnTo>
                  <a:lnTo>
                    <a:pt x="6816" y="3455"/>
                  </a:lnTo>
                  <a:lnTo>
                    <a:pt x="0" y="17274"/>
                  </a:lnTo>
                  <a:lnTo>
                    <a:pt x="31000" y="17274"/>
                  </a:lnTo>
                  <a:lnTo>
                    <a:pt x="65548" y="17274"/>
                  </a:lnTo>
                  <a:close/>
                </a:path>
              </a:pathLst>
            </a:custGeom>
            <a:solidFill>
              <a:srgbClr val="CEE3BF"/>
            </a:solidFill>
            <a:ln w="9334" cap="flat">
              <a:noFill/>
              <a:prstDash val="solid"/>
              <a:miter/>
            </a:ln>
          </p:spPr>
          <p:txBody>
            <a:bodyPr rtlCol="0" anchor="ctr"/>
            <a:lstStyle/>
            <a:p>
              <a:endParaRPr lang="en-GB" dirty="0"/>
            </a:p>
          </p:txBody>
        </p:sp>
        <p:sp>
          <p:nvSpPr>
            <p:cNvPr id="1267" name="Freeform: Shape 1266">
              <a:extLst>
                <a:ext uri="{FF2B5EF4-FFF2-40B4-BE49-F238E27FC236}">
                  <a16:creationId xmlns:a16="http://schemas.microsoft.com/office/drawing/2014/main" id="{8A937087-2A8A-42A3-AB32-838D1D82D193}"/>
                </a:ext>
              </a:extLst>
            </p:cNvPr>
            <p:cNvSpPr/>
            <p:nvPr/>
          </p:nvSpPr>
          <p:spPr>
            <a:xfrm>
              <a:off x="9073321" y="4750957"/>
              <a:ext cx="34547" cy="17274"/>
            </a:xfrm>
            <a:custGeom>
              <a:avLst/>
              <a:gdLst>
                <a:gd name="connsiteX0" fmla="*/ 31093 w 34547"/>
                <a:gd name="connsiteY0" fmla="*/ 3455 h 17274"/>
                <a:gd name="connsiteX1" fmla="*/ 13819 w 34547"/>
                <a:gd name="connsiteY1" fmla="*/ 0 h 17274"/>
                <a:gd name="connsiteX2" fmla="*/ 0 w 34547"/>
                <a:gd name="connsiteY2" fmla="*/ 3455 h 17274"/>
                <a:gd name="connsiteX3" fmla="*/ 0 w 34547"/>
                <a:gd name="connsiteY3" fmla="*/ 17274 h 17274"/>
                <a:gd name="connsiteX4" fmla="*/ 34548 w 34547"/>
                <a:gd name="connsiteY4" fmla="*/ 17274 h 17274"/>
                <a:gd name="connsiteX5" fmla="*/ 31093 w 34547"/>
                <a:gd name="connsiteY5" fmla="*/ 3455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47" h="17274">
                  <a:moveTo>
                    <a:pt x="31093" y="3455"/>
                  </a:moveTo>
                  <a:lnTo>
                    <a:pt x="13819" y="0"/>
                  </a:lnTo>
                  <a:lnTo>
                    <a:pt x="0" y="3455"/>
                  </a:lnTo>
                  <a:lnTo>
                    <a:pt x="0" y="17274"/>
                  </a:lnTo>
                  <a:lnTo>
                    <a:pt x="34548" y="17274"/>
                  </a:lnTo>
                  <a:lnTo>
                    <a:pt x="31093" y="3455"/>
                  </a:lnTo>
                  <a:close/>
                </a:path>
              </a:pathLst>
            </a:custGeom>
            <a:solidFill>
              <a:srgbClr val="CEE3BF"/>
            </a:solidFill>
            <a:ln w="9334" cap="flat">
              <a:noFill/>
              <a:prstDash val="solid"/>
              <a:miter/>
            </a:ln>
          </p:spPr>
          <p:txBody>
            <a:bodyPr rtlCol="0" anchor="ctr"/>
            <a:lstStyle/>
            <a:p>
              <a:endParaRPr lang="en-GB" dirty="0"/>
            </a:p>
          </p:txBody>
        </p:sp>
        <p:sp>
          <p:nvSpPr>
            <p:cNvPr id="1268" name="Freeform: Shape 1267">
              <a:extLst>
                <a:ext uri="{FF2B5EF4-FFF2-40B4-BE49-F238E27FC236}">
                  <a16:creationId xmlns:a16="http://schemas.microsoft.com/office/drawing/2014/main" id="{4BC70B9B-95E5-44E3-89B9-3BBF35F1FEB3}"/>
                </a:ext>
              </a:extLst>
            </p:cNvPr>
            <p:cNvSpPr/>
            <p:nvPr/>
          </p:nvSpPr>
          <p:spPr>
            <a:xfrm>
              <a:off x="9018044" y="4750957"/>
              <a:ext cx="44912" cy="31093"/>
            </a:xfrm>
            <a:custGeom>
              <a:avLst/>
              <a:gdLst>
                <a:gd name="connsiteX0" fmla="*/ 3455 w 44912"/>
                <a:gd name="connsiteY0" fmla="*/ 0 h 31093"/>
                <a:gd name="connsiteX1" fmla="*/ 0 w 44912"/>
                <a:gd name="connsiteY1" fmla="*/ 17274 h 31093"/>
                <a:gd name="connsiteX2" fmla="*/ 20729 w 44912"/>
                <a:gd name="connsiteY2" fmla="*/ 24184 h 31093"/>
                <a:gd name="connsiteX3" fmla="*/ 41458 w 44912"/>
                <a:gd name="connsiteY3" fmla="*/ 31093 h 31093"/>
                <a:gd name="connsiteX4" fmla="*/ 44912 w 44912"/>
                <a:gd name="connsiteY4" fmla="*/ 17274 h 31093"/>
                <a:gd name="connsiteX5" fmla="*/ 44912 w 44912"/>
                <a:gd name="connsiteY5" fmla="*/ 6910 h 31093"/>
                <a:gd name="connsiteX6" fmla="*/ 24184 w 44912"/>
                <a:gd name="connsiteY6" fmla="*/ 3455 h 31093"/>
                <a:gd name="connsiteX7" fmla="*/ 3455 w 44912"/>
                <a:gd name="connsiteY7" fmla="*/ 0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12" h="31093">
                  <a:moveTo>
                    <a:pt x="3455" y="0"/>
                  </a:moveTo>
                  <a:lnTo>
                    <a:pt x="0" y="17274"/>
                  </a:lnTo>
                  <a:lnTo>
                    <a:pt x="20729" y="24184"/>
                  </a:lnTo>
                  <a:lnTo>
                    <a:pt x="41458" y="31093"/>
                  </a:lnTo>
                  <a:lnTo>
                    <a:pt x="44912" y="17274"/>
                  </a:lnTo>
                  <a:lnTo>
                    <a:pt x="44912" y="6910"/>
                  </a:lnTo>
                  <a:lnTo>
                    <a:pt x="24184" y="3455"/>
                  </a:lnTo>
                  <a:lnTo>
                    <a:pt x="3455" y="0"/>
                  </a:lnTo>
                  <a:close/>
                </a:path>
              </a:pathLst>
            </a:custGeom>
            <a:solidFill>
              <a:srgbClr val="CEE3BF"/>
            </a:solidFill>
            <a:ln w="9334" cap="flat">
              <a:noFill/>
              <a:prstDash val="solid"/>
              <a:miter/>
            </a:ln>
          </p:spPr>
          <p:txBody>
            <a:bodyPr rtlCol="0" anchor="ctr"/>
            <a:lstStyle/>
            <a:p>
              <a:endParaRPr lang="en-GB" dirty="0"/>
            </a:p>
          </p:txBody>
        </p:sp>
        <p:sp>
          <p:nvSpPr>
            <p:cNvPr id="1269" name="Freeform: Shape 1268">
              <a:extLst>
                <a:ext uri="{FF2B5EF4-FFF2-40B4-BE49-F238E27FC236}">
                  <a16:creationId xmlns:a16="http://schemas.microsoft.com/office/drawing/2014/main" id="{CF4B0D76-7D48-4F43-8B99-F60A722987C8}"/>
                </a:ext>
              </a:extLst>
            </p:cNvPr>
            <p:cNvSpPr/>
            <p:nvPr/>
          </p:nvSpPr>
          <p:spPr>
            <a:xfrm>
              <a:off x="9038773" y="3029435"/>
              <a:ext cx="48367" cy="17273"/>
            </a:xfrm>
            <a:custGeom>
              <a:avLst/>
              <a:gdLst>
                <a:gd name="connsiteX0" fmla="*/ 48367 w 48367"/>
                <a:gd name="connsiteY0" fmla="*/ 0 h 17273"/>
                <a:gd name="connsiteX1" fmla="*/ 31093 w 48367"/>
                <a:gd name="connsiteY1" fmla="*/ 17274 h 17273"/>
                <a:gd name="connsiteX2" fmla="*/ 0 w 48367"/>
                <a:gd name="connsiteY2" fmla="*/ 0 h 17273"/>
                <a:gd name="connsiteX3" fmla="*/ 31093 w 48367"/>
                <a:gd name="connsiteY3" fmla="*/ 17274 h 17273"/>
                <a:gd name="connsiteX4" fmla="*/ 48367 w 48367"/>
                <a:gd name="connsiteY4" fmla="*/ 0 h 17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67" h="17273">
                  <a:moveTo>
                    <a:pt x="48367" y="0"/>
                  </a:moveTo>
                  <a:lnTo>
                    <a:pt x="31093" y="17274"/>
                  </a:lnTo>
                  <a:lnTo>
                    <a:pt x="0" y="0"/>
                  </a:lnTo>
                  <a:lnTo>
                    <a:pt x="31093" y="17274"/>
                  </a:lnTo>
                  <a:lnTo>
                    <a:pt x="48367" y="0"/>
                  </a:lnTo>
                  <a:close/>
                </a:path>
              </a:pathLst>
            </a:custGeom>
            <a:solidFill>
              <a:srgbClr val="CEE3BF"/>
            </a:solidFill>
            <a:ln w="9334" cap="flat">
              <a:noFill/>
              <a:prstDash val="solid"/>
              <a:miter/>
            </a:ln>
          </p:spPr>
          <p:txBody>
            <a:bodyPr rtlCol="0" anchor="ctr"/>
            <a:lstStyle/>
            <a:p>
              <a:endParaRPr lang="en-GB" dirty="0"/>
            </a:p>
          </p:txBody>
        </p:sp>
        <p:sp>
          <p:nvSpPr>
            <p:cNvPr id="1270" name="Freeform: Shape 1269">
              <a:extLst>
                <a:ext uri="{FF2B5EF4-FFF2-40B4-BE49-F238E27FC236}">
                  <a16:creationId xmlns:a16="http://schemas.microsoft.com/office/drawing/2014/main" id="{FC7B1735-32EE-4B14-B44E-91C573E8FCFF}"/>
                </a:ext>
              </a:extLst>
            </p:cNvPr>
            <p:cNvSpPr/>
            <p:nvPr/>
          </p:nvSpPr>
          <p:spPr>
            <a:xfrm>
              <a:off x="9323655" y="2998342"/>
              <a:ext cx="18954" cy="44912"/>
            </a:xfrm>
            <a:custGeom>
              <a:avLst/>
              <a:gdLst>
                <a:gd name="connsiteX0" fmla="*/ 8590 w 18954"/>
                <a:gd name="connsiteY0" fmla="*/ 17274 h 44912"/>
                <a:gd name="connsiteX1" fmla="*/ 0 w 18954"/>
                <a:gd name="connsiteY1" fmla="*/ 0 h 44912"/>
                <a:gd name="connsiteX2" fmla="*/ 18954 w 18954"/>
                <a:gd name="connsiteY2" fmla="*/ 44912 h 44912"/>
                <a:gd name="connsiteX3" fmla="*/ 8590 w 18954"/>
                <a:gd name="connsiteY3" fmla="*/ 17274 h 44912"/>
              </a:gdLst>
              <a:ahLst/>
              <a:cxnLst>
                <a:cxn ang="0">
                  <a:pos x="connsiteX0" y="connsiteY0"/>
                </a:cxn>
                <a:cxn ang="0">
                  <a:pos x="connsiteX1" y="connsiteY1"/>
                </a:cxn>
                <a:cxn ang="0">
                  <a:pos x="connsiteX2" y="connsiteY2"/>
                </a:cxn>
                <a:cxn ang="0">
                  <a:pos x="connsiteX3" y="connsiteY3"/>
                </a:cxn>
              </a:cxnLst>
              <a:rect l="l" t="t" r="r" b="b"/>
              <a:pathLst>
                <a:path w="18954" h="44912">
                  <a:moveTo>
                    <a:pt x="8590" y="17274"/>
                  </a:moveTo>
                  <a:lnTo>
                    <a:pt x="0" y="0"/>
                  </a:lnTo>
                  <a:lnTo>
                    <a:pt x="18954" y="44912"/>
                  </a:lnTo>
                  <a:lnTo>
                    <a:pt x="8590" y="17274"/>
                  </a:lnTo>
                  <a:close/>
                </a:path>
              </a:pathLst>
            </a:custGeom>
            <a:solidFill>
              <a:srgbClr val="CEE3BF"/>
            </a:solidFill>
            <a:ln w="9334" cap="flat">
              <a:noFill/>
              <a:prstDash val="solid"/>
              <a:miter/>
            </a:ln>
          </p:spPr>
          <p:txBody>
            <a:bodyPr rtlCol="0" anchor="ctr"/>
            <a:lstStyle/>
            <a:p>
              <a:endParaRPr lang="en-GB" dirty="0"/>
            </a:p>
          </p:txBody>
        </p:sp>
        <p:sp>
          <p:nvSpPr>
            <p:cNvPr id="1271" name="Freeform: Shape 1270">
              <a:extLst>
                <a:ext uri="{FF2B5EF4-FFF2-40B4-BE49-F238E27FC236}">
                  <a16:creationId xmlns:a16="http://schemas.microsoft.com/office/drawing/2014/main" id="{4BA80AEB-58D2-4CF0-BAFD-8D9F19E4B361}"/>
                </a:ext>
              </a:extLst>
            </p:cNvPr>
            <p:cNvSpPr/>
            <p:nvPr/>
          </p:nvSpPr>
          <p:spPr>
            <a:xfrm>
              <a:off x="9232148" y="2898059"/>
              <a:ext cx="51729" cy="20728"/>
            </a:xfrm>
            <a:custGeom>
              <a:avLst/>
              <a:gdLst>
                <a:gd name="connsiteX0" fmla="*/ 27639 w 51729"/>
                <a:gd name="connsiteY0" fmla="*/ 10364 h 20728"/>
                <a:gd name="connsiteX1" fmla="*/ 0 w 51729"/>
                <a:gd name="connsiteY1" fmla="*/ 0 h 20728"/>
                <a:gd name="connsiteX2" fmla="*/ 51729 w 51729"/>
                <a:gd name="connsiteY2" fmla="*/ 20729 h 20728"/>
                <a:gd name="connsiteX3" fmla="*/ 27639 w 51729"/>
                <a:gd name="connsiteY3" fmla="*/ 10364 h 20728"/>
              </a:gdLst>
              <a:ahLst/>
              <a:cxnLst>
                <a:cxn ang="0">
                  <a:pos x="connsiteX0" y="connsiteY0"/>
                </a:cxn>
                <a:cxn ang="0">
                  <a:pos x="connsiteX1" y="connsiteY1"/>
                </a:cxn>
                <a:cxn ang="0">
                  <a:pos x="connsiteX2" y="connsiteY2"/>
                </a:cxn>
                <a:cxn ang="0">
                  <a:pos x="connsiteX3" y="connsiteY3"/>
                </a:cxn>
              </a:cxnLst>
              <a:rect l="l" t="t" r="r" b="b"/>
              <a:pathLst>
                <a:path w="51729" h="20728">
                  <a:moveTo>
                    <a:pt x="27639" y="10364"/>
                  </a:moveTo>
                  <a:lnTo>
                    <a:pt x="0" y="0"/>
                  </a:lnTo>
                  <a:lnTo>
                    <a:pt x="51729" y="20729"/>
                  </a:lnTo>
                  <a:lnTo>
                    <a:pt x="27639" y="10364"/>
                  </a:lnTo>
                  <a:close/>
                </a:path>
              </a:pathLst>
            </a:custGeom>
            <a:solidFill>
              <a:srgbClr val="CEE3BF"/>
            </a:solidFill>
            <a:ln w="9334" cap="flat">
              <a:noFill/>
              <a:prstDash val="solid"/>
              <a:miter/>
            </a:ln>
          </p:spPr>
          <p:txBody>
            <a:bodyPr rtlCol="0" anchor="ctr"/>
            <a:lstStyle/>
            <a:p>
              <a:endParaRPr lang="en-GB" dirty="0"/>
            </a:p>
          </p:txBody>
        </p:sp>
        <p:sp>
          <p:nvSpPr>
            <p:cNvPr id="1272" name="Freeform: Shape 1271">
              <a:extLst>
                <a:ext uri="{FF2B5EF4-FFF2-40B4-BE49-F238E27FC236}">
                  <a16:creationId xmlns:a16="http://schemas.microsoft.com/office/drawing/2014/main" id="{E333C9C8-4109-4CF6-A3F2-443542A91031}"/>
                </a:ext>
              </a:extLst>
            </p:cNvPr>
            <p:cNvSpPr/>
            <p:nvPr/>
          </p:nvSpPr>
          <p:spPr>
            <a:xfrm>
              <a:off x="6005824" y="2846237"/>
              <a:ext cx="246878" cy="273116"/>
            </a:xfrm>
            <a:custGeom>
              <a:avLst/>
              <a:gdLst>
                <a:gd name="connsiteX0" fmla="*/ 20729 w 246878"/>
                <a:gd name="connsiteY0" fmla="*/ 86370 h 273116"/>
                <a:gd name="connsiteX1" fmla="*/ 20729 w 246878"/>
                <a:gd name="connsiteY1" fmla="*/ 103738 h 273116"/>
                <a:gd name="connsiteX2" fmla="*/ 20729 w 246878"/>
                <a:gd name="connsiteY2" fmla="*/ 103738 h 273116"/>
                <a:gd name="connsiteX3" fmla="*/ 10364 w 246878"/>
                <a:gd name="connsiteY3" fmla="*/ 110647 h 273116"/>
                <a:gd name="connsiteX4" fmla="*/ 0 w 246878"/>
                <a:gd name="connsiteY4" fmla="*/ 117557 h 273116"/>
                <a:gd name="connsiteX5" fmla="*/ 0 w 246878"/>
                <a:gd name="connsiteY5" fmla="*/ 131376 h 273116"/>
                <a:gd name="connsiteX6" fmla="*/ 0 w 246878"/>
                <a:gd name="connsiteY6" fmla="*/ 148650 h 273116"/>
                <a:gd name="connsiteX7" fmla="*/ 6910 w 246878"/>
                <a:gd name="connsiteY7" fmla="*/ 165924 h 273116"/>
                <a:gd name="connsiteX8" fmla="*/ 3455 w 246878"/>
                <a:gd name="connsiteY8" fmla="*/ 176289 h 273116"/>
                <a:gd name="connsiteX9" fmla="*/ 6910 w 246878"/>
                <a:gd name="connsiteY9" fmla="*/ 183198 h 273116"/>
                <a:gd name="connsiteX10" fmla="*/ 3455 w 246878"/>
                <a:gd name="connsiteY10" fmla="*/ 197018 h 273116"/>
                <a:gd name="connsiteX11" fmla="*/ 13819 w 246878"/>
                <a:gd name="connsiteY11" fmla="*/ 203927 h 273116"/>
                <a:gd name="connsiteX12" fmla="*/ 20729 w 246878"/>
                <a:gd name="connsiteY12" fmla="*/ 210837 h 273116"/>
                <a:gd name="connsiteX13" fmla="*/ 51822 w 246878"/>
                <a:gd name="connsiteY13" fmla="*/ 210837 h 273116"/>
                <a:gd name="connsiteX14" fmla="*/ 55277 w 246878"/>
                <a:gd name="connsiteY14" fmla="*/ 217746 h 273116"/>
                <a:gd name="connsiteX15" fmla="*/ 38003 w 246878"/>
                <a:gd name="connsiteY15" fmla="*/ 252388 h 273116"/>
                <a:gd name="connsiteX16" fmla="*/ 38003 w 246878"/>
                <a:gd name="connsiteY16" fmla="*/ 262752 h 273116"/>
                <a:gd name="connsiteX17" fmla="*/ 48367 w 246878"/>
                <a:gd name="connsiteY17" fmla="*/ 262752 h 273116"/>
                <a:gd name="connsiteX18" fmla="*/ 65641 w 246878"/>
                <a:gd name="connsiteY18" fmla="*/ 262752 h 273116"/>
                <a:gd name="connsiteX19" fmla="*/ 82915 w 246878"/>
                <a:gd name="connsiteY19" fmla="*/ 259297 h 273116"/>
                <a:gd name="connsiteX20" fmla="*/ 96735 w 246878"/>
                <a:gd name="connsiteY20" fmla="*/ 262752 h 273116"/>
                <a:gd name="connsiteX21" fmla="*/ 100189 w 246878"/>
                <a:gd name="connsiteY21" fmla="*/ 266207 h 273116"/>
                <a:gd name="connsiteX22" fmla="*/ 96735 w 246878"/>
                <a:gd name="connsiteY22" fmla="*/ 273117 h 273116"/>
                <a:gd name="connsiteX23" fmla="*/ 146782 w 246878"/>
                <a:gd name="connsiteY23" fmla="*/ 269662 h 273116"/>
                <a:gd name="connsiteX24" fmla="*/ 164057 w 246878"/>
                <a:gd name="connsiteY24" fmla="*/ 259297 h 273116"/>
                <a:gd name="connsiteX25" fmla="*/ 184692 w 246878"/>
                <a:gd name="connsiteY25" fmla="*/ 259297 h 273116"/>
                <a:gd name="connsiteX26" fmla="*/ 184692 w 246878"/>
                <a:gd name="connsiteY26" fmla="*/ 245478 h 273116"/>
                <a:gd name="connsiteX27" fmla="*/ 198512 w 246878"/>
                <a:gd name="connsiteY27" fmla="*/ 238475 h 273116"/>
                <a:gd name="connsiteX28" fmla="*/ 212331 w 246878"/>
                <a:gd name="connsiteY28" fmla="*/ 231566 h 273116"/>
                <a:gd name="connsiteX29" fmla="*/ 212331 w 246878"/>
                <a:gd name="connsiteY29" fmla="*/ 221201 h 273116"/>
                <a:gd name="connsiteX30" fmla="*/ 191602 w 246878"/>
                <a:gd name="connsiteY30" fmla="*/ 207382 h 273116"/>
                <a:gd name="connsiteX31" fmla="*/ 177876 w 246878"/>
                <a:gd name="connsiteY31" fmla="*/ 190108 h 273116"/>
                <a:gd name="connsiteX32" fmla="*/ 164057 w 246878"/>
                <a:gd name="connsiteY32" fmla="*/ 172834 h 273116"/>
                <a:gd name="connsiteX33" fmla="*/ 184692 w 246878"/>
                <a:gd name="connsiteY33" fmla="*/ 162469 h 273116"/>
                <a:gd name="connsiteX34" fmla="*/ 205421 w 246878"/>
                <a:gd name="connsiteY34" fmla="*/ 155560 h 273116"/>
                <a:gd name="connsiteX35" fmla="*/ 222695 w 246878"/>
                <a:gd name="connsiteY35" fmla="*/ 148650 h 273116"/>
                <a:gd name="connsiteX36" fmla="*/ 236514 w 246878"/>
                <a:gd name="connsiteY36" fmla="*/ 145195 h 273116"/>
                <a:gd name="connsiteX37" fmla="*/ 246879 w 246878"/>
                <a:gd name="connsiteY37" fmla="*/ 141741 h 273116"/>
                <a:gd name="connsiteX38" fmla="*/ 239969 w 246878"/>
                <a:gd name="connsiteY38" fmla="*/ 127921 h 273116"/>
                <a:gd name="connsiteX39" fmla="*/ 236514 w 246878"/>
                <a:gd name="connsiteY39" fmla="*/ 103738 h 273116"/>
                <a:gd name="connsiteX40" fmla="*/ 239969 w 246878"/>
                <a:gd name="connsiteY40" fmla="*/ 86370 h 273116"/>
                <a:gd name="connsiteX41" fmla="*/ 226150 w 246878"/>
                <a:gd name="connsiteY41" fmla="*/ 79461 h 273116"/>
                <a:gd name="connsiteX42" fmla="*/ 233060 w 246878"/>
                <a:gd name="connsiteY42" fmla="*/ 58732 h 273116"/>
                <a:gd name="connsiteX43" fmla="*/ 226150 w 246878"/>
                <a:gd name="connsiteY43" fmla="*/ 41458 h 273116"/>
                <a:gd name="connsiteX44" fmla="*/ 205421 w 246878"/>
                <a:gd name="connsiteY44" fmla="*/ 27639 h 273116"/>
                <a:gd name="connsiteX45" fmla="*/ 201966 w 246878"/>
                <a:gd name="connsiteY45" fmla="*/ 17274 h 273116"/>
                <a:gd name="connsiteX46" fmla="*/ 188240 w 246878"/>
                <a:gd name="connsiteY46" fmla="*/ 20729 h 273116"/>
                <a:gd name="connsiteX47" fmla="*/ 164057 w 246878"/>
                <a:gd name="connsiteY47" fmla="*/ 27639 h 273116"/>
                <a:gd name="connsiteX48" fmla="*/ 153693 w 246878"/>
                <a:gd name="connsiteY48" fmla="*/ 38003 h 273116"/>
                <a:gd name="connsiteX49" fmla="*/ 138099 w 246878"/>
                <a:gd name="connsiteY49" fmla="*/ 34548 h 273116"/>
                <a:gd name="connsiteX50" fmla="*/ 127734 w 246878"/>
                <a:gd name="connsiteY50" fmla="*/ 27639 h 273116"/>
                <a:gd name="connsiteX51" fmla="*/ 110554 w 246878"/>
                <a:gd name="connsiteY51" fmla="*/ 20729 h 273116"/>
                <a:gd name="connsiteX52" fmla="*/ 107099 w 246878"/>
                <a:gd name="connsiteY52" fmla="*/ 10364 h 273116"/>
                <a:gd name="connsiteX53" fmla="*/ 96735 w 246878"/>
                <a:gd name="connsiteY53" fmla="*/ 0 h 273116"/>
                <a:gd name="connsiteX54" fmla="*/ 79461 w 246878"/>
                <a:gd name="connsiteY54" fmla="*/ 3455 h 273116"/>
                <a:gd name="connsiteX55" fmla="*/ 76006 w 246878"/>
                <a:gd name="connsiteY55" fmla="*/ 13819 h 273116"/>
                <a:gd name="connsiteX56" fmla="*/ 79461 w 246878"/>
                <a:gd name="connsiteY56" fmla="*/ 27639 h 273116"/>
                <a:gd name="connsiteX57" fmla="*/ 82915 w 246878"/>
                <a:gd name="connsiteY57" fmla="*/ 38003 h 273116"/>
                <a:gd name="connsiteX58" fmla="*/ 69096 w 246878"/>
                <a:gd name="connsiteY58" fmla="*/ 44913 h 273116"/>
                <a:gd name="connsiteX59" fmla="*/ 62186 w 246878"/>
                <a:gd name="connsiteY59" fmla="*/ 55277 h 273116"/>
                <a:gd name="connsiteX60" fmla="*/ 44912 w 246878"/>
                <a:gd name="connsiteY60" fmla="*/ 48367 h 273116"/>
                <a:gd name="connsiteX61" fmla="*/ 31093 w 246878"/>
                <a:gd name="connsiteY61" fmla="*/ 48367 h 273116"/>
                <a:gd name="connsiteX62" fmla="*/ 17274 w 246878"/>
                <a:gd name="connsiteY62" fmla="*/ 51822 h 273116"/>
                <a:gd name="connsiteX63" fmla="*/ 27639 w 246878"/>
                <a:gd name="connsiteY63" fmla="*/ 76006 h 273116"/>
                <a:gd name="connsiteX64" fmla="*/ 20729 w 246878"/>
                <a:gd name="connsiteY64" fmla="*/ 86370 h 27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46878" h="273116">
                  <a:moveTo>
                    <a:pt x="20729" y="86370"/>
                  </a:moveTo>
                  <a:lnTo>
                    <a:pt x="20729" y="103738"/>
                  </a:lnTo>
                  <a:lnTo>
                    <a:pt x="20729" y="103738"/>
                  </a:lnTo>
                  <a:lnTo>
                    <a:pt x="10364" y="110647"/>
                  </a:lnTo>
                  <a:lnTo>
                    <a:pt x="0" y="117557"/>
                  </a:lnTo>
                  <a:lnTo>
                    <a:pt x="0" y="131376"/>
                  </a:lnTo>
                  <a:lnTo>
                    <a:pt x="0" y="148650"/>
                  </a:lnTo>
                  <a:lnTo>
                    <a:pt x="6910" y="165924"/>
                  </a:lnTo>
                  <a:lnTo>
                    <a:pt x="3455" y="176289"/>
                  </a:lnTo>
                  <a:lnTo>
                    <a:pt x="6910" y="183198"/>
                  </a:lnTo>
                  <a:lnTo>
                    <a:pt x="3455" y="197018"/>
                  </a:lnTo>
                  <a:lnTo>
                    <a:pt x="13819" y="203927"/>
                  </a:lnTo>
                  <a:lnTo>
                    <a:pt x="20729" y="210837"/>
                  </a:lnTo>
                  <a:lnTo>
                    <a:pt x="51822" y="210837"/>
                  </a:lnTo>
                  <a:lnTo>
                    <a:pt x="55277" y="217746"/>
                  </a:lnTo>
                  <a:lnTo>
                    <a:pt x="38003" y="252388"/>
                  </a:lnTo>
                  <a:lnTo>
                    <a:pt x="38003" y="262752"/>
                  </a:lnTo>
                  <a:lnTo>
                    <a:pt x="48367" y="262752"/>
                  </a:lnTo>
                  <a:lnTo>
                    <a:pt x="65641" y="262752"/>
                  </a:lnTo>
                  <a:lnTo>
                    <a:pt x="82915" y="259297"/>
                  </a:lnTo>
                  <a:lnTo>
                    <a:pt x="96735" y="262752"/>
                  </a:lnTo>
                  <a:lnTo>
                    <a:pt x="100189" y="266207"/>
                  </a:lnTo>
                  <a:lnTo>
                    <a:pt x="96735" y="273117"/>
                  </a:lnTo>
                  <a:lnTo>
                    <a:pt x="146782" y="269662"/>
                  </a:lnTo>
                  <a:lnTo>
                    <a:pt x="164057" y="259297"/>
                  </a:lnTo>
                  <a:lnTo>
                    <a:pt x="184692" y="259297"/>
                  </a:lnTo>
                  <a:lnTo>
                    <a:pt x="184692" y="245478"/>
                  </a:lnTo>
                  <a:lnTo>
                    <a:pt x="198512" y="238475"/>
                  </a:lnTo>
                  <a:lnTo>
                    <a:pt x="212331" y="231566"/>
                  </a:lnTo>
                  <a:lnTo>
                    <a:pt x="212331" y="221201"/>
                  </a:lnTo>
                  <a:lnTo>
                    <a:pt x="191602" y="207382"/>
                  </a:lnTo>
                  <a:lnTo>
                    <a:pt x="177876" y="190108"/>
                  </a:lnTo>
                  <a:lnTo>
                    <a:pt x="164057" y="172834"/>
                  </a:lnTo>
                  <a:lnTo>
                    <a:pt x="184692" y="162469"/>
                  </a:lnTo>
                  <a:lnTo>
                    <a:pt x="205421" y="155560"/>
                  </a:lnTo>
                  <a:lnTo>
                    <a:pt x="222695" y="148650"/>
                  </a:lnTo>
                  <a:lnTo>
                    <a:pt x="236514" y="145195"/>
                  </a:lnTo>
                  <a:lnTo>
                    <a:pt x="246879" y="141741"/>
                  </a:lnTo>
                  <a:lnTo>
                    <a:pt x="239969" y="127921"/>
                  </a:lnTo>
                  <a:lnTo>
                    <a:pt x="236514" y="103738"/>
                  </a:lnTo>
                  <a:lnTo>
                    <a:pt x="239969" y="86370"/>
                  </a:lnTo>
                  <a:lnTo>
                    <a:pt x="226150" y="79461"/>
                  </a:lnTo>
                  <a:lnTo>
                    <a:pt x="233060" y="58732"/>
                  </a:lnTo>
                  <a:lnTo>
                    <a:pt x="226150" y="41458"/>
                  </a:lnTo>
                  <a:lnTo>
                    <a:pt x="205421" y="27639"/>
                  </a:lnTo>
                  <a:lnTo>
                    <a:pt x="201966" y="17274"/>
                  </a:lnTo>
                  <a:lnTo>
                    <a:pt x="188240" y="20729"/>
                  </a:lnTo>
                  <a:lnTo>
                    <a:pt x="164057" y="27639"/>
                  </a:lnTo>
                  <a:lnTo>
                    <a:pt x="153693" y="38003"/>
                  </a:lnTo>
                  <a:lnTo>
                    <a:pt x="138099" y="34548"/>
                  </a:lnTo>
                  <a:lnTo>
                    <a:pt x="127734" y="27639"/>
                  </a:lnTo>
                  <a:lnTo>
                    <a:pt x="110554" y="20729"/>
                  </a:lnTo>
                  <a:lnTo>
                    <a:pt x="107099" y="10364"/>
                  </a:lnTo>
                  <a:lnTo>
                    <a:pt x="96735" y="0"/>
                  </a:lnTo>
                  <a:lnTo>
                    <a:pt x="79461" y="3455"/>
                  </a:lnTo>
                  <a:lnTo>
                    <a:pt x="76006" y="13819"/>
                  </a:lnTo>
                  <a:lnTo>
                    <a:pt x="79461" y="27639"/>
                  </a:lnTo>
                  <a:lnTo>
                    <a:pt x="82915" y="38003"/>
                  </a:lnTo>
                  <a:lnTo>
                    <a:pt x="69096" y="44913"/>
                  </a:lnTo>
                  <a:lnTo>
                    <a:pt x="62186" y="55277"/>
                  </a:lnTo>
                  <a:lnTo>
                    <a:pt x="44912" y="48367"/>
                  </a:lnTo>
                  <a:lnTo>
                    <a:pt x="31093" y="48367"/>
                  </a:lnTo>
                  <a:lnTo>
                    <a:pt x="17274" y="51822"/>
                  </a:lnTo>
                  <a:lnTo>
                    <a:pt x="27639" y="76006"/>
                  </a:lnTo>
                  <a:lnTo>
                    <a:pt x="20729" y="86370"/>
                  </a:lnTo>
                  <a:close/>
                </a:path>
              </a:pathLst>
            </a:custGeom>
            <a:solidFill>
              <a:srgbClr val="CEE3BF"/>
            </a:solidFill>
            <a:ln w="9334" cap="flat">
              <a:noFill/>
              <a:prstDash val="solid"/>
              <a:miter/>
            </a:ln>
          </p:spPr>
          <p:txBody>
            <a:bodyPr rtlCol="0" anchor="ctr"/>
            <a:lstStyle/>
            <a:p>
              <a:endParaRPr lang="en-GB" dirty="0"/>
            </a:p>
          </p:txBody>
        </p:sp>
        <p:sp>
          <p:nvSpPr>
            <p:cNvPr id="1273" name="Freeform: Shape 1272">
              <a:extLst>
                <a:ext uri="{FF2B5EF4-FFF2-40B4-BE49-F238E27FC236}">
                  <a16:creationId xmlns:a16="http://schemas.microsoft.com/office/drawing/2014/main" id="{2F019C58-541B-44A8-AFB1-021D533B471D}"/>
                </a:ext>
              </a:extLst>
            </p:cNvPr>
            <p:cNvSpPr/>
            <p:nvPr/>
          </p:nvSpPr>
          <p:spPr>
            <a:xfrm>
              <a:off x="6231974" y="2853147"/>
              <a:ext cx="265833" cy="207381"/>
            </a:xfrm>
            <a:custGeom>
              <a:avLst/>
              <a:gdLst>
                <a:gd name="connsiteX0" fmla="*/ 0 w 265833"/>
                <a:gd name="connsiteY0" fmla="*/ 72551 h 207381"/>
                <a:gd name="connsiteX1" fmla="*/ 13820 w 265833"/>
                <a:gd name="connsiteY1" fmla="*/ 79461 h 207381"/>
                <a:gd name="connsiteX2" fmla="*/ 13820 w 265833"/>
                <a:gd name="connsiteY2" fmla="*/ 121012 h 207381"/>
                <a:gd name="connsiteX3" fmla="*/ 20729 w 265833"/>
                <a:gd name="connsiteY3" fmla="*/ 134831 h 207381"/>
                <a:gd name="connsiteX4" fmla="*/ 41458 w 265833"/>
                <a:gd name="connsiteY4" fmla="*/ 145195 h 207381"/>
                <a:gd name="connsiteX5" fmla="*/ 55277 w 265833"/>
                <a:gd name="connsiteY5" fmla="*/ 148650 h 207381"/>
                <a:gd name="connsiteX6" fmla="*/ 58732 w 265833"/>
                <a:gd name="connsiteY6" fmla="*/ 162469 h 207381"/>
                <a:gd name="connsiteX7" fmla="*/ 72551 w 265833"/>
                <a:gd name="connsiteY7" fmla="*/ 165924 h 207381"/>
                <a:gd name="connsiteX8" fmla="*/ 76006 w 265833"/>
                <a:gd name="connsiteY8" fmla="*/ 159015 h 207381"/>
                <a:gd name="connsiteX9" fmla="*/ 89732 w 265833"/>
                <a:gd name="connsiteY9" fmla="*/ 162469 h 207381"/>
                <a:gd name="connsiteX10" fmla="*/ 100096 w 265833"/>
                <a:gd name="connsiteY10" fmla="*/ 169379 h 207381"/>
                <a:gd name="connsiteX11" fmla="*/ 113915 w 265833"/>
                <a:gd name="connsiteY11" fmla="*/ 176289 h 207381"/>
                <a:gd name="connsiteX12" fmla="*/ 127735 w 265833"/>
                <a:gd name="connsiteY12" fmla="*/ 186653 h 207381"/>
                <a:gd name="connsiteX13" fmla="*/ 145009 w 265833"/>
                <a:gd name="connsiteY13" fmla="*/ 190108 h 207381"/>
                <a:gd name="connsiteX14" fmla="*/ 151918 w 265833"/>
                <a:gd name="connsiteY14" fmla="*/ 203927 h 207381"/>
                <a:gd name="connsiteX15" fmla="*/ 169192 w 265833"/>
                <a:gd name="connsiteY15" fmla="*/ 200472 h 207381"/>
                <a:gd name="connsiteX16" fmla="*/ 186467 w 265833"/>
                <a:gd name="connsiteY16" fmla="*/ 193563 h 207381"/>
                <a:gd name="connsiteX17" fmla="*/ 200286 w 265833"/>
                <a:gd name="connsiteY17" fmla="*/ 193563 h 207381"/>
                <a:gd name="connsiteX18" fmla="*/ 217560 w 265833"/>
                <a:gd name="connsiteY18" fmla="*/ 200472 h 207381"/>
                <a:gd name="connsiteX19" fmla="*/ 224376 w 265833"/>
                <a:gd name="connsiteY19" fmla="*/ 207382 h 207381"/>
                <a:gd name="connsiteX20" fmla="*/ 227831 w 265833"/>
                <a:gd name="connsiteY20" fmla="*/ 190108 h 207381"/>
                <a:gd name="connsiteX21" fmla="*/ 234740 w 265833"/>
                <a:gd name="connsiteY21" fmla="*/ 176289 h 207381"/>
                <a:gd name="connsiteX22" fmla="*/ 248559 w 265833"/>
                <a:gd name="connsiteY22" fmla="*/ 162469 h 207381"/>
                <a:gd name="connsiteX23" fmla="*/ 265834 w 265833"/>
                <a:gd name="connsiteY23" fmla="*/ 152105 h 207381"/>
                <a:gd name="connsiteX24" fmla="*/ 262379 w 265833"/>
                <a:gd name="connsiteY24" fmla="*/ 145195 h 207381"/>
                <a:gd name="connsiteX25" fmla="*/ 258924 w 265833"/>
                <a:gd name="connsiteY25" fmla="*/ 131376 h 207381"/>
                <a:gd name="connsiteX26" fmla="*/ 255470 w 265833"/>
                <a:gd name="connsiteY26" fmla="*/ 121012 h 207381"/>
                <a:gd name="connsiteX27" fmla="*/ 255470 w 265833"/>
                <a:gd name="connsiteY27" fmla="*/ 96828 h 207381"/>
                <a:gd name="connsiteX28" fmla="*/ 245105 w 265833"/>
                <a:gd name="connsiteY28" fmla="*/ 89918 h 207381"/>
                <a:gd name="connsiteX29" fmla="*/ 248559 w 265833"/>
                <a:gd name="connsiteY29" fmla="*/ 79461 h 207381"/>
                <a:gd name="connsiteX30" fmla="*/ 262379 w 265833"/>
                <a:gd name="connsiteY30" fmla="*/ 79461 h 207381"/>
                <a:gd name="connsiteX31" fmla="*/ 262379 w 265833"/>
                <a:gd name="connsiteY31" fmla="*/ 55277 h 207381"/>
                <a:gd name="connsiteX32" fmla="*/ 255470 w 265833"/>
                <a:gd name="connsiteY32" fmla="*/ 48367 h 207381"/>
                <a:gd name="connsiteX33" fmla="*/ 248559 w 265833"/>
                <a:gd name="connsiteY33" fmla="*/ 27639 h 207381"/>
                <a:gd name="connsiteX34" fmla="*/ 241650 w 265833"/>
                <a:gd name="connsiteY34" fmla="*/ 20729 h 207381"/>
                <a:gd name="connsiteX35" fmla="*/ 231379 w 265833"/>
                <a:gd name="connsiteY35" fmla="*/ 10364 h 207381"/>
                <a:gd name="connsiteX36" fmla="*/ 186467 w 265833"/>
                <a:gd name="connsiteY36" fmla="*/ 13819 h 207381"/>
                <a:gd name="connsiteX37" fmla="*/ 151918 w 265833"/>
                <a:gd name="connsiteY37" fmla="*/ 13819 h 207381"/>
                <a:gd name="connsiteX38" fmla="*/ 120825 w 265833"/>
                <a:gd name="connsiteY38" fmla="*/ 13819 h 207381"/>
                <a:gd name="connsiteX39" fmla="*/ 113915 w 265833"/>
                <a:gd name="connsiteY39" fmla="*/ 0 h 207381"/>
                <a:gd name="connsiteX40" fmla="*/ 82915 w 265833"/>
                <a:gd name="connsiteY40" fmla="*/ 0 h 207381"/>
                <a:gd name="connsiteX41" fmla="*/ 55277 w 265833"/>
                <a:gd name="connsiteY41" fmla="*/ 17274 h 207381"/>
                <a:gd name="connsiteX42" fmla="*/ 27639 w 265833"/>
                <a:gd name="connsiteY42" fmla="*/ 27639 h 207381"/>
                <a:gd name="connsiteX43" fmla="*/ 0 w 265833"/>
                <a:gd name="connsiteY43" fmla="*/ 34548 h 207381"/>
                <a:gd name="connsiteX44" fmla="*/ 6910 w 265833"/>
                <a:gd name="connsiteY44" fmla="*/ 51822 h 207381"/>
                <a:gd name="connsiteX45" fmla="*/ 0 w 265833"/>
                <a:gd name="connsiteY45" fmla="*/ 72551 h 207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5833" h="207381">
                  <a:moveTo>
                    <a:pt x="0" y="72551"/>
                  </a:moveTo>
                  <a:lnTo>
                    <a:pt x="13820" y="79461"/>
                  </a:lnTo>
                  <a:lnTo>
                    <a:pt x="13820" y="121012"/>
                  </a:lnTo>
                  <a:lnTo>
                    <a:pt x="20729" y="134831"/>
                  </a:lnTo>
                  <a:lnTo>
                    <a:pt x="41458" y="145195"/>
                  </a:lnTo>
                  <a:lnTo>
                    <a:pt x="55277" y="148650"/>
                  </a:lnTo>
                  <a:lnTo>
                    <a:pt x="58732" y="162469"/>
                  </a:lnTo>
                  <a:lnTo>
                    <a:pt x="72551" y="165924"/>
                  </a:lnTo>
                  <a:lnTo>
                    <a:pt x="76006" y="159015"/>
                  </a:lnTo>
                  <a:lnTo>
                    <a:pt x="89732" y="162469"/>
                  </a:lnTo>
                  <a:lnTo>
                    <a:pt x="100096" y="169379"/>
                  </a:lnTo>
                  <a:lnTo>
                    <a:pt x="113915" y="176289"/>
                  </a:lnTo>
                  <a:lnTo>
                    <a:pt x="127735" y="186653"/>
                  </a:lnTo>
                  <a:lnTo>
                    <a:pt x="145009" y="190108"/>
                  </a:lnTo>
                  <a:lnTo>
                    <a:pt x="151918" y="203927"/>
                  </a:lnTo>
                  <a:lnTo>
                    <a:pt x="169192" y="200472"/>
                  </a:lnTo>
                  <a:lnTo>
                    <a:pt x="186467" y="193563"/>
                  </a:lnTo>
                  <a:lnTo>
                    <a:pt x="200286" y="193563"/>
                  </a:lnTo>
                  <a:lnTo>
                    <a:pt x="217560" y="200472"/>
                  </a:lnTo>
                  <a:lnTo>
                    <a:pt x="224376" y="207382"/>
                  </a:lnTo>
                  <a:lnTo>
                    <a:pt x="227831" y="190108"/>
                  </a:lnTo>
                  <a:lnTo>
                    <a:pt x="234740" y="176289"/>
                  </a:lnTo>
                  <a:lnTo>
                    <a:pt x="248559" y="162469"/>
                  </a:lnTo>
                  <a:lnTo>
                    <a:pt x="265834" y="152105"/>
                  </a:lnTo>
                  <a:lnTo>
                    <a:pt x="262379" y="145195"/>
                  </a:lnTo>
                  <a:lnTo>
                    <a:pt x="258924" y="131376"/>
                  </a:lnTo>
                  <a:lnTo>
                    <a:pt x="255470" y="121012"/>
                  </a:lnTo>
                  <a:lnTo>
                    <a:pt x="255470" y="96828"/>
                  </a:lnTo>
                  <a:lnTo>
                    <a:pt x="245105" y="89918"/>
                  </a:lnTo>
                  <a:lnTo>
                    <a:pt x="248559" y="79461"/>
                  </a:lnTo>
                  <a:lnTo>
                    <a:pt x="262379" y="79461"/>
                  </a:lnTo>
                  <a:lnTo>
                    <a:pt x="262379" y="55277"/>
                  </a:lnTo>
                  <a:lnTo>
                    <a:pt x="255470" y="48367"/>
                  </a:lnTo>
                  <a:lnTo>
                    <a:pt x="248559" y="27639"/>
                  </a:lnTo>
                  <a:lnTo>
                    <a:pt x="241650" y="20729"/>
                  </a:lnTo>
                  <a:lnTo>
                    <a:pt x="231379" y="10364"/>
                  </a:lnTo>
                  <a:lnTo>
                    <a:pt x="186467" y="13819"/>
                  </a:lnTo>
                  <a:lnTo>
                    <a:pt x="151918" y="13819"/>
                  </a:lnTo>
                  <a:lnTo>
                    <a:pt x="120825" y="13819"/>
                  </a:lnTo>
                  <a:lnTo>
                    <a:pt x="113915" y="0"/>
                  </a:lnTo>
                  <a:lnTo>
                    <a:pt x="82915" y="0"/>
                  </a:lnTo>
                  <a:lnTo>
                    <a:pt x="55277" y="17274"/>
                  </a:lnTo>
                  <a:lnTo>
                    <a:pt x="27639" y="27639"/>
                  </a:lnTo>
                  <a:lnTo>
                    <a:pt x="0" y="34548"/>
                  </a:lnTo>
                  <a:lnTo>
                    <a:pt x="6910" y="51822"/>
                  </a:lnTo>
                  <a:lnTo>
                    <a:pt x="0" y="72551"/>
                  </a:lnTo>
                  <a:close/>
                </a:path>
              </a:pathLst>
            </a:custGeom>
            <a:solidFill>
              <a:srgbClr val="CEE3BF"/>
            </a:solidFill>
            <a:ln w="9334" cap="flat">
              <a:noFill/>
              <a:prstDash val="solid"/>
              <a:miter/>
            </a:ln>
          </p:spPr>
          <p:txBody>
            <a:bodyPr rtlCol="0" anchor="ctr"/>
            <a:lstStyle/>
            <a:p>
              <a:endParaRPr lang="en-GB" dirty="0"/>
            </a:p>
          </p:txBody>
        </p:sp>
        <p:sp>
          <p:nvSpPr>
            <p:cNvPr id="1274" name="Freeform: Shape 1273">
              <a:extLst>
                <a:ext uri="{FF2B5EF4-FFF2-40B4-BE49-F238E27FC236}">
                  <a16:creationId xmlns:a16="http://schemas.microsoft.com/office/drawing/2014/main" id="{79DA160E-0613-42F5-A894-A6C0CB848E83}"/>
                </a:ext>
              </a:extLst>
            </p:cNvPr>
            <p:cNvSpPr/>
            <p:nvPr/>
          </p:nvSpPr>
          <p:spPr>
            <a:xfrm>
              <a:off x="3844702" y="1408197"/>
              <a:ext cx="1660549" cy="1237568"/>
            </a:xfrm>
            <a:custGeom>
              <a:avLst/>
              <a:gdLst>
                <a:gd name="connsiteX0" fmla="*/ 1577727 w 1660549"/>
                <a:gd name="connsiteY0" fmla="*/ 114102 h 1237568"/>
                <a:gd name="connsiteX1" fmla="*/ 1525905 w 1660549"/>
                <a:gd name="connsiteY1" fmla="*/ 117557 h 1237568"/>
                <a:gd name="connsiteX2" fmla="*/ 1498267 w 1660549"/>
                <a:gd name="connsiteY2" fmla="*/ 145195 h 1237568"/>
                <a:gd name="connsiteX3" fmla="*/ 1443083 w 1660549"/>
                <a:gd name="connsiteY3" fmla="*/ 127921 h 1237568"/>
                <a:gd name="connsiteX4" fmla="*/ 1415444 w 1660549"/>
                <a:gd name="connsiteY4" fmla="*/ 148650 h 1237568"/>
                <a:gd name="connsiteX5" fmla="*/ 1367077 w 1660549"/>
                <a:gd name="connsiteY5" fmla="*/ 176289 h 1237568"/>
                <a:gd name="connsiteX6" fmla="*/ 1329168 w 1660549"/>
                <a:gd name="connsiteY6" fmla="*/ 197017 h 1237568"/>
                <a:gd name="connsiteX7" fmla="*/ 1336077 w 1660549"/>
                <a:gd name="connsiteY7" fmla="*/ 179743 h 1237568"/>
                <a:gd name="connsiteX8" fmla="*/ 1391261 w 1660549"/>
                <a:gd name="connsiteY8" fmla="*/ 141741 h 1237568"/>
                <a:gd name="connsiteX9" fmla="*/ 1391261 w 1660549"/>
                <a:gd name="connsiteY9" fmla="*/ 114102 h 1237568"/>
                <a:gd name="connsiteX10" fmla="*/ 1380896 w 1660549"/>
                <a:gd name="connsiteY10" fmla="*/ 100283 h 1237568"/>
                <a:gd name="connsiteX11" fmla="*/ 1349897 w 1660549"/>
                <a:gd name="connsiteY11" fmla="*/ 100283 h 1237568"/>
                <a:gd name="connsiteX12" fmla="*/ 1336077 w 1660549"/>
                <a:gd name="connsiteY12" fmla="*/ 117557 h 1237568"/>
                <a:gd name="connsiteX13" fmla="*/ 1311894 w 1660549"/>
                <a:gd name="connsiteY13" fmla="*/ 131376 h 1237568"/>
                <a:gd name="connsiteX14" fmla="*/ 1266981 w 1660549"/>
                <a:gd name="connsiteY14" fmla="*/ 141741 h 1237568"/>
                <a:gd name="connsiteX15" fmla="*/ 1253162 w 1660549"/>
                <a:gd name="connsiteY15" fmla="*/ 138286 h 1237568"/>
                <a:gd name="connsiteX16" fmla="*/ 1277346 w 1660549"/>
                <a:gd name="connsiteY16" fmla="*/ 131376 h 1237568"/>
                <a:gd name="connsiteX17" fmla="*/ 1301529 w 1660549"/>
                <a:gd name="connsiteY17" fmla="*/ 114102 h 1237568"/>
                <a:gd name="connsiteX18" fmla="*/ 1197978 w 1660549"/>
                <a:gd name="connsiteY18" fmla="*/ 110647 h 1237568"/>
                <a:gd name="connsiteX19" fmla="*/ 1153066 w 1660549"/>
                <a:gd name="connsiteY19" fmla="*/ 121012 h 1237568"/>
                <a:gd name="connsiteX20" fmla="*/ 1166885 w 1660549"/>
                <a:gd name="connsiteY20" fmla="*/ 100283 h 1237568"/>
                <a:gd name="connsiteX21" fmla="*/ 1273891 w 1660549"/>
                <a:gd name="connsiteY21" fmla="*/ 96828 h 1237568"/>
                <a:gd name="connsiteX22" fmla="*/ 1380896 w 1660549"/>
                <a:gd name="connsiteY22" fmla="*/ 83009 h 1237568"/>
                <a:gd name="connsiteX23" fmla="*/ 1405080 w 1660549"/>
                <a:gd name="connsiteY23" fmla="*/ 65641 h 1237568"/>
                <a:gd name="connsiteX24" fmla="*/ 1311894 w 1660549"/>
                <a:gd name="connsiteY24" fmla="*/ 41458 h 1237568"/>
                <a:gd name="connsiteX25" fmla="*/ 1304984 w 1660549"/>
                <a:gd name="connsiteY25" fmla="*/ 31093 h 1237568"/>
                <a:gd name="connsiteX26" fmla="*/ 1287710 w 1660549"/>
                <a:gd name="connsiteY26" fmla="*/ 20729 h 1237568"/>
                <a:gd name="connsiteX27" fmla="*/ 1235888 w 1660549"/>
                <a:gd name="connsiteY27" fmla="*/ 6910 h 1237568"/>
                <a:gd name="connsiteX28" fmla="*/ 1173795 w 1660549"/>
                <a:gd name="connsiteY28" fmla="*/ 0 h 1237568"/>
                <a:gd name="connsiteX29" fmla="*/ 1066789 w 1660549"/>
                <a:gd name="connsiteY29" fmla="*/ 0 h 1237568"/>
                <a:gd name="connsiteX30" fmla="*/ 970054 w 1660549"/>
                <a:gd name="connsiteY30" fmla="*/ 6910 h 1237568"/>
                <a:gd name="connsiteX31" fmla="*/ 921780 w 1660549"/>
                <a:gd name="connsiteY31" fmla="*/ 27638 h 1237568"/>
                <a:gd name="connsiteX32" fmla="*/ 880323 w 1660549"/>
                <a:gd name="connsiteY32" fmla="*/ 31093 h 1237568"/>
                <a:gd name="connsiteX33" fmla="*/ 825046 w 1660549"/>
                <a:gd name="connsiteY33" fmla="*/ 24184 h 1237568"/>
                <a:gd name="connsiteX34" fmla="*/ 776772 w 1660549"/>
                <a:gd name="connsiteY34" fmla="*/ 27638 h 1237568"/>
                <a:gd name="connsiteX35" fmla="*/ 731859 w 1660549"/>
                <a:gd name="connsiteY35" fmla="*/ 41458 h 1237568"/>
                <a:gd name="connsiteX36" fmla="*/ 728404 w 1660549"/>
                <a:gd name="connsiteY36" fmla="*/ 58732 h 1237568"/>
                <a:gd name="connsiteX37" fmla="*/ 690402 w 1660549"/>
                <a:gd name="connsiteY37" fmla="*/ 69096 h 1237568"/>
                <a:gd name="connsiteX38" fmla="*/ 776772 w 1660549"/>
                <a:gd name="connsiteY38" fmla="*/ 117557 h 1237568"/>
                <a:gd name="connsiteX39" fmla="*/ 762953 w 1660549"/>
                <a:gd name="connsiteY39" fmla="*/ 127921 h 1237568"/>
                <a:gd name="connsiteX40" fmla="*/ 697311 w 1660549"/>
                <a:gd name="connsiteY40" fmla="*/ 96828 h 1237568"/>
                <a:gd name="connsiteX41" fmla="*/ 645582 w 1660549"/>
                <a:gd name="connsiteY41" fmla="*/ 76006 h 1237568"/>
                <a:gd name="connsiteX42" fmla="*/ 617944 w 1660549"/>
                <a:gd name="connsiteY42" fmla="*/ 76006 h 1237568"/>
                <a:gd name="connsiteX43" fmla="*/ 604125 w 1660549"/>
                <a:gd name="connsiteY43" fmla="*/ 96828 h 1237568"/>
                <a:gd name="connsiteX44" fmla="*/ 631763 w 1660549"/>
                <a:gd name="connsiteY44" fmla="*/ 114102 h 1237568"/>
                <a:gd name="connsiteX45" fmla="*/ 593760 w 1660549"/>
                <a:gd name="connsiteY45" fmla="*/ 114102 h 1237568"/>
                <a:gd name="connsiteX46" fmla="*/ 538577 w 1660549"/>
                <a:gd name="connsiteY46" fmla="*/ 83009 h 1237568"/>
                <a:gd name="connsiteX47" fmla="*/ 545393 w 1660549"/>
                <a:gd name="connsiteY47" fmla="*/ 114102 h 1237568"/>
                <a:gd name="connsiteX48" fmla="*/ 524758 w 1660549"/>
                <a:gd name="connsiteY48" fmla="*/ 121012 h 1237568"/>
                <a:gd name="connsiteX49" fmla="*/ 510938 w 1660549"/>
                <a:gd name="connsiteY49" fmla="*/ 86464 h 1237568"/>
                <a:gd name="connsiteX50" fmla="*/ 386658 w 1660549"/>
                <a:gd name="connsiteY50" fmla="*/ 100283 h 1237568"/>
                <a:gd name="connsiteX51" fmla="*/ 386658 w 1660549"/>
                <a:gd name="connsiteY51" fmla="*/ 103738 h 1237568"/>
                <a:gd name="connsiteX52" fmla="*/ 390113 w 1660549"/>
                <a:gd name="connsiteY52" fmla="*/ 107192 h 1237568"/>
                <a:gd name="connsiteX53" fmla="*/ 397023 w 1660549"/>
                <a:gd name="connsiteY53" fmla="*/ 117557 h 1237568"/>
                <a:gd name="connsiteX54" fmla="*/ 410749 w 1660549"/>
                <a:gd name="connsiteY54" fmla="*/ 138286 h 1237568"/>
                <a:gd name="connsiteX55" fmla="*/ 383204 w 1660549"/>
                <a:gd name="connsiteY55" fmla="*/ 131376 h 1237568"/>
                <a:gd name="connsiteX56" fmla="*/ 365930 w 1660549"/>
                <a:gd name="connsiteY56" fmla="*/ 114102 h 1237568"/>
                <a:gd name="connsiteX57" fmla="*/ 314108 w 1660549"/>
                <a:gd name="connsiteY57" fmla="*/ 121012 h 1237568"/>
                <a:gd name="connsiteX58" fmla="*/ 327927 w 1660549"/>
                <a:gd name="connsiteY58" fmla="*/ 138286 h 1237568"/>
                <a:gd name="connsiteX59" fmla="*/ 317562 w 1660549"/>
                <a:gd name="connsiteY59" fmla="*/ 172834 h 1237568"/>
                <a:gd name="connsiteX60" fmla="*/ 276105 w 1660549"/>
                <a:gd name="connsiteY60" fmla="*/ 159015 h 1237568"/>
                <a:gd name="connsiteX61" fmla="*/ 220921 w 1660549"/>
                <a:gd name="connsiteY61" fmla="*/ 176289 h 1237568"/>
                <a:gd name="connsiteX62" fmla="*/ 176009 w 1660549"/>
                <a:gd name="connsiteY62" fmla="*/ 197017 h 1237568"/>
                <a:gd name="connsiteX63" fmla="*/ 141460 w 1660549"/>
                <a:gd name="connsiteY63" fmla="*/ 221201 h 1237568"/>
                <a:gd name="connsiteX64" fmla="*/ 193283 w 1660549"/>
                <a:gd name="connsiteY64" fmla="*/ 242023 h 1237568"/>
                <a:gd name="connsiteX65" fmla="*/ 214012 w 1660549"/>
                <a:gd name="connsiteY65" fmla="*/ 231566 h 1237568"/>
                <a:gd name="connsiteX66" fmla="*/ 210557 w 1660549"/>
                <a:gd name="connsiteY66" fmla="*/ 269662 h 1237568"/>
                <a:gd name="connsiteX67" fmla="*/ 182918 w 1660549"/>
                <a:gd name="connsiteY67" fmla="*/ 293845 h 1237568"/>
                <a:gd name="connsiteX68" fmla="*/ 131190 w 1660549"/>
                <a:gd name="connsiteY68" fmla="*/ 293845 h 1237568"/>
                <a:gd name="connsiteX69" fmla="*/ 100096 w 1660549"/>
                <a:gd name="connsiteY69" fmla="*/ 311120 h 1237568"/>
                <a:gd name="connsiteX70" fmla="*/ 55184 w 1660549"/>
                <a:gd name="connsiteY70" fmla="*/ 318029 h 1237568"/>
                <a:gd name="connsiteX71" fmla="*/ 13819 w 1660549"/>
                <a:gd name="connsiteY71" fmla="*/ 324939 h 1237568"/>
                <a:gd name="connsiteX72" fmla="*/ 0 w 1660549"/>
                <a:gd name="connsiteY72" fmla="*/ 338758 h 1237568"/>
                <a:gd name="connsiteX73" fmla="*/ 13819 w 1660549"/>
                <a:gd name="connsiteY73" fmla="*/ 356032 h 1237568"/>
                <a:gd name="connsiteX74" fmla="*/ 69003 w 1660549"/>
                <a:gd name="connsiteY74" fmla="*/ 380216 h 1237568"/>
                <a:gd name="connsiteX75" fmla="*/ 107006 w 1660549"/>
                <a:gd name="connsiteY75" fmla="*/ 387125 h 1237568"/>
                <a:gd name="connsiteX76" fmla="*/ 145009 w 1660549"/>
                <a:gd name="connsiteY76" fmla="*/ 383670 h 1237568"/>
                <a:gd name="connsiteX77" fmla="*/ 176009 w 1660549"/>
                <a:gd name="connsiteY77" fmla="*/ 383670 h 1237568"/>
                <a:gd name="connsiteX78" fmla="*/ 172554 w 1660549"/>
                <a:gd name="connsiteY78" fmla="*/ 397490 h 1237568"/>
                <a:gd name="connsiteX79" fmla="*/ 103551 w 1660549"/>
                <a:gd name="connsiteY79" fmla="*/ 404493 h 1237568"/>
                <a:gd name="connsiteX80" fmla="*/ 51729 w 1660549"/>
                <a:gd name="connsiteY80" fmla="*/ 404493 h 1237568"/>
                <a:gd name="connsiteX81" fmla="*/ 41364 w 1660549"/>
                <a:gd name="connsiteY81" fmla="*/ 414857 h 1237568"/>
                <a:gd name="connsiteX82" fmla="*/ 72458 w 1660549"/>
                <a:gd name="connsiteY82" fmla="*/ 432131 h 1237568"/>
                <a:gd name="connsiteX83" fmla="*/ 107006 w 1660549"/>
                <a:gd name="connsiteY83" fmla="*/ 432131 h 1237568"/>
                <a:gd name="connsiteX84" fmla="*/ 131190 w 1660549"/>
                <a:gd name="connsiteY84" fmla="*/ 435586 h 1237568"/>
                <a:gd name="connsiteX85" fmla="*/ 117370 w 1660549"/>
                <a:gd name="connsiteY85" fmla="*/ 442496 h 1237568"/>
                <a:gd name="connsiteX86" fmla="*/ 89732 w 1660549"/>
                <a:gd name="connsiteY86" fmla="*/ 452860 h 1237568"/>
                <a:gd name="connsiteX87" fmla="*/ 131190 w 1660549"/>
                <a:gd name="connsiteY87" fmla="*/ 470134 h 1237568"/>
                <a:gd name="connsiteX88" fmla="*/ 162189 w 1660549"/>
                <a:gd name="connsiteY88" fmla="*/ 477044 h 1237568"/>
                <a:gd name="connsiteX89" fmla="*/ 172554 w 1660549"/>
                <a:gd name="connsiteY89" fmla="*/ 470134 h 1237568"/>
                <a:gd name="connsiteX90" fmla="*/ 182918 w 1660549"/>
                <a:gd name="connsiteY90" fmla="*/ 456315 h 1237568"/>
                <a:gd name="connsiteX91" fmla="*/ 203647 w 1660549"/>
                <a:gd name="connsiteY91" fmla="*/ 473589 h 1237568"/>
                <a:gd name="connsiteX92" fmla="*/ 238195 w 1660549"/>
                <a:gd name="connsiteY92" fmla="*/ 459770 h 1237568"/>
                <a:gd name="connsiteX93" fmla="*/ 255469 w 1660549"/>
                <a:gd name="connsiteY93" fmla="*/ 452860 h 1237568"/>
                <a:gd name="connsiteX94" fmla="*/ 338291 w 1660549"/>
                <a:gd name="connsiteY94" fmla="*/ 473589 h 1237568"/>
                <a:gd name="connsiteX95" fmla="*/ 390113 w 1660549"/>
                <a:gd name="connsiteY95" fmla="*/ 490863 h 1237568"/>
                <a:gd name="connsiteX96" fmla="*/ 393568 w 1660549"/>
                <a:gd name="connsiteY96" fmla="*/ 508137 h 1237568"/>
                <a:gd name="connsiteX97" fmla="*/ 410749 w 1660549"/>
                <a:gd name="connsiteY97" fmla="*/ 528866 h 1237568"/>
                <a:gd name="connsiteX98" fmla="*/ 455661 w 1660549"/>
                <a:gd name="connsiteY98" fmla="*/ 573872 h 1237568"/>
                <a:gd name="connsiteX99" fmla="*/ 497119 w 1660549"/>
                <a:gd name="connsiteY99" fmla="*/ 653332 h 1237568"/>
                <a:gd name="connsiteX100" fmla="*/ 472935 w 1660549"/>
                <a:gd name="connsiteY100" fmla="*/ 687880 h 1237568"/>
                <a:gd name="connsiteX101" fmla="*/ 472935 w 1660549"/>
                <a:gd name="connsiteY101" fmla="*/ 715519 h 1237568"/>
                <a:gd name="connsiteX102" fmla="*/ 510938 w 1660549"/>
                <a:gd name="connsiteY102" fmla="*/ 712064 h 1237568"/>
                <a:gd name="connsiteX103" fmla="*/ 524758 w 1660549"/>
                <a:gd name="connsiteY103" fmla="*/ 691335 h 1237568"/>
                <a:gd name="connsiteX104" fmla="*/ 552302 w 1660549"/>
                <a:gd name="connsiteY104" fmla="*/ 708609 h 1237568"/>
                <a:gd name="connsiteX105" fmla="*/ 569577 w 1660549"/>
                <a:gd name="connsiteY105" fmla="*/ 715519 h 1237568"/>
                <a:gd name="connsiteX106" fmla="*/ 593760 w 1660549"/>
                <a:gd name="connsiteY106" fmla="*/ 743251 h 1237568"/>
                <a:gd name="connsiteX107" fmla="*/ 590305 w 1660549"/>
                <a:gd name="connsiteY107" fmla="*/ 763980 h 1237568"/>
                <a:gd name="connsiteX108" fmla="*/ 548848 w 1660549"/>
                <a:gd name="connsiteY108" fmla="*/ 750160 h 1237568"/>
                <a:gd name="connsiteX109" fmla="*/ 510938 w 1660549"/>
                <a:gd name="connsiteY109" fmla="*/ 753615 h 1237568"/>
                <a:gd name="connsiteX110" fmla="*/ 535122 w 1660549"/>
                <a:gd name="connsiteY110" fmla="*/ 767434 h 1237568"/>
                <a:gd name="connsiteX111" fmla="*/ 569577 w 1660549"/>
                <a:gd name="connsiteY111" fmla="*/ 788163 h 1237568"/>
                <a:gd name="connsiteX112" fmla="*/ 607580 w 1660549"/>
                <a:gd name="connsiteY112" fmla="*/ 788163 h 1237568"/>
                <a:gd name="connsiteX113" fmla="*/ 614489 w 1660549"/>
                <a:gd name="connsiteY113" fmla="*/ 805437 h 1237568"/>
                <a:gd name="connsiteX114" fmla="*/ 593760 w 1660549"/>
                <a:gd name="connsiteY114" fmla="*/ 826166 h 1237568"/>
                <a:gd name="connsiteX115" fmla="*/ 593760 w 1660549"/>
                <a:gd name="connsiteY115" fmla="*/ 864169 h 1237568"/>
                <a:gd name="connsiteX116" fmla="*/ 600670 w 1660549"/>
                <a:gd name="connsiteY116" fmla="*/ 898810 h 1237568"/>
                <a:gd name="connsiteX117" fmla="*/ 597215 w 1660549"/>
                <a:gd name="connsiteY117" fmla="*/ 902265 h 1237568"/>
                <a:gd name="connsiteX118" fmla="*/ 590305 w 1660549"/>
                <a:gd name="connsiteY118" fmla="*/ 902265 h 1237568"/>
                <a:gd name="connsiteX119" fmla="*/ 579941 w 1660549"/>
                <a:gd name="connsiteY119" fmla="*/ 898810 h 1237568"/>
                <a:gd name="connsiteX120" fmla="*/ 548848 w 1660549"/>
                <a:gd name="connsiteY120" fmla="*/ 891901 h 1237568"/>
                <a:gd name="connsiteX121" fmla="*/ 538577 w 1660549"/>
                <a:gd name="connsiteY121" fmla="*/ 891901 h 1237568"/>
                <a:gd name="connsiteX122" fmla="*/ 521303 w 1660549"/>
                <a:gd name="connsiteY122" fmla="*/ 912630 h 1237568"/>
                <a:gd name="connsiteX123" fmla="*/ 524758 w 1660549"/>
                <a:gd name="connsiteY123" fmla="*/ 933359 h 1237568"/>
                <a:gd name="connsiteX124" fmla="*/ 545393 w 1660549"/>
                <a:gd name="connsiteY124" fmla="*/ 933359 h 1237568"/>
                <a:gd name="connsiteX125" fmla="*/ 538577 w 1660549"/>
                <a:gd name="connsiteY125" fmla="*/ 943723 h 1237568"/>
                <a:gd name="connsiteX126" fmla="*/ 524758 w 1660549"/>
                <a:gd name="connsiteY126" fmla="*/ 967907 h 1237568"/>
                <a:gd name="connsiteX127" fmla="*/ 538577 w 1660549"/>
                <a:gd name="connsiteY127" fmla="*/ 988635 h 1237568"/>
                <a:gd name="connsiteX128" fmla="*/ 559212 w 1660549"/>
                <a:gd name="connsiteY128" fmla="*/ 1016274 h 1237568"/>
                <a:gd name="connsiteX129" fmla="*/ 586851 w 1660549"/>
                <a:gd name="connsiteY129" fmla="*/ 1037003 h 1237568"/>
                <a:gd name="connsiteX130" fmla="*/ 611034 w 1660549"/>
                <a:gd name="connsiteY130" fmla="*/ 1026638 h 1237568"/>
                <a:gd name="connsiteX131" fmla="*/ 621399 w 1660549"/>
                <a:gd name="connsiteY131" fmla="*/ 1043912 h 1237568"/>
                <a:gd name="connsiteX132" fmla="*/ 600670 w 1660549"/>
                <a:gd name="connsiteY132" fmla="*/ 1068189 h 1237568"/>
                <a:gd name="connsiteX133" fmla="*/ 600670 w 1660549"/>
                <a:gd name="connsiteY133" fmla="*/ 1095828 h 1237568"/>
                <a:gd name="connsiteX134" fmla="*/ 624854 w 1660549"/>
                <a:gd name="connsiteY134" fmla="*/ 1113102 h 1237568"/>
                <a:gd name="connsiteX135" fmla="*/ 614489 w 1660549"/>
                <a:gd name="connsiteY135" fmla="*/ 1130376 h 1237568"/>
                <a:gd name="connsiteX136" fmla="*/ 645582 w 1660549"/>
                <a:gd name="connsiteY136" fmla="*/ 1161469 h 1237568"/>
                <a:gd name="connsiteX137" fmla="*/ 673221 w 1660549"/>
                <a:gd name="connsiteY137" fmla="*/ 1209837 h 1237568"/>
                <a:gd name="connsiteX138" fmla="*/ 700766 w 1660549"/>
                <a:gd name="connsiteY138" fmla="*/ 1199472 h 1237568"/>
                <a:gd name="connsiteX139" fmla="*/ 718040 w 1660549"/>
                <a:gd name="connsiteY139" fmla="*/ 1199472 h 1237568"/>
                <a:gd name="connsiteX140" fmla="*/ 735314 w 1660549"/>
                <a:gd name="connsiteY140" fmla="*/ 1192563 h 1237568"/>
                <a:gd name="connsiteX141" fmla="*/ 738769 w 1660549"/>
                <a:gd name="connsiteY141" fmla="*/ 1213291 h 1237568"/>
                <a:gd name="connsiteX142" fmla="*/ 766407 w 1660549"/>
                <a:gd name="connsiteY142" fmla="*/ 1234114 h 1237568"/>
                <a:gd name="connsiteX143" fmla="*/ 797501 w 1660549"/>
                <a:gd name="connsiteY143" fmla="*/ 1237568 h 1237568"/>
                <a:gd name="connsiteX144" fmla="*/ 821591 w 1660549"/>
                <a:gd name="connsiteY144" fmla="*/ 1185653 h 1237568"/>
                <a:gd name="connsiteX145" fmla="*/ 831955 w 1660549"/>
                <a:gd name="connsiteY145" fmla="*/ 1147650 h 1237568"/>
                <a:gd name="connsiteX146" fmla="*/ 828501 w 1660549"/>
                <a:gd name="connsiteY146" fmla="*/ 1137286 h 1237568"/>
                <a:gd name="connsiteX147" fmla="*/ 818136 w 1660549"/>
                <a:gd name="connsiteY147" fmla="*/ 1123466 h 1237568"/>
                <a:gd name="connsiteX148" fmla="*/ 838865 w 1660549"/>
                <a:gd name="connsiteY148" fmla="*/ 1120012 h 1237568"/>
                <a:gd name="connsiteX149" fmla="*/ 866504 w 1660549"/>
                <a:gd name="connsiteY149" fmla="*/ 1099283 h 1237568"/>
                <a:gd name="connsiteX150" fmla="*/ 876868 w 1660549"/>
                <a:gd name="connsiteY150" fmla="*/ 1071644 h 1237568"/>
                <a:gd name="connsiteX151" fmla="*/ 869958 w 1660549"/>
                <a:gd name="connsiteY151" fmla="*/ 1057825 h 1237568"/>
                <a:gd name="connsiteX152" fmla="*/ 883777 w 1660549"/>
                <a:gd name="connsiteY152" fmla="*/ 1047367 h 1237568"/>
                <a:gd name="connsiteX153" fmla="*/ 880323 w 1660549"/>
                <a:gd name="connsiteY153" fmla="*/ 1023184 h 1237568"/>
                <a:gd name="connsiteX154" fmla="*/ 894142 w 1660549"/>
                <a:gd name="connsiteY154" fmla="*/ 1016274 h 1237568"/>
                <a:gd name="connsiteX155" fmla="*/ 894142 w 1660549"/>
                <a:gd name="connsiteY155" fmla="*/ 1005910 h 1237568"/>
                <a:gd name="connsiteX156" fmla="*/ 904506 w 1660549"/>
                <a:gd name="connsiteY156" fmla="*/ 995545 h 1237568"/>
                <a:gd name="connsiteX157" fmla="*/ 942509 w 1660549"/>
                <a:gd name="connsiteY157" fmla="*/ 988635 h 1237568"/>
                <a:gd name="connsiteX158" fmla="*/ 966600 w 1660549"/>
                <a:gd name="connsiteY158" fmla="*/ 988635 h 1237568"/>
                <a:gd name="connsiteX159" fmla="*/ 1004602 w 1660549"/>
                <a:gd name="connsiteY159" fmla="*/ 974816 h 1237568"/>
                <a:gd name="connsiteX160" fmla="*/ 1049515 w 1660549"/>
                <a:gd name="connsiteY160" fmla="*/ 954087 h 1237568"/>
                <a:gd name="connsiteX161" fmla="*/ 1083970 w 1660549"/>
                <a:gd name="connsiteY161" fmla="*/ 909175 h 1237568"/>
                <a:gd name="connsiteX162" fmla="*/ 1108153 w 1660549"/>
                <a:gd name="connsiteY162" fmla="*/ 888353 h 1237568"/>
                <a:gd name="connsiteX163" fmla="*/ 1115063 w 1660549"/>
                <a:gd name="connsiteY163" fmla="*/ 874533 h 1237568"/>
                <a:gd name="connsiteX164" fmla="*/ 1135792 w 1660549"/>
                <a:gd name="connsiteY164" fmla="*/ 884898 h 1237568"/>
                <a:gd name="connsiteX165" fmla="*/ 1166885 w 1660549"/>
                <a:gd name="connsiteY165" fmla="*/ 877988 h 1237568"/>
                <a:gd name="connsiteX166" fmla="*/ 1270436 w 1660549"/>
                <a:gd name="connsiteY166" fmla="*/ 857259 h 1237568"/>
                <a:gd name="connsiteX167" fmla="*/ 1298075 w 1660549"/>
                <a:gd name="connsiteY167" fmla="*/ 836530 h 1237568"/>
                <a:gd name="connsiteX168" fmla="*/ 1363622 w 1660549"/>
                <a:gd name="connsiteY168" fmla="*/ 798528 h 1237568"/>
                <a:gd name="connsiteX169" fmla="*/ 1387806 w 1660549"/>
                <a:gd name="connsiteY169" fmla="*/ 784708 h 1237568"/>
                <a:gd name="connsiteX170" fmla="*/ 1342987 w 1660549"/>
                <a:gd name="connsiteY170" fmla="*/ 781254 h 1237568"/>
                <a:gd name="connsiteX171" fmla="*/ 1304984 w 1660549"/>
                <a:gd name="connsiteY171" fmla="*/ 770889 h 1237568"/>
                <a:gd name="connsiteX172" fmla="*/ 1294619 w 1660549"/>
                <a:gd name="connsiteY172" fmla="*/ 746706 h 1237568"/>
                <a:gd name="connsiteX173" fmla="*/ 1294619 w 1660549"/>
                <a:gd name="connsiteY173" fmla="*/ 715519 h 1237568"/>
                <a:gd name="connsiteX174" fmla="*/ 1304984 w 1660549"/>
                <a:gd name="connsiteY174" fmla="*/ 718974 h 1237568"/>
                <a:gd name="connsiteX175" fmla="*/ 1329168 w 1660549"/>
                <a:gd name="connsiteY175" fmla="*/ 743251 h 1237568"/>
                <a:gd name="connsiteX176" fmla="*/ 1363622 w 1660549"/>
                <a:gd name="connsiteY176" fmla="*/ 767434 h 1237568"/>
                <a:gd name="connsiteX177" fmla="*/ 1398171 w 1660549"/>
                <a:gd name="connsiteY177" fmla="*/ 770889 h 1237568"/>
                <a:gd name="connsiteX178" fmla="*/ 1387806 w 1660549"/>
                <a:gd name="connsiteY178" fmla="*/ 708609 h 1237568"/>
                <a:gd name="connsiteX179" fmla="*/ 1339532 w 1660549"/>
                <a:gd name="connsiteY179" fmla="*/ 677516 h 1237568"/>
                <a:gd name="connsiteX180" fmla="*/ 1336077 w 1660549"/>
                <a:gd name="connsiteY180" fmla="*/ 667152 h 1237568"/>
                <a:gd name="connsiteX181" fmla="*/ 1349897 w 1660549"/>
                <a:gd name="connsiteY181" fmla="*/ 667152 h 1237568"/>
                <a:gd name="connsiteX182" fmla="*/ 1380896 w 1660549"/>
                <a:gd name="connsiteY182" fmla="*/ 691335 h 1237568"/>
                <a:gd name="connsiteX183" fmla="*/ 1387806 w 1660549"/>
                <a:gd name="connsiteY183" fmla="*/ 660242 h 1237568"/>
                <a:gd name="connsiteX184" fmla="*/ 1380896 w 1660549"/>
                <a:gd name="connsiteY184" fmla="*/ 642968 h 1237568"/>
                <a:gd name="connsiteX185" fmla="*/ 1325713 w 1660549"/>
                <a:gd name="connsiteY185" fmla="*/ 642968 h 1237568"/>
                <a:gd name="connsiteX186" fmla="*/ 1304984 w 1660549"/>
                <a:gd name="connsiteY186" fmla="*/ 622239 h 1237568"/>
                <a:gd name="connsiteX187" fmla="*/ 1325713 w 1660549"/>
                <a:gd name="connsiteY187" fmla="*/ 611875 h 1237568"/>
                <a:gd name="connsiteX188" fmla="*/ 1363622 w 1660549"/>
                <a:gd name="connsiteY188" fmla="*/ 615329 h 1237568"/>
                <a:gd name="connsiteX189" fmla="*/ 1401625 w 1660549"/>
                <a:gd name="connsiteY189" fmla="*/ 615329 h 1237568"/>
                <a:gd name="connsiteX190" fmla="*/ 1432719 w 1660549"/>
                <a:gd name="connsiteY190" fmla="*/ 604965 h 1237568"/>
                <a:gd name="connsiteX191" fmla="*/ 1425809 w 1660549"/>
                <a:gd name="connsiteY191" fmla="*/ 580781 h 1237568"/>
                <a:gd name="connsiteX192" fmla="*/ 1446538 w 1660549"/>
                <a:gd name="connsiteY192" fmla="*/ 577327 h 1237568"/>
                <a:gd name="connsiteX193" fmla="*/ 1467267 w 1660549"/>
                <a:gd name="connsiteY193" fmla="*/ 566869 h 1237568"/>
                <a:gd name="connsiteX194" fmla="*/ 1467267 w 1660549"/>
                <a:gd name="connsiteY194" fmla="*/ 559959 h 1237568"/>
                <a:gd name="connsiteX195" fmla="*/ 1460357 w 1660549"/>
                <a:gd name="connsiteY195" fmla="*/ 553049 h 1237568"/>
                <a:gd name="connsiteX196" fmla="*/ 1449993 w 1660549"/>
                <a:gd name="connsiteY196" fmla="*/ 539230 h 1237568"/>
                <a:gd name="connsiteX197" fmla="*/ 1429264 w 1660549"/>
                <a:gd name="connsiteY197" fmla="*/ 515047 h 1237568"/>
                <a:gd name="connsiteX198" fmla="*/ 1463812 w 1660549"/>
                <a:gd name="connsiteY198" fmla="*/ 511592 h 1237568"/>
                <a:gd name="connsiteX199" fmla="*/ 1467267 w 1660549"/>
                <a:gd name="connsiteY199" fmla="*/ 483953 h 1237568"/>
                <a:gd name="connsiteX200" fmla="*/ 1439628 w 1660549"/>
                <a:gd name="connsiteY200" fmla="*/ 463224 h 1237568"/>
                <a:gd name="connsiteX201" fmla="*/ 1405080 w 1660549"/>
                <a:gd name="connsiteY201" fmla="*/ 452860 h 1237568"/>
                <a:gd name="connsiteX202" fmla="*/ 1405080 w 1660549"/>
                <a:gd name="connsiteY202" fmla="*/ 428676 h 1237568"/>
                <a:gd name="connsiteX203" fmla="*/ 1443083 w 1660549"/>
                <a:gd name="connsiteY203" fmla="*/ 421767 h 1237568"/>
                <a:gd name="connsiteX204" fmla="*/ 1460357 w 1660549"/>
                <a:gd name="connsiteY204" fmla="*/ 435586 h 1237568"/>
                <a:gd name="connsiteX205" fmla="*/ 1480993 w 1660549"/>
                <a:gd name="connsiteY205" fmla="*/ 449405 h 1237568"/>
                <a:gd name="connsiteX206" fmla="*/ 1484447 w 1660549"/>
                <a:gd name="connsiteY206" fmla="*/ 445950 h 1237568"/>
                <a:gd name="connsiteX207" fmla="*/ 1491357 w 1660549"/>
                <a:gd name="connsiteY207" fmla="*/ 432131 h 1237568"/>
                <a:gd name="connsiteX208" fmla="*/ 1498267 w 1660549"/>
                <a:gd name="connsiteY208" fmla="*/ 411402 h 1237568"/>
                <a:gd name="connsiteX209" fmla="*/ 1474176 w 1660549"/>
                <a:gd name="connsiteY209" fmla="*/ 404493 h 1237568"/>
                <a:gd name="connsiteX210" fmla="*/ 1449993 w 1660549"/>
                <a:gd name="connsiteY210" fmla="*/ 394035 h 1237568"/>
                <a:gd name="connsiteX211" fmla="*/ 1446538 w 1660549"/>
                <a:gd name="connsiteY211" fmla="*/ 390580 h 1237568"/>
                <a:gd name="connsiteX212" fmla="*/ 1443083 w 1660549"/>
                <a:gd name="connsiteY212" fmla="*/ 387125 h 1237568"/>
                <a:gd name="connsiteX213" fmla="*/ 1443083 w 1660549"/>
                <a:gd name="connsiteY213" fmla="*/ 380216 h 1237568"/>
                <a:gd name="connsiteX214" fmla="*/ 1463812 w 1660549"/>
                <a:gd name="connsiteY214" fmla="*/ 366396 h 1237568"/>
                <a:gd name="connsiteX215" fmla="*/ 1418899 w 1660549"/>
                <a:gd name="connsiteY215" fmla="*/ 362942 h 1237568"/>
                <a:gd name="connsiteX216" fmla="*/ 1401625 w 1660549"/>
                <a:gd name="connsiteY216" fmla="*/ 359487 h 1237568"/>
                <a:gd name="connsiteX217" fmla="*/ 1418899 w 1660549"/>
                <a:gd name="connsiteY217" fmla="*/ 311120 h 1237568"/>
                <a:gd name="connsiteX218" fmla="*/ 1453447 w 1660549"/>
                <a:gd name="connsiteY218" fmla="*/ 293845 h 1237568"/>
                <a:gd name="connsiteX219" fmla="*/ 1456902 w 1660549"/>
                <a:gd name="connsiteY219" fmla="*/ 262752 h 1237568"/>
                <a:gd name="connsiteX220" fmla="*/ 1498267 w 1660549"/>
                <a:gd name="connsiteY220" fmla="*/ 252388 h 1237568"/>
                <a:gd name="connsiteX221" fmla="*/ 1512086 w 1660549"/>
                <a:gd name="connsiteY221" fmla="*/ 238475 h 1237568"/>
                <a:gd name="connsiteX222" fmla="*/ 1494812 w 1660549"/>
                <a:gd name="connsiteY222" fmla="*/ 238475 h 1237568"/>
                <a:gd name="connsiteX223" fmla="*/ 1449993 w 1660549"/>
                <a:gd name="connsiteY223" fmla="*/ 242023 h 1237568"/>
                <a:gd name="connsiteX224" fmla="*/ 1436173 w 1660549"/>
                <a:gd name="connsiteY224" fmla="*/ 228111 h 1237568"/>
                <a:gd name="connsiteX225" fmla="*/ 1467267 w 1660549"/>
                <a:gd name="connsiteY225" fmla="*/ 221201 h 1237568"/>
                <a:gd name="connsiteX226" fmla="*/ 1532815 w 1660549"/>
                <a:gd name="connsiteY226" fmla="*/ 224656 h 1237568"/>
                <a:gd name="connsiteX227" fmla="*/ 1546634 w 1660549"/>
                <a:gd name="connsiteY227" fmla="*/ 210837 h 1237568"/>
                <a:gd name="connsiteX228" fmla="*/ 1501721 w 1660549"/>
                <a:gd name="connsiteY228" fmla="*/ 207382 h 1237568"/>
                <a:gd name="connsiteX229" fmla="*/ 1470721 w 1660549"/>
                <a:gd name="connsiteY229" fmla="*/ 200472 h 1237568"/>
                <a:gd name="connsiteX230" fmla="*/ 1505176 w 1660549"/>
                <a:gd name="connsiteY230" fmla="*/ 190108 h 1237568"/>
                <a:gd name="connsiteX231" fmla="*/ 1563908 w 1660549"/>
                <a:gd name="connsiteY231" fmla="*/ 190108 h 1237568"/>
                <a:gd name="connsiteX232" fmla="*/ 1581182 w 1660549"/>
                <a:gd name="connsiteY232" fmla="*/ 183198 h 1237568"/>
                <a:gd name="connsiteX233" fmla="*/ 1591546 w 1660549"/>
                <a:gd name="connsiteY233" fmla="*/ 169379 h 1237568"/>
                <a:gd name="connsiteX234" fmla="*/ 1636365 w 1660549"/>
                <a:gd name="connsiteY234" fmla="*/ 155560 h 1237568"/>
                <a:gd name="connsiteX235" fmla="*/ 1660549 w 1660549"/>
                <a:gd name="connsiteY235" fmla="*/ 138286 h 1237568"/>
                <a:gd name="connsiteX236" fmla="*/ 1632911 w 1660549"/>
                <a:gd name="connsiteY236" fmla="*/ 121012 h 1237568"/>
                <a:gd name="connsiteX237" fmla="*/ 1577727 w 1660549"/>
                <a:gd name="connsiteY237" fmla="*/ 114102 h 123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1660549" h="1237568">
                  <a:moveTo>
                    <a:pt x="1577727" y="114102"/>
                  </a:moveTo>
                  <a:lnTo>
                    <a:pt x="1525905" y="117557"/>
                  </a:lnTo>
                  <a:lnTo>
                    <a:pt x="1498267" y="145195"/>
                  </a:lnTo>
                  <a:lnTo>
                    <a:pt x="1443083" y="127921"/>
                  </a:lnTo>
                  <a:lnTo>
                    <a:pt x="1415444" y="148650"/>
                  </a:lnTo>
                  <a:lnTo>
                    <a:pt x="1367077" y="176289"/>
                  </a:lnTo>
                  <a:lnTo>
                    <a:pt x="1329168" y="197017"/>
                  </a:lnTo>
                  <a:lnTo>
                    <a:pt x="1336077" y="179743"/>
                  </a:lnTo>
                  <a:lnTo>
                    <a:pt x="1391261" y="141741"/>
                  </a:lnTo>
                  <a:lnTo>
                    <a:pt x="1391261" y="114102"/>
                  </a:lnTo>
                  <a:lnTo>
                    <a:pt x="1380896" y="100283"/>
                  </a:lnTo>
                  <a:lnTo>
                    <a:pt x="1349897" y="100283"/>
                  </a:lnTo>
                  <a:lnTo>
                    <a:pt x="1336077" y="117557"/>
                  </a:lnTo>
                  <a:lnTo>
                    <a:pt x="1311894" y="131376"/>
                  </a:lnTo>
                  <a:lnTo>
                    <a:pt x="1266981" y="141741"/>
                  </a:lnTo>
                  <a:lnTo>
                    <a:pt x="1253162" y="138286"/>
                  </a:lnTo>
                  <a:lnTo>
                    <a:pt x="1277346" y="131376"/>
                  </a:lnTo>
                  <a:lnTo>
                    <a:pt x="1301529" y="114102"/>
                  </a:lnTo>
                  <a:lnTo>
                    <a:pt x="1197978" y="110647"/>
                  </a:lnTo>
                  <a:lnTo>
                    <a:pt x="1153066" y="121012"/>
                  </a:lnTo>
                  <a:lnTo>
                    <a:pt x="1166885" y="100283"/>
                  </a:lnTo>
                  <a:lnTo>
                    <a:pt x="1273891" y="96828"/>
                  </a:lnTo>
                  <a:lnTo>
                    <a:pt x="1380896" y="83009"/>
                  </a:lnTo>
                  <a:lnTo>
                    <a:pt x="1405080" y="65641"/>
                  </a:lnTo>
                  <a:lnTo>
                    <a:pt x="1311894" y="41458"/>
                  </a:lnTo>
                  <a:lnTo>
                    <a:pt x="1304984" y="31093"/>
                  </a:lnTo>
                  <a:lnTo>
                    <a:pt x="1287710" y="20729"/>
                  </a:lnTo>
                  <a:lnTo>
                    <a:pt x="1235888" y="6910"/>
                  </a:lnTo>
                  <a:lnTo>
                    <a:pt x="1173795" y="0"/>
                  </a:lnTo>
                  <a:lnTo>
                    <a:pt x="1066789" y="0"/>
                  </a:lnTo>
                  <a:lnTo>
                    <a:pt x="970054" y="6910"/>
                  </a:lnTo>
                  <a:lnTo>
                    <a:pt x="921780" y="27638"/>
                  </a:lnTo>
                  <a:lnTo>
                    <a:pt x="880323" y="31093"/>
                  </a:lnTo>
                  <a:lnTo>
                    <a:pt x="825046" y="24184"/>
                  </a:lnTo>
                  <a:lnTo>
                    <a:pt x="776772" y="27638"/>
                  </a:lnTo>
                  <a:lnTo>
                    <a:pt x="731859" y="41458"/>
                  </a:lnTo>
                  <a:lnTo>
                    <a:pt x="728404" y="58732"/>
                  </a:lnTo>
                  <a:lnTo>
                    <a:pt x="690402" y="69096"/>
                  </a:lnTo>
                  <a:lnTo>
                    <a:pt x="776772" y="117557"/>
                  </a:lnTo>
                  <a:lnTo>
                    <a:pt x="762953" y="127921"/>
                  </a:lnTo>
                  <a:lnTo>
                    <a:pt x="697311" y="96828"/>
                  </a:lnTo>
                  <a:lnTo>
                    <a:pt x="645582" y="76006"/>
                  </a:lnTo>
                  <a:lnTo>
                    <a:pt x="617944" y="76006"/>
                  </a:lnTo>
                  <a:lnTo>
                    <a:pt x="604125" y="96828"/>
                  </a:lnTo>
                  <a:lnTo>
                    <a:pt x="631763" y="114102"/>
                  </a:lnTo>
                  <a:lnTo>
                    <a:pt x="593760" y="114102"/>
                  </a:lnTo>
                  <a:lnTo>
                    <a:pt x="538577" y="83009"/>
                  </a:lnTo>
                  <a:lnTo>
                    <a:pt x="545393" y="114102"/>
                  </a:lnTo>
                  <a:lnTo>
                    <a:pt x="524758" y="121012"/>
                  </a:lnTo>
                  <a:lnTo>
                    <a:pt x="510938" y="86464"/>
                  </a:lnTo>
                  <a:lnTo>
                    <a:pt x="386658" y="100283"/>
                  </a:lnTo>
                  <a:lnTo>
                    <a:pt x="386658" y="103738"/>
                  </a:lnTo>
                  <a:lnTo>
                    <a:pt x="390113" y="107192"/>
                  </a:lnTo>
                  <a:lnTo>
                    <a:pt x="397023" y="117557"/>
                  </a:lnTo>
                  <a:lnTo>
                    <a:pt x="410749" y="138286"/>
                  </a:lnTo>
                  <a:lnTo>
                    <a:pt x="383204" y="131376"/>
                  </a:lnTo>
                  <a:lnTo>
                    <a:pt x="365930" y="114102"/>
                  </a:lnTo>
                  <a:lnTo>
                    <a:pt x="314108" y="121012"/>
                  </a:lnTo>
                  <a:lnTo>
                    <a:pt x="327927" y="138286"/>
                  </a:lnTo>
                  <a:lnTo>
                    <a:pt x="317562" y="172834"/>
                  </a:lnTo>
                  <a:lnTo>
                    <a:pt x="276105" y="159015"/>
                  </a:lnTo>
                  <a:lnTo>
                    <a:pt x="220921" y="176289"/>
                  </a:lnTo>
                  <a:lnTo>
                    <a:pt x="176009" y="197017"/>
                  </a:lnTo>
                  <a:lnTo>
                    <a:pt x="141460" y="221201"/>
                  </a:lnTo>
                  <a:lnTo>
                    <a:pt x="193283" y="242023"/>
                  </a:lnTo>
                  <a:lnTo>
                    <a:pt x="214012" y="231566"/>
                  </a:lnTo>
                  <a:lnTo>
                    <a:pt x="210557" y="269662"/>
                  </a:lnTo>
                  <a:lnTo>
                    <a:pt x="182918" y="293845"/>
                  </a:lnTo>
                  <a:lnTo>
                    <a:pt x="131190" y="293845"/>
                  </a:lnTo>
                  <a:lnTo>
                    <a:pt x="100096" y="311120"/>
                  </a:lnTo>
                  <a:lnTo>
                    <a:pt x="55184" y="318029"/>
                  </a:lnTo>
                  <a:lnTo>
                    <a:pt x="13819" y="324939"/>
                  </a:lnTo>
                  <a:lnTo>
                    <a:pt x="0" y="338758"/>
                  </a:lnTo>
                  <a:lnTo>
                    <a:pt x="13819" y="356032"/>
                  </a:lnTo>
                  <a:lnTo>
                    <a:pt x="69003" y="380216"/>
                  </a:lnTo>
                  <a:lnTo>
                    <a:pt x="107006" y="387125"/>
                  </a:lnTo>
                  <a:lnTo>
                    <a:pt x="145009" y="383670"/>
                  </a:lnTo>
                  <a:lnTo>
                    <a:pt x="176009" y="383670"/>
                  </a:lnTo>
                  <a:lnTo>
                    <a:pt x="172554" y="397490"/>
                  </a:lnTo>
                  <a:lnTo>
                    <a:pt x="103551" y="404493"/>
                  </a:lnTo>
                  <a:lnTo>
                    <a:pt x="51729" y="404493"/>
                  </a:lnTo>
                  <a:lnTo>
                    <a:pt x="41364" y="414857"/>
                  </a:lnTo>
                  <a:lnTo>
                    <a:pt x="72458" y="432131"/>
                  </a:lnTo>
                  <a:lnTo>
                    <a:pt x="107006" y="432131"/>
                  </a:lnTo>
                  <a:lnTo>
                    <a:pt x="131190" y="435586"/>
                  </a:lnTo>
                  <a:lnTo>
                    <a:pt x="117370" y="442496"/>
                  </a:lnTo>
                  <a:lnTo>
                    <a:pt x="89732" y="452860"/>
                  </a:lnTo>
                  <a:lnTo>
                    <a:pt x="131190" y="470134"/>
                  </a:lnTo>
                  <a:lnTo>
                    <a:pt x="162189" y="477044"/>
                  </a:lnTo>
                  <a:lnTo>
                    <a:pt x="172554" y="470134"/>
                  </a:lnTo>
                  <a:lnTo>
                    <a:pt x="182918" y="456315"/>
                  </a:lnTo>
                  <a:lnTo>
                    <a:pt x="203647" y="473589"/>
                  </a:lnTo>
                  <a:lnTo>
                    <a:pt x="238195" y="459770"/>
                  </a:lnTo>
                  <a:lnTo>
                    <a:pt x="255469" y="452860"/>
                  </a:lnTo>
                  <a:lnTo>
                    <a:pt x="338291" y="473589"/>
                  </a:lnTo>
                  <a:lnTo>
                    <a:pt x="390113" y="490863"/>
                  </a:lnTo>
                  <a:lnTo>
                    <a:pt x="393568" y="508137"/>
                  </a:lnTo>
                  <a:lnTo>
                    <a:pt x="410749" y="528866"/>
                  </a:lnTo>
                  <a:lnTo>
                    <a:pt x="455661" y="573872"/>
                  </a:lnTo>
                  <a:lnTo>
                    <a:pt x="497119" y="653332"/>
                  </a:lnTo>
                  <a:lnTo>
                    <a:pt x="472935" y="687880"/>
                  </a:lnTo>
                  <a:lnTo>
                    <a:pt x="472935" y="715519"/>
                  </a:lnTo>
                  <a:lnTo>
                    <a:pt x="510938" y="712064"/>
                  </a:lnTo>
                  <a:lnTo>
                    <a:pt x="524758" y="691335"/>
                  </a:lnTo>
                  <a:lnTo>
                    <a:pt x="552302" y="708609"/>
                  </a:lnTo>
                  <a:lnTo>
                    <a:pt x="569577" y="715519"/>
                  </a:lnTo>
                  <a:lnTo>
                    <a:pt x="593760" y="743251"/>
                  </a:lnTo>
                  <a:lnTo>
                    <a:pt x="590305" y="763980"/>
                  </a:lnTo>
                  <a:lnTo>
                    <a:pt x="548848" y="750160"/>
                  </a:lnTo>
                  <a:lnTo>
                    <a:pt x="510938" y="753615"/>
                  </a:lnTo>
                  <a:lnTo>
                    <a:pt x="535122" y="767434"/>
                  </a:lnTo>
                  <a:lnTo>
                    <a:pt x="569577" y="788163"/>
                  </a:lnTo>
                  <a:lnTo>
                    <a:pt x="607580" y="788163"/>
                  </a:lnTo>
                  <a:lnTo>
                    <a:pt x="614489" y="805437"/>
                  </a:lnTo>
                  <a:lnTo>
                    <a:pt x="593760" y="826166"/>
                  </a:lnTo>
                  <a:lnTo>
                    <a:pt x="593760" y="864169"/>
                  </a:lnTo>
                  <a:lnTo>
                    <a:pt x="600670" y="898810"/>
                  </a:lnTo>
                  <a:lnTo>
                    <a:pt x="597215" y="902265"/>
                  </a:lnTo>
                  <a:lnTo>
                    <a:pt x="590305" y="902265"/>
                  </a:lnTo>
                  <a:lnTo>
                    <a:pt x="579941" y="898810"/>
                  </a:lnTo>
                  <a:lnTo>
                    <a:pt x="548848" y="891901"/>
                  </a:lnTo>
                  <a:lnTo>
                    <a:pt x="538577" y="891901"/>
                  </a:lnTo>
                  <a:lnTo>
                    <a:pt x="521303" y="912630"/>
                  </a:lnTo>
                  <a:lnTo>
                    <a:pt x="524758" y="933359"/>
                  </a:lnTo>
                  <a:lnTo>
                    <a:pt x="545393" y="933359"/>
                  </a:lnTo>
                  <a:lnTo>
                    <a:pt x="538577" y="943723"/>
                  </a:lnTo>
                  <a:lnTo>
                    <a:pt x="524758" y="967907"/>
                  </a:lnTo>
                  <a:lnTo>
                    <a:pt x="538577" y="988635"/>
                  </a:lnTo>
                  <a:lnTo>
                    <a:pt x="559212" y="1016274"/>
                  </a:lnTo>
                  <a:lnTo>
                    <a:pt x="586851" y="1037003"/>
                  </a:lnTo>
                  <a:lnTo>
                    <a:pt x="611034" y="1026638"/>
                  </a:lnTo>
                  <a:lnTo>
                    <a:pt x="621399" y="1043912"/>
                  </a:lnTo>
                  <a:lnTo>
                    <a:pt x="600670" y="1068189"/>
                  </a:lnTo>
                  <a:lnTo>
                    <a:pt x="600670" y="1095828"/>
                  </a:lnTo>
                  <a:lnTo>
                    <a:pt x="624854" y="1113102"/>
                  </a:lnTo>
                  <a:lnTo>
                    <a:pt x="614489" y="1130376"/>
                  </a:lnTo>
                  <a:lnTo>
                    <a:pt x="645582" y="1161469"/>
                  </a:lnTo>
                  <a:lnTo>
                    <a:pt x="673221" y="1209837"/>
                  </a:lnTo>
                  <a:lnTo>
                    <a:pt x="700766" y="1199472"/>
                  </a:lnTo>
                  <a:lnTo>
                    <a:pt x="718040" y="1199472"/>
                  </a:lnTo>
                  <a:lnTo>
                    <a:pt x="735314" y="1192563"/>
                  </a:lnTo>
                  <a:lnTo>
                    <a:pt x="738769" y="1213291"/>
                  </a:lnTo>
                  <a:lnTo>
                    <a:pt x="766407" y="1234114"/>
                  </a:lnTo>
                  <a:lnTo>
                    <a:pt x="797501" y="1237568"/>
                  </a:lnTo>
                  <a:lnTo>
                    <a:pt x="821591" y="1185653"/>
                  </a:lnTo>
                  <a:lnTo>
                    <a:pt x="831955" y="1147650"/>
                  </a:lnTo>
                  <a:lnTo>
                    <a:pt x="828501" y="1137286"/>
                  </a:lnTo>
                  <a:lnTo>
                    <a:pt x="818136" y="1123466"/>
                  </a:lnTo>
                  <a:lnTo>
                    <a:pt x="838865" y="1120012"/>
                  </a:lnTo>
                  <a:lnTo>
                    <a:pt x="866504" y="1099283"/>
                  </a:lnTo>
                  <a:lnTo>
                    <a:pt x="876868" y="1071644"/>
                  </a:lnTo>
                  <a:lnTo>
                    <a:pt x="869958" y="1057825"/>
                  </a:lnTo>
                  <a:lnTo>
                    <a:pt x="883777" y="1047367"/>
                  </a:lnTo>
                  <a:lnTo>
                    <a:pt x="880323" y="1023184"/>
                  </a:lnTo>
                  <a:lnTo>
                    <a:pt x="894142" y="1016274"/>
                  </a:lnTo>
                  <a:lnTo>
                    <a:pt x="894142" y="1005910"/>
                  </a:lnTo>
                  <a:lnTo>
                    <a:pt x="904506" y="995545"/>
                  </a:lnTo>
                  <a:lnTo>
                    <a:pt x="942509" y="988635"/>
                  </a:lnTo>
                  <a:lnTo>
                    <a:pt x="966600" y="988635"/>
                  </a:lnTo>
                  <a:lnTo>
                    <a:pt x="1004602" y="974816"/>
                  </a:lnTo>
                  <a:lnTo>
                    <a:pt x="1049515" y="954087"/>
                  </a:lnTo>
                  <a:lnTo>
                    <a:pt x="1083970" y="909175"/>
                  </a:lnTo>
                  <a:lnTo>
                    <a:pt x="1108153" y="888353"/>
                  </a:lnTo>
                  <a:lnTo>
                    <a:pt x="1115063" y="874533"/>
                  </a:lnTo>
                  <a:lnTo>
                    <a:pt x="1135792" y="884898"/>
                  </a:lnTo>
                  <a:lnTo>
                    <a:pt x="1166885" y="877988"/>
                  </a:lnTo>
                  <a:lnTo>
                    <a:pt x="1270436" y="857259"/>
                  </a:lnTo>
                  <a:lnTo>
                    <a:pt x="1298075" y="836530"/>
                  </a:lnTo>
                  <a:lnTo>
                    <a:pt x="1363622" y="798528"/>
                  </a:lnTo>
                  <a:lnTo>
                    <a:pt x="1387806" y="784708"/>
                  </a:lnTo>
                  <a:lnTo>
                    <a:pt x="1342987" y="781254"/>
                  </a:lnTo>
                  <a:lnTo>
                    <a:pt x="1304984" y="770889"/>
                  </a:lnTo>
                  <a:lnTo>
                    <a:pt x="1294619" y="746706"/>
                  </a:lnTo>
                  <a:lnTo>
                    <a:pt x="1294619" y="715519"/>
                  </a:lnTo>
                  <a:lnTo>
                    <a:pt x="1304984" y="718974"/>
                  </a:lnTo>
                  <a:lnTo>
                    <a:pt x="1329168" y="743251"/>
                  </a:lnTo>
                  <a:lnTo>
                    <a:pt x="1363622" y="767434"/>
                  </a:lnTo>
                  <a:lnTo>
                    <a:pt x="1398171" y="770889"/>
                  </a:lnTo>
                  <a:lnTo>
                    <a:pt x="1387806" y="708609"/>
                  </a:lnTo>
                  <a:lnTo>
                    <a:pt x="1339532" y="677516"/>
                  </a:lnTo>
                  <a:lnTo>
                    <a:pt x="1336077" y="667152"/>
                  </a:lnTo>
                  <a:lnTo>
                    <a:pt x="1349897" y="667152"/>
                  </a:lnTo>
                  <a:lnTo>
                    <a:pt x="1380896" y="691335"/>
                  </a:lnTo>
                  <a:lnTo>
                    <a:pt x="1387806" y="660242"/>
                  </a:lnTo>
                  <a:lnTo>
                    <a:pt x="1380896" y="642968"/>
                  </a:lnTo>
                  <a:lnTo>
                    <a:pt x="1325713" y="642968"/>
                  </a:lnTo>
                  <a:lnTo>
                    <a:pt x="1304984" y="622239"/>
                  </a:lnTo>
                  <a:lnTo>
                    <a:pt x="1325713" y="611875"/>
                  </a:lnTo>
                  <a:lnTo>
                    <a:pt x="1363622" y="615329"/>
                  </a:lnTo>
                  <a:lnTo>
                    <a:pt x="1401625" y="615329"/>
                  </a:lnTo>
                  <a:lnTo>
                    <a:pt x="1432719" y="604965"/>
                  </a:lnTo>
                  <a:lnTo>
                    <a:pt x="1425809" y="580781"/>
                  </a:lnTo>
                  <a:lnTo>
                    <a:pt x="1446538" y="577327"/>
                  </a:lnTo>
                  <a:lnTo>
                    <a:pt x="1467267" y="566869"/>
                  </a:lnTo>
                  <a:lnTo>
                    <a:pt x="1467267" y="559959"/>
                  </a:lnTo>
                  <a:lnTo>
                    <a:pt x="1460357" y="553049"/>
                  </a:lnTo>
                  <a:lnTo>
                    <a:pt x="1449993" y="539230"/>
                  </a:lnTo>
                  <a:lnTo>
                    <a:pt x="1429264" y="515047"/>
                  </a:lnTo>
                  <a:lnTo>
                    <a:pt x="1463812" y="511592"/>
                  </a:lnTo>
                  <a:lnTo>
                    <a:pt x="1467267" y="483953"/>
                  </a:lnTo>
                  <a:lnTo>
                    <a:pt x="1439628" y="463224"/>
                  </a:lnTo>
                  <a:lnTo>
                    <a:pt x="1405080" y="452860"/>
                  </a:lnTo>
                  <a:lnTo>
                    <a:pt x="1405080" y="428676"/>
                  </a:lnTo>
                  <a:lnTo>
                    <a:pt x="1443083" y="421767"/>
                  </a:lnTo>
                  <a:lnTo>
                    <a:pt x="1460357" y="435586"/>
                  </a:lnTo>
                  <a:lnTo>
                    <a:pt x="1480993" y="449405"/>
                  </a:lnTo>
                  <a:lnTo>
                    <a:pt x="1484447" y="445950"/>
                  </a:lnTo>
                  <a:lnTo>
                    <a:pt x="1491357" y="432131"/>
                  </a:lnTo>
                  <a:lnTo>
                    <a:pt x="1498267" y="411402"/>
                  </a:lnTo>
                  <a:lnTo>
                    <a:pt x="1474176" y="404493"/>
                  </a:lnTo>
                  <a:lnTo>
                    <a:pt x="1449993" y="394035"/>
                  </a:lnTo>
                  <a:lnTo>
                    <a:pt x="1446538" y="390580"/>
                  </a:lnTo>
                  <a:lnTo>
                    <a:pt x="1443083" y="387125"/>
                  </a:lnTo>
                  <a:lnTo>
                    <a:pt x="1443083" y="380216"/>
                  </a:lnTo>
                  <a:lnTo>
                    <a:pt x="1463812" y="366396"/>
                  </a:lnTo>
                  <a:lnTo>
                    <a:pt x="1418899" y="362942"/>
                  </a:lnTo>
                  <a:lnTo>
                    <a:pt x="1401625" y="359487"/>
                  </a:lnTo>
                  <a:lnTo>
                    <a:pt x="1418899" y="311120"/>
                  </a:lnTo>
                  <a:lnTo>
                    <a:pt x="1453447" y="293845"/>
                  </a:lnTo>
                  <a:lnTo>
                    <a:pt x="1456902" y="262752"/>
                  </a:lnTo>
                  <a:lnTo>
                    <a:pt x="1498267" y="252388"/>
                  </a:lnTo>
                  <a:lnTo>
                    <a:pt x="1512086" y="238475"/>
                  </a:lnTo>
                  <a:lnTo>
                    <a:pt x="1494812" y="238475"/>
                  </a:lnTo>
                  <a:lnTo>
                    <a:pt x="1449993" y="242023"/>
                  </a:lnTo>
                  <a:lnTo>
                    <a:pt x="1436173" y="228111"/>
                  </a:lnTo>
                  <a:lnTo>
                    <a:pt x="1467267" y="221201"/>
                  </a:lnTo>
                  <a:lnTo>
                    <a:pt x="1532815" y="224656"/>
                  </a:lnTo>
                  <a:lnTo>
                    <a:pt x="1546634" y="210837"/>
                  </a:lnTo>
                  <a:lnTo>
                    <a:pt x="1501721" y="207382"/>
                  </a:lnTo>
                  <a:lnTo>
                    <a:pt x="1470721" y="200472"/>
                  </a:lnTo>
                  <a:lnTo>
                    <a:pt x="1505176" y="190108"/>
                  </a:lnTo>
                  <a:lnTo>
                    <a:pt x="1563908" y="190108"/>
                  </a:lnTo>
                  <a:lnTo>
                    <a:pt x="1581182" y="183198"/>
                  </a:lnTo>
                  <a:lnTo>
                    <a:pt x="1591546" y="169379"/>
                  </a:lnTo>
                  <a:lnTo>
                    <a:pt x="1636365" y="155560"/>
                  </a:lnTo>
                  <a:lnTo>
                    <a:pt x="1660549" y="138286"/>
                  </a:lnTo>
                  <a:lnTo>
                    <a:pt x="1632911" y="121012"/>
                  </a:lnTo>
                  <a:lnTo>
                    <a:pt x="1577727" y="114102"/>
                  </a:lnTo>
                  <a:close/>
                </a:path>
              </a:pathLst>
            </a:custGeom>
            <a:solidFill>
              <a:srgbClr val="CEE3BF"/>
            </a:solidFill>
            <a:ln w="9334" cap="flat">
              <a:noFill/>
              <a:prstDash val="solid"/>
              <a:miter/>
            </a:ln>
          </p:spPr>
          <p:txBody>
            <a:bodyPr rtlCol="0" anchor="ctr"/>
            <a:lstStyle/>
            <a:p>
              <a:endParaRPr lang="en-GB" dirty="0"/>
            </a:p>
          </p:txBody>
        </p:sp>
        <p:sp>
          <p:nvSpPr>
            <p:cNvPr id="1275" name="Freeform: Shape 1274">
              <a:extLst>
                <a:ext uri="{FF2B5EF4-FFF2-40B4-BE49-F238E27FC236}">
                  <a16:creationId xmlns:a16="http://schemas.microsoft.com/office/drawing/2014/main" id="{16FFDAB1-D532-4BDF-BE68-63AED1EE82EC}"/>
                </a:ext>
              </a:extLst>
            </p:cNvPr>
            <p:cNvSpPr/>
            <p:nvPr/>
          </p:nvSpPr>
          <p:spPr>
            <a:xfrm>
              <a:off x="6408076" y="2192905"/>
              <a:ext cx="293471" cy="452859"/>
            </a:xfrm>
            <a:custGeom>
              <a:avLst/>
              <a:gdLst>
                <a:gd name="connsiteX0" fmla="*/ 279652 w 293471"/>
                <a:gd name="connsiteY0" fmla="*/ 352577 h 452859"/>
                <a:gd name="connsiteX1" fmla="*/ 293472 w 293471"/>
                <a:gd name="connsiteY1" fmla="*/ 328394 h 452859"/>
                <a:gd name="connsiteX2" fmla="*/ 252014 w 293471"/>
                <a:gd name="connsiteY2" fmla="*/ 297300 h 452859"/>
                <a:gd name="connsiteX3" fmla="*/ 269288 w 293471"/>
                <a:gd name="connsiteY3" fmla="*/ 280026 h 452859"/>
                <a:gd name="connsiteX4" fmla="*/ 255469 w 293471"/>
                <a:gd name="connsiteY4" fmla="*/ 255749 h 452859"/>
                <a:gd name="connsiteX5" fmla="*/ 238195 w 293471"/>
                <a:gd name="connsiteY5" fmla="*/ 238475 h 452859"/>
                <a:gd name="connsiteX6" fmla="*/ 252014 w 293471"/>
                <a:gd name="connsiteY6" fmla="*/ 203927 h 452859"/>
                <a:gd name="connsiteX7" fmla="*/ 241650 w 293471"/>
                <a:gd name="connsiteY7" fmla="*/ 176289 h 452859"/>
                <a:gd name="connsiteX8" fmla="*/ 224376 w 293471"/>
                <a:gd name="connsiteY8" fmla="*/ 145195 h 452859"/>
                <a:gd name="connsiteX9" fmla="*/ 252014 w 293471"/>
                <a:gd name="connsiteY9" fmla="*/ 117557 h 452859"/>
                <a:gd name="connsiteX10" fmla="*/ 210556 w 293471"/>
                <a:gd name="connsiteY10" fmla="*/ 93280 h 452859"/>
                <a:gd name="connsiteX11" fmla="*/ 217466 w 293471"/>
                <a:gd name="connsiteY11" fmla="*/ 55277 h 452859"/>
                <a:gd name="connsiteX12" fmla="*/ 234740 w 293471"/>
                <a:gd name="connsiteY12" fmla="*/ 38003 h 452859"/>
                <a:gd name="connsiteX13" fmla="*/ 217466 w 293471"/>
                <a:gd name="connsiteY13" fmla="*/ 13819 h 452859"/>
                <a:gd name="connsiteX14" fmla="*/ 179556 w 293471"/>
                <a:gd name="connsiteY14" fmla="*/ 0 h 452859"/>
                <a:gd name="connsiteX15" fmla="*/ 145008 w 293471"/>
                <a:gd name="connsiteY15" fmla="*/ 20729 h 452859"/>
                <a:gd name="connsiteX16" fmla="*/ 138099 w 293471"/>
                <a:gd name="connsiteY16" fmla="*/ 38003 h 452859"/>
                <a:gd name="connsiteX17" fmla="*/ 134644 w 293471"/>
                <a:gd name="connsiteY17" fmla="*/ 51822 h 452859"/>
                <a:gd name="connsiteX18" fmla="*/ 113915 w 293471"/>
                <a:gd name="connsiteY18" fmla="*/ 72551 h 452859"/>
                <a:gd name="connsiteX19" fmla="*/ 41458 w 293471"/>
                <a:gd name="connsiteY19" fmla="*/ 65641 h 452859"/>
                <a:gd name="connsiteX20" fmla="*/ 17274 w 293471"/>
                <a:gd name="connsiteY20" fmla="*/ 38096 h 452859"/>
                <a:gd name="connsiteX21" fmla="*/ 17274 w 293471"/>
                <a:gd name="connsiteY21" fmla="*/ 38003 h 452859"/>
                <a:gd name="connsiteX22" fmla="*/ 6629 w 293471"/>
                <a:gd name="connsiteY22" fmla="*/ 46500 h 452859"/>
                <a:gd name="connsiteX23" fmla="*/ 0 w 293471"/>
                <a:gd name="connsiteY23" fmla="*/ 51822 h 452859"/>
                <a:gd name="connsiteX24" fmla="*/ 20729 w 293471"/>
                <a:gd name="connsiteY24" fmla="*/ 69096 h 452859"/>
                <a:gd name="connsiteX25" fmla="*/ 34548 w 293471"/>
                <a:gd name="connsiteY25" fmla="*/ 82915 h 452859"/>
                <a:gd name="connsiteX26" fmla="*/ 58638 w 293471"/>
                <a:gd name="connsiteY26" fmla="*/ 82915 h 452859"/>
                <a:gd name="connsiteX27" fmla="*/ 75912 w 293471"/>
                <a:gd name="connsiteY27" fmla="*/ 107192 h 452859"/>
                <a:gd name="connsiteX28" fmla="*/ 75912 w 293471"/>
                <a:gd name="connsiteY28" fmla="*/ 107192 h 452859"/>
                <a:gd name="connsiteX29" fmla="*/ 75912 w 293471"/>
                <a:gd name="connsiteY29" fmla="*/ 121012 h 452859"/>
                <a:gd name="connsiteX30" fmla="*/ 72457 w 293471"/>
                <a:gd name="connsiteY30" fmla="*/ 141741 h 452859"/>
                <a:gd name="connsiteX31" fmla="*/ 86277 w 293471"/>
                <a:gd name="connsiteY31" fmla="*/ 148650 h 452859"/>
                <a:gd name="connsiteX32" fmla="*/ 75912 w 293471"/>
                <a:gd name="connsiteY32" fmla="*/ 176289 h 452859"/>
                <a:gd name="connsiteX33" fmla="*/ 93186 w 293471"/>
                <a:gd name="connsiteY33" fmla="*/ 200472 h 452859"/>
                <a:gd name="connsiteX34" fmla="*/ 120825 w 293471"/>
                <a:gd name="connsiteY34" fmla="*/ 214291 h 452859"/>
                <a:gd name="connsiteX35" fmla="*/ 124280 w 293471"/>
                <a:gd name="connsiteY35" fmla="*/ 241930 h 452859"/>
                <a:gd name="connsiteX36" fmla="*/ 110460 w 293471"/>
                <a:gd name="connsiteY36" fmla="*/ 245385 h 452859"/>
                <a:gd name="connsiteX37" fmla="*/ 48274 w 293471"/>
                <a:gd name="connsiteY37" fmla="*/ 293845 h 452859"/>
                <a:gd name="connsiteX38" fmla="*/ 38003 w 293471"/>
                <a:gd name="connsiteY38" fmla="*/ 314574 h 452859"/>
                <a:gd name="connsiteX39" fmla="*/ 17274 w 293471"/>
                <a:gd name="connsiteY39" fmla="*/ 324939 h 452859"/>
                <a:gd name="connsiteX40" fmla="*/ 10364 w 293471"/>
                <a:gd name="connsiteY40" fmla="*/ 352577 h 452859"/>
                <a:gd name="connsiteX41" fmla="*/ 20729 w 293471"/>
                <a:gd name="connsiteY41" fmla="*/ 390580 h 452859"/>
                <a:gd name="connsiteX42" fmla="*/ 17274 w 293471"/>
                <a:gd name="connsiteY42" fmla="*/ 425128 h 452859"/>
                <a:gd name="connsiteX43" fmla="*/ 69002 w 293471"/>
                <a:gd name="connsiteY43" fmla="*/ 452860 h 452859"/>
                <a:gd name="connsiteX44" fmla="*/ 110460 w 293471"/>
                <a:gd name="connsiteY44" fmla="*/ 445950 h 452859"/>
                <a:gd name="connsiteX45" fmla="*/ 151918 w 293471"/>
                <a:gd name="connsiteY45" fmla="*/ 432131 h 452859"/>
                <a:gd name="connsiteX46" fmla="*/ 182918 w 293471"/>
                <a:gd name="connsiteY46" fmla="*/ 432131 h 452859"/>
                <a:gd name="connsiteX47" fmla="*/ 204767 w 293471"/>
                <a:gd name="connsiteY47" fmla="*/ 416071 h 452859"/>
                <a:gd name="connsiteX48" fmla="*/ 203647 w 293471"/>
                <a:gd name="connsiteY48" fmla="*/ 414764 h 452859"/>
                <a:gd name="connsiteX49" fmla="*/ 279652 w 293471"/>
                <a:gd name="connsiteY49" fmla="*/ 352577 h 45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93471" h="452859">
                  <a:moveTo>
                    <a:pt x="279652" y="352577"/>
                  </a:moveTo>
                  <a:lnTo>
                    <a:pt x="293472" y="328394"/>
                  </a:lnTo>
                  <a:lnTo>
                    <a:pt x="252014" y="297300"/>
                  </a:lnTo>
                  <a:lnTo>
                    <a:pt x="269288" y="280026"/>
                  </a:lnTo>
                  <a:lnTo>
                    <a:pt x="255469" y="255749"/>
                  </a:lnTo>
                  <a:lnTo>
                    <a:pt x="238195" y="238475"/>
                  </a:lnTo>
                  <a:lnTo>
                    <a:pt x="252014" y="203927"/>
                  </a:lnTo>
                  <a:lnTo>
                    <a:pt x="241650" y="176289"/>
                  </a:lnTo>
                  <a:lnTo>
                    <a:pt x="224376" y="145195"/>
                  </a:lnTo>
                  <a:lnTo>
                    <a:pt x="252014" y="117557"/>
                  </a:lnTo>
                  <a:lnTo>
                    <a:pt x="210556" y="93280"/>
                  </a:lnTo>
                  <a:lnTo>
                    <a:pt x="217466" y="55277"/>
                  </a:lnTo>
                  <a:lnTo>
                    <a:pt x="234740" y="38003"/>
                  </a:lnTo>
                  <a:lnTo>
                    <a:pt x="217466" y="13819"/>
                  </a:lnTo>
                  <a:lnTo>
                    <a:pt x="179556" y="0"/>
                  </a:lnTo>
                  <a:lnTo>
                    <a:pt x="145008" y="20729"/>
                  </a:lnTo>
                  <a:lnTo>
                    <a:pt x="138099" y="38003"/>
                  </a:lnTo>
                  <a:lnTo>
                    <a:pt x="134644" y="51822"/>
                  </a:lnTo>
                  <a:lnTo>
                    <a:pt x="113915" y="72551"/>
                  </a:lnTo>
                  <a:lnTo>
                    <a:pt x="41458" y="65641"/>
                  </a:lnTo>
                  <a:lnTo>
                    <a:pt x="17274" y="38096"/>
                  </a:lnTo>
                  <a:lnTo>
                    <a:pt x="17274" y="38003"/>
                  </a:lnTo>
                  <a:lnTo>
                    <a:pt x="6629" y="46500"/>
                  </a:lnTo>
                  <a:lnTo>
                    <a:pt x="0" y="51822"/>
                  </a:lnTo>
                  <a:lnTo>
                    <a:pt x="20729" y="69096"/>
                  </a:lnTo>
                  <a:lnTo>
                    <a:pt x="34548" y="82915"/>
                  </a:lnTo>
                  <a:lnTo>
                    <a:pt x="58638" y="82915"/>
                  </a:lnTo>
                  <a:lnTo>
                    <a:pt x="75912" y="107192"/>
                  </a:lnTo>
                  <a:lnTo>
                    <a:pt x="75912" y="107192"/>
                  </a:lnTo>
                  <a:lnTo>
                    <a:pt x="75912" y="121012"/>
                  </a:lnTo>
                  <a:lnTo>
                    <a:pt x="72457" y="141741"/>
                  </a:lnTo>
                  <a:lnTo>
                    <a:pt x="86277" y="148650"/>
                  </a:lnTo>
                  <a:lnTo>
                    <a:pt x="75912" y="176289"/>
                  </a:lnTo>
                  <a:lnTo>
                    <a:pt x="93186" y="200472"/>
                  </a:lnTo>
                  <a:lnTo>
                    <a:pt x="120825" y="214291"/>
                  </a:lnTo>
                  <a:lnTo>
                    <a:pt x="124280" y="241930"/>
                  </a:lnTo>
                  <a:lnTo>
                    <a:pt x="110460" y="245385"/>
                  </a:lnTo>
                  <a:lnTo>
                    <a:pt x="48274" y="293845"/>
                  </a:lnTo>
                  <a:lnTo>
                    <a:pt x="38003" y="314574"/>
                  </a:lnTo>
                  <a:lnTo>
                    <a:pt x="17274" y="324939"/>
                  </a:lnTo>
                  <a:lnTo>
                    <a:pt x="10364" y="352577"/>
                  </a:lnTo>
                  <a:lnTo>
                    <a:pt x="20729" y="390580"/>
                  </a:lnTo>
                  <a:lnTo>
                    <a:pt x="17274" y="425128"/>
                  </a:lnTo>
                  <a:lnTo>
                    <a:pt x="69002" y="452860"/>
                  </a:lnTo>
                  <a:lnTo>
                    <a:pt x="110460" y="445950"/>
                  </a:lnTo>
                  <a:lnTo>
                    <a:pt x="151918" y="432131"/>
                  </a:lnTo>
                  <a:lnTo>
                    <a:pt x="182918" y="432131"/>
                  </a:lnTo>
                  <a:lnTo>
                    <a:pt x="204767" y="416071"/>
                  </a:lnTo>
                  <a:lnTo>
                    <a:pt x="203647" y="414764"/>
                  </a:lnTo>
                  <a:lnTo>
                    <a:pt x="279652" y="352577"/>
                  </a:lnTo>
                  <a:close/>
                </a:path>
              </a:pathLst>
            </a:custGeom>
            <a:solidFill>
              <a:srgbClr val="CEE3BF"/>
            </a:solidFill>
            <a:ln w="9334" cap="flat">
              <a:noFill/>
              <a:prstDash val="solid"/>
              <a:miter/>
            </a:ln>
          </p:spPr>
          <p:txBody>
            <a:bodyPr rtlCol="0" anchor="ctr"/>
            <a:lstStyle/>
            <a:p>
              <a:endParaRPr lang="en-GB" dirty="0"/>
            </a:p>
          </p:txBody>
        </p:sp>
        <p:sp>
          <p:nvSpPr>
            <p:cNvPr id="1276" name="Freeform: Shape 1275">
              <a:extLst>
                <a:ext uri="{FF2B5EF4-FFF2-40B4-BE49-F238E27FC236}">
                  <a16:creationId xmlns:a16="http://schemas.microsoft.com/office/drawing/2014/main" id="{0983A91B-B0F6-47ED-9C2A-DF0442FA114E}"/>
                </a:ext>
              </a:extLst>
            </p:cNvPr>
            <p:cNvSpPr/>
            <p:nvPr/>
          </p:nvSpPr>
          <p:spPr>
            <a:xfrm>
              <a:off x="6611723" y="2545482"/>
              <a:ext cx="76005" cy="63493"/>
            </a:xfrm>
            <a:custGeom>
              <a:avLst/>
              <a:gdLst>
                <a:gd name="connsiteX0" fmla="*/ 76005 w 76005"/>
                <a:gd name="connsiteY0" fmla="*/ 0 h 63493"/>
                <a:gd name="connsiteX1" fmla="*/ 0 w 76005"/>
                <a:gd name="connsiteY1" fmla="*/ 62187 h 63493"/>
                <a:gd name="connsiteX2" fmla="*/ 1120 w 76005"/>
                <a:gd name="connsiteY2" fmla="*/ 63494 h 63493"/>
                <a:gd name="connsiteX3" fmla="*/ 31093 w 76005"/>
                <a:gd name="connsiteY3" fmla="*/ 41458 h 63493"/>
                <a:gd name="connsiteX4" fmla="*/ 76005 w 76005"/>
                <a:gd name="connsiteY4" fmla="*/ 0 h 63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5" h="63493">
                  <a:moveTo>
                    <a:pt x="76005" y="0"/>
                  </a:moveTo>
                  <a:lnTo>
                    <a:pt x="0" y="62187"/>
                  </a:lnTo>
                  <a:lnTo>
                    <a:pt x="1120" y="63494"/>
                  </a:lnTo>
                  <a:lnTo>
                    <a:pt x="31093" y="41458"/>
                  </a:lnTo>
                  <a:lnTo>
                    <a:pt x="76005" y="0"/>
                  </a:lnTo>
                  <a:close/>
                </a:path>
              </a:pathLst>
            </a:custGeom>
            <a:solidFill>
              <a:srgbClr val="CEE3BF"/>
            </a:solidFill>
            <a:ln w="9334" cap="flat">
              <a:noFill/>
              <a:prstDash val="solid"/>
              <a:miter/>
            </a:ln>
          </p:spPr>
          <p:txBody>
            <a:bodyPr rtlCol="0" anchor="ctr"/>
            <a:lstStyle/>
            <a:p>
              <a:endParaRPr lang="en-GB" dirty="0"/>
            </a:p>
          </p:txBody>
        </p:sp>
        <p:sp>
          <p:nvSpPr>
            <p:cNvPr id="1277" name="Freeform: Shape 1276">
              <a:extLst>
                <a:ext uri="{FF2B5EF4-FFF2-40B4-BE49-F238E27FC236}">
                  <a16:creationId xmlns:a16="http://schemas.microsoft.com/office/drawing/2014/main" id="{5610C432-40B6-4B3C-BE3C-2240EE22C66F}"/>
                </a:ext>
              </a:extLst>
            </p:cNvPr>
            <p:cNvSpPr/>
            <p:nvPr/>
          </p:nvSpPr>
          <p:spPr>
            <a:xfrm>
              <a:off x="6649726" y="2369193"/>
              <a:ext cx="10364" cy="27638"/>
            </a:xfrm>
            <a:custGeom>
              <a:avLst/>
              <a:gdLst>
                <a:gd name="connsiteX0" fmla="*/ 10364 w 10364"/>
                <a:gd name="connsiteY0" fmla="*/ 27638 h 27638"/>
                <a:gd name="connsiteX1" fmla="*/ 0 w 10364"/>
                <a:gd name="connsiteY1" fmla="*/ 0 h 27638"/>
                <a:gd name="connsiteX2" fmla="*/ 10364 w 10364"/>
                <a:gd name="connsiteY2" fmla="*/ 27638 h 27638"/>
                <a:gd name="connsiteX3" fmla="*/ 10364 w 10364"/>
                <a:gd name="connsiteY3" fmla="*/ 27638 h 27638"/>
              </a:gdLst>
              <a:ahLst/>
              <a:cxnLst>
                <a:cxn ang="0">
                  <a:pos x="connsiteX0" y="connsiteY0"/>
                </a:cxn>
                <a:cxn ang="0">
                  <a:pos x="connsiteX1" y="connsiteY1"/>
                </a:cxn>
                <a:cxn ang="0">
                  <a:pos x="connsiteX2" y="connsiteY2"/>
                </a:cxn>
                <a:cxn ang="0">
                  <a:pos x="connsiteX3" y="connsiteY3"/>
                </a:cxn>
              </a:cxnLst>
              <a:rect l="l" t="t" r="r" b="b"/>
              <a:pathLst>
                <a:path w="10364" h="27638">
                  <a:moveTo>
                    <a:pt x="10364" y="27638"/>
                  </a:moveTo>
                  <a:lnTo>
                    <a:pt x="0" y="0"/>
                  </a:lnTo>
                  <a:lnTo>
                    <a:pt x="10364" y="27638"/>
                  </a:lnTo>
                  <a:lnTo>
                    <a:pt x="10364" y="27638"/>
                  </a:lnTo>
                  <a:close/>
                </a:path>
              </a:pathLst>
            </a:custGeom>
            <a:solidFill>
              <a:srgbClr val="CEE3BF"/>
            </a:solidFill>
            <a:ln w="9334" cap="flat">
              <a:noFill/>
              <a:prstDash val="solid"/>
              <a:miter/>
            </a:ln>
          </p:spPr>
          <p:txBody>
            <a:bodyPr rtlCol="0" anchor="ctr"/>
            <a:lstStyle/>
            <a:p>
              <a:endParaRPr lang="en-GB" dirty="0"/>
            </a:p>
          </p:txBody>
        </p:sp>
        <p:sp>
          <p:nvSpPr>
            <p:cNvPr id="1278" name="Freeform: Shape 1277">
              <a:extLst>
                <a:ext uri="{FF2B5EF4-FFF2-40B4-BE49-F238E27FC236}">
                  <a16:creationId xmlns:a16="http://schemas.microsoft.com/office/drawing/2014/main" id="{F379142D-1497-4B31-ABF2-703095EFF828}"/>
                </a:ext>
              </a:extLst>
            </p:cNvPr>
            <p:cNvSpPr/>
            <p:nvPr/>
          </p:nvSpPr>
          <p:spPr>
            <a:xfrm>
              <a:off x="6140468" y="2244727"/>
              <a:ext cx="360794" cy="584236"/>
            </a:xfrm>
            <a:custGeom>
              <a:avLst/>
              <a:gdLst>
                <a:gd name="connsiteX0" fmla="*/ 353885 w 360794"/>
                <a:gd name="connsiteY0" fmla="*/ 96828 h 584236"/>
                <a:gd name="connsiteX1" fmla="*/ 340065 w 360794"/>
                <a:gd name="connsiteY1" fmla="*/ 89918 h 584236"/>
                <a:gd name="connsiteX2" fmla="*/ 343520 w 360794"/>
                <a:gd name="connsiteY2" fmla="*/ 55370 h 584236"/>
                <a:gd name="connsiteX3" fmla="*/ 343520 w 360794"/>
                <a:gd name="connsiteY3" fmla="*/ 55370 h 584236"/>
                <a:gd name="connsiteX4" fmla="*/ 326246 w 360794"/>
                <a:gd name="connsiteY4" fmla="*/ 31093 h 584236"/>
                <a:gd name="connsiteX5" fmla="*/ 302156 w 360794"/>
                <a:gd name="connsiteY5" fmla="*/ 31093 h 584236"/>
                <a:gd name="connsiteX6" fmla="*/ 267608 w 360794"/>
                <a:gd name="connsiteY6" fmla="*/ 0 h 584236"/>
                <a:gd name="connsiteX7" fmla="*/ 267608 w 360794"/>
                <a:gd name="connsiteY7" fmla="*/ 0 h 584236"/>
                <a:gd name="connsiteX8" fmla="*/ 250334 w 360794"/>
                <a:gd name="connsiteY8" fmla="*/ 3455 h 584236"/>
                <a:gd name="connsiteX9" fmla="*/ 250334 w 360794"/>
                <a:gd name="connsiteY9" fmla="*/ 31093 h 584236"/>
                <a:gd name="connsiteX10" fmla="*/ 226150 w 360794"/>
                <a:gd name="connsiteY10" fmla="*/ 31093 h 584236"/>
                <a:gd name="connsiteX11" fmla="*/ 226150 w 360794"/>
                <a:gd name="connsiteY11" fmla="*/ 17274 h 584236"/>
                <a:gd name="connsiteX12" fmla="*/ 201966 w 360794"/>
                <a:gd name="connsiteY12" fmla="*/ 20729 h 584236"/>
                <a:gd name="connsiteX13" fmla="*/ 201966 w 360794"/>
                <a:gd name="connsiteY13" fmla="*/ 41458 h 584236"/>
                <a:gd name="connsiteX14" fmla="*/ 170966 w 360794"/>
                <a:gd name="connsiteY14" fmla="*/ 44913 h 584236"/>
                <a:gd name="connsiteX15" fmla="*/ 150238 w 360794"/>
                <a:gd name="connsiteY15" fmla="*/ 72644 h 584236"/>
                <a:gd name="connsiteX16" fmla="*/ 150238 w 360794"/>
                <a:gd name="connsiteY16" fmla="*/ 93373 h 584236"/>
                <a:gd name="connsiteX17" fmla="*/ 129509 w 360794"/>
                <a:gd name="connsiteY17" fmla="*/ 110647 h 584236"/>
                <a:gd name="connsiteX18" fmla="*/ 126054 w 360794"/>
                <a:gd name="connsiteY18" fmla="*/ 131376 h 584236"/>
                <a:gd name="connsiteX19" fmla="*/ 101870 w 360794"/>
                <a:gd name="connsiteY19" fmla="*/ 138286 h 584236"/>
                <a:gd name="connsiteX20" fmla="*/ 98416 w 360794"/>
                <a:gd name="connsiteY20" fmla="*/ 162469 h 584236"/>
                <a:gd name="connsiteX21" fmla="*/ 81141 w 360794"/>
                <a:gd name="connsiteY21" fmla="*/ 190108 h 584236"/>
                <a:gd name="connsiteX22" fmla="*/ 91506 w 360794"/>
                <a:gd name="connsiteY22" fmla="*/ 214385 h 584236"/>
                <a:gd name="connsiteX23" fmla="*/ 84596 w 360794"/>
                <a:gd name="connsiteY23" fmla="*/ 221295 h 584236"/>
                <a:gd name="connsiteX24" fmla="*/ 56958 w 360794"/>
                <a:gd name="connsiteY24" fmla="*/ 231659 h 584236"/>
                <a:gd name="connsiteX25" fmla="*/ 29413 w 360794"/>
                <a:gd name="connsiteY25" fmla="*/ 238569 h 584236"/>
                <a:gd name="connsiteX26" fmla="*/ 29413 w 360794"/>
                <a:gd name="connsiteY26" fmla="*/ 290391 h 584236"/>
                <a:gd name="connsiteX27" fmla="*/ 29413 w 360794"/>
                <a:gd name="connsiteY27" fmla="*/ 324939 h 584236"/>
                <a:gd name="connsiteX28" fmla="*/ 50048 w 360794"/>
                <a:gd name="connsiteY28" fmla="*/ 335303 h 584236"/>
                <a:gd name="connsiteX29" fmla="*/ 53596 w 360794"/>
                <a:gd name="connsiteY29" fmla="*/ 356032 h 584236"/>
                <a:gd name="connsiteX30" fmla="*/ 29413 w 360794"/>
                <a:gd name="connsiteY30" fmla="*/ 359487 h 584236"/>
                <a:gd name="connsiteX31" fmla="*/ 50048 w 360794"/>
                <a:gd name="connsiteY31" fmla="*/ 373306 h 584236"/>
                <a:gd name="connsiteX32" fmla="*/ 43232 w 360794"/>
                <a:gd name="connsiteY32" fmla="*/ 394128 h 584236"/>
                <a:gd name="connsiteX33" fmla="*/ 29413 w 360794"/>
                <a:gd name="connsiteY33" fmla="*/ 407948 h 584236"/>
                <a:gd name="connsiteX34" fmla="*/ 29413 w 360794"/>
                <a:gd name="connsiteY34" fmla="*/ 435586 h 584236"/>
                <a:gd name="connsiteX35" fmla="*/ 0 w 360794"/>
                <a:gd name="connsiteY35" fmla="*/ 439041 h 584236"/>
                <a:gd name="connsiteX36" fmla="*/ 19048 w 360794"/>
                <a:gd name="connsiteY36" fmla="*/ 473589 h 584236"/>
                <a:gd name="connsiteX37" fmla="*/ 29413 w 360794"/>
                <a:gd name="connsiteY37" fmla="*/ 501227 h 584236"/>
                <a:gd name="connsiteX38" fmla="*/ 50048 w 360794"/>
                <a:gd name="connsiteY38" fmla="*/ 532414 h 584236"/>
                <a:gd name="connsiteX39" fmla="*/ 50048 w 360794"/>
                <a:gd name="connsiteY39" fmla="*/ 546233 h 584236"/>
                <a:gd name="connsiteX40" fmla="*/ 56958 w 360794"/>
                <a:gd name="connsiteY40" fmla="*/ 560053 h 584236"/>
                <a:gd name="connsiteX41" fmla="*/ 63868 w 360794"/>
                <a:gd name="connsiteY41" fmla="*/ 584236 h 584236"/>
                <a:gd name="connsiteX42" fmla="*/ 88051 w 360794"/>
                <a:gd name="connsiteY42" fmla="*/ 580781 h 584236"/>
                <a:gd name="connsiteX43" fmla="*/ 94960 w 360794"/>
                <a:gd name="connsiteY43" fmla="*/ 560053 h 584236"/>
                <a:gd name="connsiteX44" fmla="*/ 119144 w 360794"/>
                <a:gd name="connsiteY44" fmla="*/ 556598 h 584236"/>
                <a:gd name="connsiteX45" fmla="*/ 139873 w 360794"/>
                <a:gd name="connsiteY45" fmla="*/ 546233 h 584236"/>
                <a:gd name="connsiteX46" fmla="*/ 150238 w 360794"/>
                <a:gd name="connsiteY46" fmla="*/ 525504 h 584236"/>
                <a:gd name="connsiteX47" fmla="*/ 157147 w 360794"/>
                <a:gd name="connsiteY47" fmla="*/ 504682 h 584236"/>
                <a:gd name="connsiteX48" fmla="*/ 157147 w 360794"/>
                <a:gd name="connsiteY48" fmla="*/ 480499 h 584236"/>
                <a:gd name="connsiteX49" fmla="*/ 160602 w 360794"/>
                <a:gd name="connsiteY49" fmla="*/ 459770 h 584236"/>
                <a:gd name="connsiteX50" fmla="*/ 191602 w 360794"/>
                <a:gd name="connsiteY50" fmla="*/ 442496 h 584236"/>
                <a:gd name="connsiteX51" fmla="*/ 212331 w 360794"/>
                <a:gd name="connsiteY51" fmla="*/ 428676 h 584236"/>
                <a:gd name="connsiteX52" fmla="*/ 215785 w 360794"/>
                <a:gd name="connsiteY52" fmla="*/ 407948 h 584236"/>
                <a:gd name="connsiteX53" fmla="*/ 198512 w 360794"/>
                <a:gd name="connsiteY53" fmla="*/ 383764 h 584236"/>
                <a:gd name="connsiteX54" fmla="*/ 174421 w 360794"/>
                <a:gd name="connsiteY54" fmla="*/ 373306 h 584236"/>
                <a:gd name="connsiteX55" fmla="*/ 170966 w 360794"/>
                <a:gd name="connsiteY55" fmla="*/ 335303 h 584236"/>
                <a:gd name="connsiteX56" fmla="*/ 177876 w 360794"/>
                <a:gd name="connsiteY56" fmla="*/ 307665 h 584236"/>
                <a:gd name="connsiteX57" fmla="*/ 191602 w 360794"/>
                <a:gd name="connsiteY57" fmla="*/ 286936 h 584236"/>
                <a:gd name="connsiteX58" fmla="*/ 208876 w 360794"/>
                <a:gd name="connsiteY58" fmla="*/ 262752 h 584236"/>
                <a:gd name="connsiteX59" fmla="*/ 236514 w 360794"/>
                <a:gd name="connsiteY59" fmla="*/ 259297 h 584236"/>
                <a:gd name="connsiteX60" fmla="*/ 264153 w 360794"/>
                <a:gd name="connsiteY60" fmla="*/ 238569 h 584236"/>
                <a:gd name="connsiteX61" fmla="*/ 284882 w 360794"/>
                <a:gd name="connsiteY61" fmla="*/ 214385 h 584236"/>
                <a:gd name="connsiteX62" fmla="*/ 277972 w 360794"/>
                <a:gd name="connsiteY62" fmla="*/ 197018 h 584236"/>
                <a:gd name="connsiteX63" fmla="*/ 288337 w 360794"/>
                <a:gd name="connsiteY63" fmla="*/ 172834 h 584236"/>
                <a:gd name="connsiteX64" fmla="*/ 312520 w 360794"/>
                <a:gd name="connsiteY64" fmla="*/ 155560 h 584236"/>
                <a:gd name="connsiteX65" fmla="*/ 329701 w 360794"/>
                <a:gd name="connsiteY65" fmla="*/ 152105 h 584236"/>
                <a:gd name="connsiteX66" fmla="*/ 360794 w 360794"/>
                <a:gd name="connsiteY66" fmla="*/ 148650 h 584236"/>
                <a:gd name="connsiteX67" fmla="*/ 343520 w 360794"/>
                <a:gd name="connsiteY67" fmla="*/ 124466 h 584236"/>
                <a:gd name="connsiteX68" fmla="*/ 353885 w 360794"/>
                <a:gd name="connsiteY68" fmla="*/ 96828 h 58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60794" h="584236">
                  <a:moveTo>
                    <a:pt x="353885" y="96828"/>
                  </a:moveTo>
                  <a:lnTo>
                    <a:pt x="340065" y="89918"/>
                  </a:lnTo>
                  <a:lnTo>
                    <a:pt x="343520" y="55370"/>
                  </a:lnTo>
                  <a:lnTo>
                    <a:pt x="343520" y="55370"/>
                  </a:lnTo>
                  <a:lnTo>
                    <a:pt x="326246" y="31093"/>
                  </a:lnTo>
                  <a:lnTo>
                    <a:pt x="302156" y="31093"/>
                  </a:lnTo>
                  <a:lnTo>
                    <a:pt x="267608" y="0"/>
                  </a:lnTo>
                  <a:lnTo>
                    <a:pt x="267608" y="0"/>
                  </a:lnTo>
                  <a:lnTo>
                    <a:pt x="250334" y="3455"/>
                  </a:lnTo>
                  <a:lnTo>
                    <a:pt x="250334" y="31093"/>
                  </a:lnTo>
                  <a:lnTo>
                    <a:pt x="226150" y="31093"/>
                  </a:lnTo>
                  <a:lnTo>
                    <a:pt x="226150" y="17274"/>
                  </a:lnTo>
                  <a:lnTo>
                    <a:pt x="201966" y="20729"/>
                  </a:lnTo>
                  <a:lnTo>
                    <a:pt x="201966" y="41458"/>
                  </a:lnTo>
                  <a:lnTo>
                    <a:pt x="170966" y="44913"/>
                  </a:lnTo>
                  <a:lnTo>
                    <a:pt x="150238" y="72644"/>
                  </a:lnTo>
                  <a:lnTo>
                    <a:pt x="150238" y="93373"/>
                  </a:lnTo>
                  <a:lnTo>
                    <a:pt x="129509" y="110647"/>
                  </a:lnTo>
                  <a:lnTo>
                    <a:pt x="126054" y="131376"/>
                  </a:lnTo>
                  <a:lnTo>
                    <a:pt x="101870" y="138286"/>
                  </a:lnTo>
                  <a:lnTo>
                    <a:pt x="98416" y="162469"/>
                  </a:lnTo>
                  <a:lnTo>
                    <a:pt x="81141" y="190108"/>
                  </a:lnTo>
                  <a:lnTo>
                    <a:pt x="91506" y="214385"/>
                  </a:lnTo>
                  <a:lnTo>
                    <a:pt x="84596" y="221295"/>
                  </a:lnTo>
                  <a:lnTo>
                    <a:pt x="56958" y="231659"/>
                  </a:lnTo>
                  <a:lnTo>
                    <a:pt x="29413" y="238569"/>
                  </a:lnTo>
                  <a:lnTo>
                    <a:pt x="29413" y="290391"/>
                  </a:lnTo>
                  <a:lnTo>
                    <a:pt x="29413" y="324939"/>
                  </a:lnTo>
                  <a:lnTo>
                    <a:pt x="50048" y="335303"/>
                  </a:lnTo>
                  <a:lnTo>
                    <a:pt x="53596" y="356032"/>
                  </a:lnTo>
                  <a:lnTo>
                    <a:pt x="29413" y="359487"/>
                  </a:lnTo>
                  <a:lnTo>
                    <a:pt x="50048" y="373306"/>
                  </a:lnTo>
                  <a:lnTo>
                    <a:pt x="43232" y="394128"/>
                  </a:lnTo>
                  <a:lnTo>
                    <a:pt x="29413" y="407948"/>
                  </a:lnTo>
                  <a:lnTo>
                    <a:pt x="29413" y="435586"/>
                  </a:lnTo>
                  <a:lnTo>
                    <a:pt x="0" y="439041"/>
                  </a:lnTo>
                  <a:lnTo>
                    <a:pt x="19048" y="473589"/>
                  </a:lnTo>
                  <a:lnTo>
                    <a:pt x="29413" y="501227"/>
                  </a:lnTo>
                  <a:lnTo>
                    <a:pt x="50048" y="532414"/>
                  </a:lnTo>
                  <a:lnTo>
                    <a:pt x="50048" y="546233"/>
                  </a:lnTo>
                  <a:lnTo>
                    <a:pt x="56958" y="560053"/>
                  </a:lnTo>
                  <a:lnTo>
                    <a:pt x="63868" y="584236"/>
                  </a:lnTo>
                  <a:lnTo>
                    <a:pt x="88051" y="580781"/>
                  </a:lnTo>
                  <a:lnTo>
                    <a:pt x="94960" y="560053"/>
                  </a:lnTo>
                  <a:lnTo>
                    <a:pt x="119144" y="556598"/>
                  </a:lnTo>
                  <a:lnTo>
                    <a:pt x="139873" y="546233"/>
                  </a:lnTo>
                  <a:lnTo>
                    <a:pt x="150238" y="525504"/>
                  </a:lnTo>
                  <a:lnTo>
                    <a:pt x="157147" y="504682"/>
                  </a:lnTo>
                  <a:lnTo>
                    <a:pt x="157147" y="480499"/>
                  </a:lnTo>
                  <a:lnTo>
                    <a:pt x="160602" y="459770"/>
                  </a:lnTo>
                  <a:lnTo>
                    <a:pt x="191602" y="442496"/>
                  </a:lnTo>
                  <a:lnTo>
                    <a:pt x="212331" y="428676"/>
                  </a:lnTo>
                  <a:lnTo>
                    <a:pt x="215785" y="407948"/>
                  </a:lnTo>
                  <a:lnTo>
                    <a:pt x="198512" y="383764"/>
                  </a:lnTo>
                  <a:lnTo>
                    <a:pt x="174421" y="373306"/>
                  </a:lnTo>
                  <a:lnTo>
                    <a:pt x="170966" y="335303"/>
                  </a:lnTo>
                  <a:lnTo>
                    <a:pt x="177876" y="307665"/>
                  </a:lnTo>
                  <a:lnTo>
                    <a:pt x="191602" y="286936"/>
                  </a:lnTo>
                  <a:lnTo>
                    <a:pt x="208876" y="262752"/>
                  </a:lnTo>
                  <a:lnTo>
                    <a:pt x="236514" y="259297"/>
                  </a:lnTo>
                  <a:lnTo>
                    <a:pt x="264153" y="238569"/>
                  </a:lnTo>
                  <a:lnTo>
                    <a:pt x="284882" y="214385"/>
                  </a:lnTo>
                  <a:lnTo>
                    <a:pt x="277972" y="197018"/>
                  </a:lnTo>
                  <a:lnTo>
                    <a:pt x="288337" y="172834"/>
                  </a:lnTo>
                  <a:lnTo>
                    <a:pt x="312520" y="155560"/>
                  </a:lnTo>
                  <a:lnTo>
                    <a:pt x="329701" y="152105"/>
                  </a:lnTo>
                  <a:lnTo>
                    <a:pt x="360794" y="148650"/>
                  </a:lnTo>
                  <a:lnTo>
                    <a:pt x="343520" y="124466"/>
                  </a:lnTo>
                  <a:lnTo>
                    <a:pt x="353885" y="96828"/>
                  </a:lnTo>
                  <a:close/>
                </a:path>
              </a:pathLst>
            </a:custGeom>
            <a:solidFill>
              <a:srgbClr val="CEE3BF"/>
            </a:solidFill>
            <a:ln w="9334" cap="flat">
              <a:noFill/>
              <a:prstDash val="solid"/>
              <a:miter/>
            </a:ln>
          </p:spPr>
          <p:txBody>
            <a:bodyPr rtlCol="0" anchor="ctr"/>
            <a:lstStyle/>
            <a:p>
              <a:endParaRPr lang="en-GB" dirty="0"/>
            </a:p>
          </p:txBody>
        </p:sp>
        <p:sp>
          <p:nvSpPr>
            <p:cNvPr id="1279" name="Freeform: Shape 1278">
              <a:extLst>
                <a:ext uri="{FF2B5EF4-FFF2-40B4-BE49-F238E27FC236}">
                  <a16:creationId xmlns:a16="http://schemas.microsoft.com/office/drawing/2014/main" id="{152ED888-25C7-4E59-BF3E-DA032FD4EF57}"/>
                </a:ext>
              </a:extLst>
            </p:cNvPr>
            <p:cNvSpPr/>
            <p:nvPr/>
          </p:nvSpPr>
          <p:spPr>
            <a:xfrm>
              <a:off x="6408076" y="2244727"/>
              <a:ext cx="34547" cy="31093"/>
            </a:xfrm>
            <a:custGeom>
              <a:avLst/>
              <a:gdLst>
                <a:gd name="connsiteX0" fmla="*/ 34548 w 34547"/>
                <a:gd name="connsiteY0" fmla="*/ 31093 h 31093"/>
                <a:gd name="connsiteX1" fmla="*/ 20729 w 34547"/>
                <a:gd name="connsiteY1" fmla="*/ 17274 h 31093"/>
                <a:gd name="connsiteX2" fmla="*/ 0 w 34547"/>
                <a:gd name="connsiteY2" fmla="*/ 0 h 31093"/>
                <a:gd name="connsiteX3" fmla="*/ 0 w 34547"/>
                <a:gd name="connsiteY3" fmla="*/ 0 h 31093"/>
                <a:gd name="connsiteX4" fmla="*/ 34548 w 34547"/>
                <a:gd name="connsiteY4" fmla="*/ 31093 h 31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47" h="31093">
                  <a:moveTo>
                    <a:pt x="34548" y="31093"/>
                  </a:moveTo>
                  <a:lnTo>
                    <a:pt x="20729" y="17274"/>
                  </a:lnTo>
                  <a:lnTo>
                    <a:pt x="0" y="0"/>
                  </a:lnTo>
                  <a:lnTo>
                    <a:pt x="0" y="0"/>
                  </a:lnTo>
                  <a:lnTo>
                    <a:pt x="34548" y="31093"/>
                  </a:lnTo>
                  <a:close/>
                </a:path>
              </a:pathLst>
            </a:custGeom>
            <a:solidFill>
              <a:srgbClr val="CEE3BF"/>
            </a:solidFill>
            <a:ln w="9334" cap="flat">
              <a:noFill/>
              <a:prstDash val="solid"/>
              <a:miter/>
            </a:ln>
          </p:spPr>
          <p:txBody>
            <a:bodyPr rtlCol="0" anchor="ctr"/>
            <a:lstStyle/>
            <a:p>
              <a:endParaRPr lang="en-GB" dirty="0"/>
            </a:p>
          </p:txBody>
        </p:sp>
        <p:sp>
          <p:nvSpPr>
            <p:cNvPr id="1280" name="Freeform: Shape 1279">
              <a:extLst>
                <a:ext uri="{FF2B5EF4-FFF2-40B4-BE49-F238E27FC236}">
                  <a16:creationId xmlns:a16="http://schemas.microsoft.com/office/drawing/2014/main" id="{BB9FBF37-2FE1-4E3F-9911-0BA47CFFAC90}"/>
                </a:ext>
              </a:extLst>
            </p:cNvPr>
            <p:cNvSpPr/>
            <p:nvPr/>
          </p:nvSpPr>
          <p:spPr>
            <a:xfrm>
              <a:off x="6480533" y="2300097"/>
              <a:ext cx="3455" cy="34548"/>
            </a:xfrm>
            <a:custGeom>
              <a:avLst/>
              <a:gdLst>
                <a:gd name="connsiteX0" fmla="*/ 3455 w 3455"/>
                <a:gd name="connsiteY0" fmla="*/ 13819 h 34548"/>
                <a:gd name="connsiteX1" fmla="*/ 3455 w 3455"/>
                <a:gd name="connsiteY1" fmla="*/ 0 h 34548"/>
                <a:gd name="connsiteX2" fmla="*/ 0 w 3455"/>
                <a:gd name="connsiteY2" fmla="*/ 34548 h 34548"/>
                <a:gd name="connsiteX3" fmla="*/ 3455 w 3455"/>
                <a:gd name="connsiteY3" fmla="*/ 13819 h 34548"/>
              </a:gdLst>
              <a:ahLst/>
              <a:cxnLst>
                <a:cxn ang="0">
                  <a:pos x="connsiteX0" y="connsiteY0"/>
                </a:cxn>
                <a:cxn ang="0">
                  <a:pos x="connsiteX1" y="connsiteY1"/>
                </a:cxn>
                <a:cxn ang="0">
                  <a:pos x="connsiteX2" y="connsiteY2"/>
                </a:cxn>
                <a:cxn ang="0">
                  <a:pos x="connsiteX3" y="connsiteY3"/>
                </a:cxn>
              </a:cxnLst>
              <a:rect l="l" t="t" r="r" b="b"/>
              <a:pathLst>
                <a:path w="3455" h="34548">
                  <a:moveTo>
                    <a:pt x="3455" y="13819"/>
                  </a:moveTo>
                  <a:lnTo>
                    <a:pt x="3455" y="0"/>
                  </a:lnTo>
                  <a:lnTo>
                    <a:pt x="0" y="34548"/>
                  </a:lnTo>
                  <a:lnTo>
                    <a:pt x="3455" y="13819"/>
                  </a:lnTo>
                  <a:close/>
                </a:path>
              </a:pathLst>
            </a:custGeom>
            <a:solidFill>
              <a:srgbClr val="CEE3BF"/>
            </a:solidFill>
            <a:ln w="9334" cap="flat">
              <a:noFill/>
              <a:prstDash val="solid"/>
              <a:miter/>
            </a:ln>
          </p:spPr>
          <p:txBody>
            <a:bodyPr rtlCol="0" anchor="ctr"/>
            <a:lstStyle/>
            <a:p>
              <a:endParaRPr lang="en-GB" dirty="0"/>
            </a:p>
          </p:txBody>
        </p:sp>
        <p:sp>
          <p:nvSpPr>
            <p:cNvPr id="1281" name="Freeform: Shape 1280">
              <a:extLst>
                <a:ext uri="{FF2B5EF4-FFF2-40B4-BE49-F238E27FC236}">
                  <a16:creationId xmlns:a16="http://schemas.microsoft.com/office/drawing/2014/main" id="{7D2452B0-BE8B-433A-A7FA-21E9B77896D9}"/>
                </a:ext>
              </a:extLst>
            </p:cNvPr>
            <p:cNvSpPr/>
            <p:nvPr/>
          </p:nvSpPr>
          <p:spPr>
            <a:xfrm>
              <a:off x="5974824" y="2141083"/>
              <a:ext cx="709449" cy="584142"/>
            </a:xfrm>
            <a:custGeom>
              <a:avLst/>
              <a:gdLst>
                <a:gd name="connsiteX0" fmla="*/ 195057 w 709449"/>
                <a:gd name="connsiteY0" fmla="*/ 511592 h 584142"/>
                <a:gd name="connsiteX1" fmla="*/ 208876 w 709449"/>
                <a:gd name="connsiteY1" fmla="*/ 497773 h 584142"/>
                <a:gd name="connsiteX2" fmla="*/ 215692 w 709449"/>
                <a:gd name="connsiteY2" fmla="*/ 476950 h 584142"/>
                <a:gd name="connsiteX3" fmla="*/ 195057 w 709449"/>
                <a:gd name="connsiteY3" fmla="*/ 463131 h 584142"/>
                <a:gd name="connsiteX4" fmla="*/ 219240 w 709449"/>
                <a:gd name="connsiteY4" fmla="*/ 459676 h 584142"/>
                <a:gd name="connsiteX5" fmla="*/ 215692 w 709449"/>
                <a:gd name="connsiteY5" fmla="*/ 438947 h 584142"/>
                <a:gd name="connsiteX6" fmla="*/ 195057 w 709449"/>
                <a:gd name="connsiteY6" fmla="*/ 428583 h 584142"/>
                <a:gd name="connsiteX7" fmla="*/ 195057 w 709449"/>
                <a:gd name="connsiteY7" fmla="*/ 394035 h 584142"/>
                <a:gd name="connsiteX8" fmla="*/ 195057 w 709449"/>
                <a:gd name="connsiteY8" fmla="*/ 342213 h 584142"/>
                <a:gd name="connsiteX9" fmla="*/ 250240 w 709449"/>
                <a:gd name="connsiteY9" fmla="*/ 324939 h 584142"/>
                <a:gd name="connsiteX10" fmla="*/ 257150 w 709449"/>
                <a:gd name="connsiteY10" fmla="*/ 318029 h 584142"/>
                <a:gd name="connsiteX11" fmla="*/ 246785 w 709449"/>
                <a:gd name="connsiteY11" fmla="*/ 293752 h 584142"/>
                <a:gd name="connsiteX12" fmla="*/ 264060 w 709449"/>
                <a:gd name="connsiteY12" fmla="*/ 266114 h 584142"/>
                <a:gd name="connsiteX13" fmla="*/ 267514 w 709449"/>
                <a:gd name="connsiteY13" fmla="*/ 241930 h 584142"/>
                <a:gd name="connsiteX14" fmla="*/ 291698 w 709449"/>
                <a:gd name="connsiteY14" fmla="*/ 235020 h 584142"/>
                <a:gd name="connsiteX15" fmla="*/ 295153 w 709449"/>
                <a:gd name="connsiteY15" fmla="*/ 214292 h 584142"/>
                <a:gd name="connsiteX16" fmla="*/ 315882 w 709449"/>
                <a:gd name="connsiteY16" fmla="*/ 197017 h 584142"/>
                <a:gd name="connsiteX17" fmla="*/ 315882 w 709449"/>
                <a:gd name="connsiteY17" fmla="*/ 176289 h 584142"/>
                <a:gd name="connsiteX18" fmla="*/ 336610 w 709449"/>
                <a:gd name="connsiteY18" fmla="*/ 148557 h 584142"/>
                <a:gd name="connsiteX19" fmla="*/ 367610 w 709449"/>
                <a:gd name="connsiteY19" fmla="*/ 145102 h 584142"/>
                <a:gd name="connsiteX20" fmla="*/ 367610 w 709449"/>
                <a:gd name="connsiteY20" fmla="*/ 124373 h 584142"/>
                <a:gd name="connsiteX21" fmla="*/ 391794 w 709449"/>
                <a:gd name="connsiteY21" fmla="*/ 120918 h 584142"/>
                <a:gd name="connsiteX22" fmla="*/ 391794 w 709449"/>
                <a:gd name="connsiteY22" fmla="*/ 134738 h 584142"/>
                <a:gd name="connsiteX23" fmla="*/ 415978 w 709449"/>
                <a:gd name="connsiteY23" fmla="*/ 134738 h 584142"/>
                <a:gd name="connsiteX24" fmla="*/ 415978 w 709449"/>
                <a:gd name="connsiteY24" fmla="*/ 107099 h 584142"/>
                <a:gd name="connsiteX25" fmla="*/ 433252 w 709449"/>
                <a:gd name="connsiteY25" fmla="*/ 103644 h 584142"/>
                <a:gd name="connsiteX26" fmla="*/ 439881 w 709449"/>
                <a:gd name="connsiteY26" fmla="*/ 98322 h 584142"/>
                <a:gd name="connsiteX27" fmla="*/ 450526 w 709449"/>
                <a:gd name="connsiteY27" fmla="*/ 89825 h 584142"/>
                <a:gd name="connsiteX28" fmla="*/ 450526 w 709449"/>
                <a:gd name="connsiteY28" fmla="*/ 89825 h 584142"/>
                <a:gd name="connsiteX29" fmla="*/ 450526 w 709449"/>
                <a:gd name="connsiteY29" fmla="*/ 89825 h 584142"/>
                <a:gd name="connsiteX30" fmla="*/ 450526 w 709449"/>
                <a:gd name="connsiteY30" fmla="*/ 89918 h 584142"/>
                <a:gd name="connsiteX31" fmla="*/ 460890 w 709449"/>
                <a:gd name="connsiteY31" fmla="*/ 100189 h 584142"/>
                <a:gd name="connsiteX32" fmla="*/ 474710 w 709449"/>
                <a:gd name="connsiteY32" fmla="*/ 117464 h 584142"/>
                <a:gd name="connsiteX33" fmla="*/ 522983 w 709449"/>
                <a:gd name="connsiteY33" fmla="*/ 120918 h 584142"/>
                <a:gd name="connsiteX34" fmla="*/ 547167 w 709449"/>
                <a:gd name="connsiteY34" fmla="*/ 124373 h 584142"/>
                <a:gd name="connsiteX35" fmla="*/ 564441 w 709449"/>
                <a:gd name="connsiteY35" fmla="*/ 107099 h 584142"/>
                <a:gd name="connsiteX36" fmla="*/ 571351 w 709449"/>
                <a:gd name="connsiteY36" fmla="*/ 89825 h 584142"/>
                <a:gd name="connsiteX37" fmla="*/ 574805 w 709449"/>
                <a:gd name="connsiteY37" fmla="*/ 76006 h 584142"/>
                <a:gd name="connsiteX38" fmla="*/ 578260 w 709449"/>
                <a:gd name="connsiteY38" fmla="*/ 72551 h 584142"/>
                <a:gd name="connsiteX39" fmla="*/ 612808 w 709449"/>
                <a:gd name="connsiteY39" fmla="*/ 51822 h 584142"/>
                <a:gd name="connsiteX40" fmla="*/ 650718 w 709449"/>
                <a:gd name="connsiteY40" fmla="*/ 65641 h 584142"/>
                <a:gd name="connsiteX41" fmla="*/ 667992 w 709449"/>
                <a:gd name="connsiteY41" fmla="*/ 89825 h 584142"/>
                <a:gd name="connsiteX42" fmla="*/ 685266 w 709449"/>
                <a:gd name="connsiteY42" fmla="*/ 86370 h 584142"/>
                <a:gd name="connsiteX43" fmla="*/ 685266 w 709449"/>
                <a:gd name="connsiteY43" fmla="*/ 76006 h 584142"/>
                <a:gd name="connsiteX44" fmla="*/ 657627 w 709449"/>
                <a:gd name="connsiteY44" fmla="*/ 51822 h 584142"/>
                <a:gd name="connsiteX45" fmla="*/ 692176 w 709449"/>
                <a:gd name="connsiteY45" fmla="*/ 55277 h 584142"/>
                <a:gd name="connsiteX46" fmla="*/ 709449 w 709449"/>
                <a:gd name="connsiteY46" fmla="*/ 34548 h 584142"/>
                <a:gd name="connsiteX47" fmla="*/ 667992 w 709449"/>
                <a:gd name="connsiteY47" fmla="*/ 17274 h 584142"/>
                <a:gd name="connsiteX48" fmla="*/ 636899 w 709449"/>
                <a:gd name="connsiteY48" fmla="*/ 34548 h 584142"/>
                <a:gd name="connsiteX49" fmla="*/ 643808 w 709449"/>
                <a:gd name="connsiteY49" fmla="*/ 10364 h 584142"/>
                <a:gd name="connsiteX50" fmla="*/ 619624 w 709449"/>
                <a:gd name="connsiteY50" fmla="*/ 6910 h 584142"/>
                <a:gd name="connsiteX51" fmla="*/ 592079 w 709449"/>
                <a:gd name="connsiteY51" fmla="*/ 38003 h 584142"/>
                <a:gd name="connsiteX52" fmla="*/ 592079 w 709449"/>
                <a:gd name="connsiteY52" fmla="*/ 17274 h 584142"/>
                <a:gd name="connsiteX53" fmla="*/ 550622 w 709449"/>
                <a:gd name="connsiteY53" fmla="*/ 55277 h 584142"/>
                <a:gd name="connsiteX54" fmla="*/ 550622 w 709449"/>
                <a:gd name="connsiteY54" fmla="*/ 38003 h 584142"/>
                <a:gd name="connsiteX55" fmla="*/ 581715 w 709449"/>
                <a:gd name="connsiteY55" fmla="*/ 6910 h 584142"/>
                <a:gd name="connsiteX56" fmla="*/ 567896 w 709449"/>
                <a:gd name="connsiteY56" fmla="*/ 0 h 584142"/>
                <a:gd name="connsiteX57" fmla="*/ 533348 w 709449"/>
                <a:gd name="connsiteY57" fmla="*/ 27638 h 584142"/>
                <a:gd name="connsiteX58" fmla="*/ 509164 w 709449"/>
                <a:gd name="connsiteY58" fmla="*/ 27638 h 584142"/>
                <a:gd name="connsiteX59" fmla="*/ 502254 w 709449"/>
                <a:gd name="connsiteY59" fmla="*/ 62187 h 584142"/>
                <a:gd name="connsiteX60" fmla="*/ 491890 w 709449"/>
                <a:gd name="connsiteY60" fmla="*/ 58732 h 584142"/>
                <a:gd name="connsiteX61" fmla="*/ 491890 w 709449"/>
                <a:gd name="connsiteY61" fmla="*/ 41458 h 584142"/>
                <a:gd name="connsiteX62" fmla="*/ 471255 w 709449"/>
                <a:gd name="connsiteY62" fmla="*/ 44913 h 584142"/>
                <a:gd name="connsiteX63" fmla="*/ 460890 w 709449"/>
                <a:gd name="connsiteY63" fmla="*/ 65641 h 584142"/>
                <a:gd name="connsiteX64" fmla="*/ 443616 w 709449"/>
                <a:gd name="connsiteY64" fmla="*/ 55277 h 584142"/>
                <a:gd name="connsiteX65" fmla="*/ 419432 w 709449"/>
                <a:gd name="connsiteY65" fmla="*/ 69096 h 584142"/>
                <a:gd name="connsiteX66" fmla="*/ 409068 w 709449"/>
                <a:gd name="connsiteY66" fmla="*/ 51822 h 584142"/>
                <a:gd name="connsiteX67" fmla="*/ 388339 w 709449"/>
                <a:gd name="connsiteY67" fmla="*/ 51822 h 584142"/>
                <a:gd name="connsiteX68" fmla="*/ 374520 w 709449"/>
                <a:gd name="connsiteY68" fmla="*/ 82915 h 584142"/>
                <a:gd name="connsiteX69" fmla="*/ 343520 w 709449"/>
                <a:gd name="connsiteY69" fmla="*/ 76006 h 584142"/>
                <a:gd name="connsiteX70" fmla="*/ 333156 w 709449"/>
                <a:gd name="connsiteY70" fmla="*/ 93280 h 584142"/>
                <a:gd name="connsiteX71" fmla="*/ 350336 w 709449"/>
                <a:gd name="connsiteY71" fmla="*/ 103644 h 584142"/>
                <a:gd name="connsiteX72" fmla="*/ 346882 w 709449"/>
                <a:gd name="connsiteY72" fmla="*/ 117464 h 584142"/>
                <a:gd name="connsiteX73" fmla="*/ 315882 w 709449"/>
                <a:gd name="connsiteY73" fmla="*/ 110554 h 584142"/>
                <a:gd name="connsiteX74" fmla="*/ 302062 w 709449"/>
                <a:gd name="connsiteY74" fmla="*/ 96735 h 584142"/>
                <a:gd name="connsiteX75" fmla="*/ 284788 w 709449"/>
                <a:gd name="connsiteY75" fmla="*/ 107099 h 584142"/>
                <a:gd name="connsiteX76" fmla="*/ 277879 w 709449"/>
                <a:gd name="connsiteY76" fmla="*/ 124373 h 584142"/>
                <a:gd name="connsiteX77" fmla="*/ 281334 w 709449"/>
                <a:gd name="connsiteY77" fmla="*/ 134738 h 584142"/>
                <a:gd name="connsiteX78" fmla="*/ 302062 w 709449"/>
                <a:gd name="connsiteY78" fmla="*/ 134738 h 584142"/>
                <a:gd name="connsiteX79" fmla="*/ 319336 w 709449"/>
                <a:gd name="connsiteY79" fmla="*/ 124373 h 584142"/>
                <a:gd name="connsiteX80" fmla="*/ 315882 w 709449"/>
                <a:gd name="connsiteY80" fmla="*/ 148557 h 584142"/>
                <a:gd name="connsiteX81" fmla="*/ 302062 w 709449"/>
                <a:gd name="connsiteY81" fmla="*/ 148557 h 584142"/>
                <a:gd name="connsiteX82" fmla="*/ 288243 w 709449"/>
                <a:gd name="connsiteY82" fmla="*/ 172834 h 584142"/>
                <a:gd name="connsiteX83" fmla="*/ 270969 w 709449"/>
                <a:gd name="connsiteY83" fmla="*/ 183198 h 584142"/>
                <a:gd name="connsiteX84" fmla="*/ 236421 w 709449"/>
                <a:gd name="connsiteY84" fmla="*/ 210837 h 584142"/>
                <a:gd name="connsiteX85" fmla="*/ 236421 w 709449"/>
                <a:gd name="connsiteY85" fmla="*/ 231566 h 584142"/>
                <a:gd name="connsiteX86" fmla="*/ 219240 w 709449"/>
                <a:gd name="connsiteY86" fmla="*/ 241930 h 584142"/>
                <a:gd name="connsiteX87" fmla="*/ 195057 w 709449"/>
                <a:gd name="connsiteY87" fmla="*/ 283388 h 584142"/>
                <a:gd name="connsiteX88" fmla="*/ 177782 w 709449"/>
                <a:gd name="connsiteY88" fmla="*/ 307571 h 584142"/>
                <a:gd name="connsiteX89" fmla="*/ 158734 w 709449"/>
                <a:gd name="connsiteY89" fmla="*/ 318029 h 584142"/>
                <a:gd name="connsiteX90" fmla="*/ 127734 w 709449"/>
                <a:gd name="connsiteY90" fmla="*/ 349122 h 584142"/>
                <a:gd name="connsiteX91" fmla="*/ 145009 w 709449"/>
                <a:gd name="connsiteY91" fmla="*/ 352577 h 584142"/>
                <a:gd name="connsiteX92" fmla="*/ 162189 w 709449"/>
                <a:gd name="connsiteY92" fmla="*/ 335303 h 584142"/>
                <a:gd name="connsiteX93" fmla="*/ 169099 w 709449"/>
                <a:gd name="connsiteY93" fmla="*/ 349122 h 584142"/>
                <a:gd name="connsiteX94" fmla="*/ 145009 w 709449"/>
                <a:gd name="connsiteY94" fmla="*/ 362942 h 584142"/>
                <a:gd name="connsiteX95" fmla="*/ 120825 w 709449"/>
                <a:gd name="connsiteY95" fmla="*/ 359487 h 584142"/>
                <a:gd name="connsiteX96" fmla="*/ 107006 w 709449"/>
                <a:gd name="connsiteY96" fmla="*/ 359487 h 584142"/>
                <a:gd name="connsiteX97" fmla="*/ 96641 w 709449"/>
                <a:gd name="connsiteY97" fmla="*/ 380216 h 584142"/>
                <a:gd name="connsiteX98" fmla="*/ 72458 w 709449"/>
                <a:gd name="connsiteY98" fmla="*/ 390580 h 584142"/>
                <a:gd name="connsiteX99" fmla="*/ 44819 w 709449"/>
                <a:gd name="connsiteY99" fmla="*/ 397490 h 584142"/>
                <a:gd name="connsiteX100" fmla="*/ 6910 w 709449"/>
                <a:gd name="connsiteY100" fmla="*/ 414764 h 584142"/>
                <a:gd name="connsiteX101" fmla="*/ 0 w 709449"/>
                <a:gd name="connsiteY101" fmla="*/ 432038 h 584142"/>
                <a:gd name="connsiteX102" fmla="*/ 6910 w 709449"/>
                <a:gd name="connsiteY102" fmla="*/ 470041 h 584142"/>
                <a:gd name="connsiteX103" fmla="*/ 13819 w 709449"/>
                <a:gd name="connsiteY103" fmla="*/ 483953 h 584142"/>
                <a:gd name="connsiteX104" fmla="*/ 31000 w 709449"/>
                <a:gd name="connsiteY104" fmla="*/ 494318 h 584142"/>
                <a:gd name="connsiteX105" fmla="*/ 6910 w 709449"/>
                <a:gd name="connsiteY105" fmla="*/ 511592 h 584142"/>
                <a:gd name="connsiteX106" fmla="*/ 10365 w 709449"/>
                <a:gd name="connsiteY106" fmla="*/ 525411 h 584142"/>
                <a:gd name="connsiteX107" fmla="*/ 27545 w 709449"/>
                <a:gd name="connsiteY107" fmla="*/ 521956 h 584142"/>
                <a:gd name="connsiteX108" fmla="*/ 31000 w 709449"/>
                <a:gd name="connsiteY108" fmla="*/ 528866 h 584142"/>
                <a:gd name="connsiteX109" fmla="*/ 17181 w 709449"/>
                <a:gd name="connsiteY109" fmla="*/ 546140 h 584142"/>
                <a:gd name="connsiteX110" fmla="*/ 20635 w 709449"/>
                <a:gd name="connsiteY110" fmla="*/ 559959 h 584142"/>
                <a:gd name="connsiteX111" fmla="*/ 41364 w 709449"/>
                <a:gd name="connsiteY111" fmla="*/ 577233 h 584142"/>
                <a:gd name="connsiteX112" fmla="*/ 72458 w 709449"/>
                <a:gd name="connsiteY112" fmla="*/ 584143 h 584142"/>
                <a:gd name="connsiteX113" fmla="*/ 107006 w 709449"/>
                <a:gd name="connsiteY113" fmla="*/ 566869 h 584142"/>
                <a:gd name="connsiteX114" fmla="*/ 127734 w 709449"/>
                <a:gd name="connsiteY114" fmla="*/ 546140 h 584142"/>
                <a:gd name="connsiteX115" fmla="*/ 141554 w 709449"/>
                <a:gd name="connsiteY115" fmla="*/ 539230 h 584142"/>
                <a:gd name="connsiteX116" fmla="*/ 151825 w 709449"/>
                <a:gd name="connsiteY116" fmla="*/ 518501 h 584142"/>
                <a:gd name="connsiteX117" fmla="*/ 158734 w 709449"/>
                <a:gd name="connsiteY117" fmla="*/ 535775 h 584142"/>
                <a:gd name="connsiteX118" fmla="*/ 165644 w 709449"/>
                <a:gd name="connsiteY118" fmla="*/ 542685 h 584142"/>
                <a:gd name="connsiteX119" fmla="*/ 195057 w 709449"/>
                <a:gd name="connsiteY119" fmla="*/ 539230 h 584142"/>
                <a:gd name="connsiteX120" fmla="*/ 195057 w 709449"/>
                <a:gd name="connsiteY120" fmla="*/ 511592 h 584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709449" h="584142">
                  <a:moveTo>
                    <a:pt x="195057" y="511592"/>
                  </a:moveTo>
                  <a:lnTo>
                    <a:pt x="208876" y="497773"/>
                  </a:lnTo>
                  <a:lnTo>
                    <a:pt x="215692" y="476950"/>
                  </a:lnTo>
                  <a:lnTo>
                    <a:pt x="195057" y="463131"/>
                  </a:lnTo>
                  <a:lnTo>
                    <a:pt x="219240" y="459676"/>
                  </a:lnTo>
                  <a:lnTo>
                    <a:pt x="215692" y="438947"/>
                  </a:lnTo>
                  <a:lnTo>
                    <a:pt x="195057" y="428583"/>
                  </a:lnTo>
                  <a:lnTo>
                    <a:pt x="195057" y="394035"/>
                  </a:lnTo>
                  <a:lnTo>
                    <a:pt x="195057" y="342213"/>
                  </a:lnTo>
                  <a:lnTo>
                    <a:pt x="250240" y="324939"/>
                  </a:lnTo>
                  <a:lnTo>
                    <a:pt x="257150" y="318029"/>
                  </a:lnTo>
                  <a:lnTo>
                    <a:pt x="246785" y="293752"/>
                  </a:lnTo>
                  <a:lnTo>
                    <a:pt x="264060" y="266114"/>
                  </a:lnTo>
                  <a:lnTo>
                    <a:pt x="267514" y="241930"/>
                  </a:lnTo>
                  <a:lnTo>
                    <a:pt x="291698" y="235020"/>
                  </a:lnTo>
                  <a:lnTo>
                    <a:pt x="295153" y="214292"/>
                  </a:lnTo>
                  <a:lnTo>
                    <a:pt x="315882" y="197017"/>
                  </a:lnTo>
                  <a:lnTo>
                    <a:pt x="315882" y="176289"/>
                  </a:lnTo>
                  <a:lnTo>
                    <a:pt x="336610" y="148557"/>
                  </a:lnTo>
                  <a:lnTo>
                    <a:pt x="367610" y="145102"/>
                  </a:lnTo>
                  <a:lnTo>
                    <a:pt x="367610" y="124373"/>
                  </a:lnTo>
                  <a:lnTo>
                    <a:pt x="391794" y="120918"/>
                  </a:lnTo>
                  <a:lnTo>
                    <a:pt x="391794" y="134738"/>
                  </a:lnTo>
                  <a:lnTo>
                    <a:pt x="415978" y="134738"/>
                  </a:lnTo>
                  <a:lnTo>
                    <a:pt x="415978" y="107099"/>
                  </a:lnTo>
                  <a:lnTo>
                    <a:pt x="433252" y="103644"/>
                  </a:lnTo>
                  <a:lnTo>
                    <a:pt x="439881" y="98322"/>
                  </a:lnTo>
                  <a:lnTo>
                    <a:pt x="450526" y="89825"/>
                  </a:lnTo>
                  <a:lnTo>
                    <a:pt x="450526" y="89825"/>
                  </a:lnTo>
                  <a:lnTo>
                    <a:pt x="450526" y="89825"/>
                  </a:lnTo>
                  <a:lnTo>
                    <a:pt x="450526" y="89918"/>
                  </a:lnTo>
                  <a:lnTo>
                    <a:pt x="460890" y="100189"/>
                  </a:lnTo>
                  <a:lnTo>
                    <a:pt x="474710" y="117464"/>
                  </a:lnTo>
                  <a:lnTo>
                    <a:pt x="522983" y="120918"/>
                  </a:lnTo>
                  <a:lnTo>
                    <a:pt x="547167" y="124373"/>
                  </a:lnTo>
                  <a:lnTo>
                    <a:pt x="564441" y="107099"/>
                  </a:lnTo>
                  <a:lnTo>
                    <a:pt x="571351" y="89825"/>
                  </a:lnTo>
                  <a:lnTo>
                    <a:pt x="574805" y="76006"/>
                  </a:lnTo>
                  <a:lnTo>
                    <a:pt x="578260" y="72551"/>
                  </a:lnTo>
                  <a:lnTo>
                    <a:pt x="612808" y="51822"/>
                  </a:lnTo>
                  <a:lnTo>
                    <a:pt x="650718" y="65641"/>
                  </a:lnTo>
                  <a:lnTo>
                    <a:pt x="667992" y="89825"/>
                  </a:lnTo>
                  <a:lnTo>
                    <a:pt x="685266" y="86370"/>
                  </a:lnTo>
                  <a:lnTo>
                    <a:pt x="685266" y="76006"/>
                  </a:lnTo>
                  <a:lnTo>
                    <a:pt x="657627" y="51822"/>
                  </a:lnTo>
                  <a:lnTo>
                    <a:pt x="692176" y="55277"/>
                  </a:lnTo>
                  <a:lnTo>
                    <a:pt x="709449" y="34548"/>
                  </a:lnTo>
                  <a:lnTo>
                    <a:pt x="667992" y="17274"/>
                  </a:lnTo>
                  <a:lnTo>
                    <a:pt x="636899" y="34548"/>
                  </a:lnTo>
                  <a:lnTo>
                    <a:pt x="643808" y="10364"/>
                  </a:lnTo>
                  <a:lnTo>
                    <a:pt x="619624" y="6910"/>
                  </a:lnTo>
                  <a:lnTo>
                    <a:pt x="592079" y="38003"/>
                  </a:lnTo>
                  <a:lnTo>
                    <a:pt x="592079" y="17274"/>
                  </a:lnTo>
                  <a:lnTo>
                    <a:pt x="550622" y="55277"/>
                  </a:lnTo>
                  <a:lnTo>
                    <a:pt x="550622" y="38003"/>
                  </a:lnTo>
                  <a:lnTo>
                    <a:pt x="581715" y="6910"/>
                  </a:lnTo>
                  <a:lnTo>
                    <a:pt x="567896" y="0"/>
                  </a:lnTo>
                  <a:lnTo>
                    <a:pt x="533348" y="27638"/>
                  </a:lnTo>
                  <a:lnTo>
                    <a:pt x="509164" y="27638"/>
                  </a:lnTo>
                  <a:lnTo>
                    <a:pt x="502254" y="62187"/>
                  </a:lnTo>
                  <a:lnTo>
                    <a:pt x="491890" y="58732"/>
                  </a:lnTo>
                  <a:lnTo>
                    <a:pt x="491890" y="41458"/>
                  </a:lnTo>
                  <a:lnTo>
                    <a:pt x="471255" y="44913"/>
                  </a:lnTo>
                  <a:lnTo>
                    <a:pt x="460890" y="65641"/>
                  </a:lnTo>
                  <a:lnTo>
                    <a:pt x="443616" y="55277"/>
                  </a:lnTo>
                  <a:lnTo>
                    <a:pt x="419432" y="69096"/>
                  </a:lnTo>
                  <a:lnTo>
                    <a:pt x="409068" y="51822"/>
                  </a:lnTo>
                  <a:lnTo>
                    <a:pt x="388339" y="51822"/>
                  </a:lnTo>
                  <a:lnTo>
                    <a:pt x="374520" y="82915"/>
                  </a:lnTo>
                  <a:lnTo>
                    <a:pt x="343520" y="76006"/>
                  </a:lnTo>
                  <a:lnTo>
                    <a:pt x="333156" y="93280"/>
                  </a:lnTo>
                  <a:lnTo>
                    <a:pt x="350336" y="103644"/>
                  </a:lnTo>
                  <a:lnTo>
                    <a:pt x="346882" y="117464"/>
                  </a:lnTo>
                  <a:lnTo>
                    <a:pt x="315882" y="110554"/>
                  </a:lnTo>
                  <a:lnTo>
                    <a:pt x="302062" y="96735"/>
                  </a:lnTo>
                  <a:lnTo>
                    <a:pt x="284788" y="107099"/>
                  </a:lnTo>
                  <a:lnTo>
                    <a:pt x="277879" y="124373"/>
                  </a:lnTo>
                  <a:lnTo>
                    <a:pt x="281334" y="134738"/>
                  </a:lnTo>
                  <a:lnTo>
                    <a:pt x="302062" y="134738"/>
                  </a:lnTo>
                  <a:lnTo>
                    <a:pt x="319336" y="124373"/>
                  </a:lnTo>
                  <a:lnTo>
                    <a:pt x="315882" y="148557"/>
                  </a:lnTo>
                  <a:lnTo>
                    <a:pt x="302062" y="148557"/>
                  </a:lnTo>
                  <a:lnTo>
                    <a:pt x="288243" y="172834"/>
                  </a:lnTo>
                  <a:lnTo>
                    <a:pt x="270969" y="183198"/>
                  </a:lnTo>
                  <a:lnTo>
                    <a:pt x="236421" y="210837"/>
                  </a:lnTo>
                  <a:lnTo>
                    <a:pt x="236421" y="231566"/>
                  </a:lnTo>
                  <a:lnTo>
                    <a:pt x="219240" y="241930"/>
                  </a:lnTo>
                  <a:lnTo>
                    <a:pt x="195057" y="283388"/>
                  </a:lnTo>
                  <a:lnTo>
                    <a:pt x="177782" y="307571"/>
                  </a:lnTo>
                  <a:lnTo>
                    <a:pt x="158734" y="318029"/>
                  </a:lnTo>
                  <a:lnTo>
                    <a:pt x="127734" y="349122"/>
                  </a:lnTo>
                  <a:lnTo>
                    <a:pt x="145009" y="352577"/>
                  </a:lnTo>
                  <a:lnTo>
                    <a:pt x="162189" y="335303"/>
                  </a:lnTo>
                  <a:lnTo>
                    <a:pt x="169099" y="349122"/>
                  </a:lnTo>
                  <a:lnTo>
                    <a:pt x="145009" y="362942"/>
                  </a:lnTo>
                  <a:lnTo>
                    <a:pt x="120825" y="359487"/>
                  </a:lnTo>
                  <a:lnTo>
                    <a:pt x="107006" y="359487"/>
                  </a:lnTo>
                  <a:lnTo>
                    <a:pt x="96641" y="380216"/>
                  </a:lnTo>
                  <a:lnTo>
                    <a:pt x="72458" y="390580"/>
                  </a:lnTo>
                  <a:lnTo>
                    <a:pt x="44819" y="397490"/>
                  </a:lnTo>
                  <a:lnTo>
                    <a:pt x="6910" y="414764"/>
                  </a:lnTo>
                  <a:lnTo>
                    <a:pt x="0" y="432038"/>
                  </a:lnTo>
                  <a:lnTo>
                    <a:pt x="6910" y="470041"/>
                  </a:lnTo>
                  <a:lnTo>
                    <a:pt x="13819" y="483953"/>
                  </a:lnTo>
                  <a:lnTo>
                    <a:pt x="31000" y="494318"/>
                  </a:lnTo>
                  <a:lnTo>
                    <a:pt x="6910" y="511592"/>
                  </a:lnTo>
                  <a:lnTo>
                    <a:pt x="10365" y="525411"/>
                  </a:lnTo>
                  <a:lnTo>
                    <a:pt x="27545" y="521956"/>
                  </a:lnTo>
                  <a:lnTo>
                    <a:pt x="31000" y="528866"/>
                  </a:lnTo>
                  <a:lnTo>
                    <a:pt x="17181" y="546140"/>
                  </a:lnTo>
                  <a:lnTo>
                    <a:pt x="20635" y="559959"/>
                  </a:lnTo>
                  <a:lnTo>
                    <a:pt x="41364" y="577233"/>
                  </a:lnTo>
                  <a:lnTo>
                    <a:pt x="72458" y="584143"/>
                  </a:lnTo>
                  <a:lnTo>
                    <a:pt x="107006" y="566869"/>
                  </a:lnTo>
                  <a:lnTo>
                    <a:pt x="127734" y="546140"/>
                  </a:lnTo>
                  <a:lnTo>
                    <a:pt x="141554" y="539230"/>
                  </a:lnTo>
                  <a:lnTo>
                    <a:pt x="151825" y="518501"/>
                  </a:lnTo>
                  <a:lnTo>
                    <a:pt x="158734" y="535775"/>
                  </a:lnTo>
                  <a:lnTo>
                    <a:pt x="165644" y="542685"/>
                  </a:lnTo>
                  <a:lnTo>
                    <a:pt x="195057" y="539230"/>
                  </a:lnTo>
                  <a:lnTo>
                    <a:pt x="195057" y="511592"/>
                  </a:lnTo>
                  <a:close/>
                </a:path>
              </a:pathLst>
            </a:custGeom>
            <a:solidFill>
              <a:srgbClr val="CEE3BF"/>
            </a:solidFill>
            <a:ln w="9334" cap="flat">
              <a:noFill/>
              <a:prstDash val="solid"/>
              <a:miter/>
            </a:ln>
          </p:spPr>
          <p:txBody>
            <a:bodyPr rtlCol="0" anchor="ctr"/>
            <a:lstStyle/>
            <a:p>
              <a:endParaRPr lang="en-GB" dirty="0"/>
            </a:p>
          </p:txBody>
        </p:sp>
        <p:sp>
          <p:nvSpPr>
            <p:cNvPr id="1282" name="Freeform: Shape 1281">
              <a:extLst>
                <a:ext uri="{FF2B5EF4-FFF2-40B4-BE49-F238E27FC236}">
                  <a16:creationId xmlns:a16="http://schemas.microsoft.com/office/drawing/2014/main" id="{4B1FE15E-7C74-4B1B-845F-4C5AE3CB4EEA}"/>
                </a:ext>
              </a:extLst>
            </p:cNvPr>
            <p:cNvSpPr/>
            <p:nvPr/>
          </p:nvSpPr>
          <p:spPr>
            <a:xfrm>
              <a:off x="6521991" y="2230908"/>
              <a:ext cx="24183" cy="34548"/>
            </a:xfrm>
            <a:custGeom>
              <a:avLst/>
              <a:gdLst>
                <a:gd name="connsiteX0" fmla="*/ 0 w 24183"/>
                <a:gd name="connsiteY0" fmla="*/ 34548 h 34548"/>
                <a:gd name="connsiteX1" fmla="*/ 20729 w 24183"/>
                <a:gd name="connsiteY1" fmla="*/ 13819 h 34548"/>
                <a:gd name="connsiteX2" fmla="*/ 24184 w 24183"/>
                <a:gd name="connsiteY2" fmla="*/ 0 h 34548"/>
                <a:gd name="connsiteX3" fmla="*/ 17274 w 24183"/>
                <a:gd name="connsiteY3" fmla="*/ 17274 h 34548"/>
                <a:gd name="connsiteX4" fmla="*/ 0 w 24183"/>
                <a:gd name="connsiteY4" fmla="*/ 34548 h 34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83" h="34548">
                  <a:moveTo>
                    <a:pt x="0" y="34548"/>
                  </a:moveTo>
                  <a:lnTo>
                    <a:pt x="20729" y="13819"/>
                  </a:lnTo>
                  <a:lnTo>
                    <a:pt x="24184" y="0"/>
                  </a:lnTo>
                  <a:lnTo>
                    <a:pt x="17274" y="17274"/>
                  </a:lnTo>
                  <a:lnTo>
                    <a:pt x="0" y="34548"/>
                  </a:lnTo>
                  <a:close/>
                </a:path>
              </a:pathLst>
            </a:custGeom>
            <a:solidFill>
              <a:srgbClr val="CEE3BF"/>
            </a:solidFill>
            <a:ln w="9334" cap="flat">
              <a:noFill/>
              <a:prstDash val="solid"/>
              <a:miter/>
            </a:ln>
          </p:spPr>
          <p:txBody>
            <a:bodyPr rtlCol="0" anchor="ctr"/>
            <a:lstStyle/>
            <a:p>
              <a:endParaRPr lang="en-GB" dirty="0"/>
            </a:p>
          </p:txBody>
        </p:sp>
        <p:sp>
          <p:nvSpPr>
            <p:cNvPr id="1283" name="Freeform: Shape 1282">
              <a:extLst>
                <a:ext uri="{FF2B5EF4-FFF2-40B4-BE49-F238E27FC236}">
                  <a16:creationId xmlns:a16="http://schemas.microsoft.com/office/drawing/2014/main" id="{F4C4F64D-FC85-4DD3-94C5-5230AC33C5D2}"/>
                </a:ext>
              </a:extLst>
            </p:cNvPr>
            <p:cNvSpPr/>
            <p:nvPr/>
          </p:nvSpPr>
          <p:spPr>
            <a:xfrm>
              <a:off x="6408076" y="2239405"/>
              <a:ext cx="6629" cy="5322"/>
            </a:xfrm>
            <a:custGeom>
              <a:avLst/>
              <a:gdLst>
                <a:gd name="connsiteX0" fmla="*/ 0 w 6629"/>
                <a:gd name="connsiteY0" fmla="*/ 5322 h 5322"/>
                <a:gd name="connsiteX1" fmla="*/ 6629 w 6629"/>
                <a:gd name="connsiteY1" fmla="*/ 0 h 5322"/>
                <a:gd name="connsiteX2" fmla="*/ 0 w 6629"/>
                <a:gd name="connsiteY2" fmla="*/ 5322 h 5322"/>
                <a:gd name="connsiteX3" fmla="*/ 0 w 6629"/>
                <a:gd name="connsiteY3" fmla="*/ 5322 h 5322"/>
              </a:gdLst>
              <a:ahLst/>
              <a:cxnLst>
                <a:cxn ang="0">
                  <a:pos x="connsiteX0" y="connsiteY0"/>
                </a:cxn>
                <a:cxn ang="0">
                  <a:pos x="connsiteX1" y="connsiteY1"/>
                </a:cxn>
                <a:cxn ang="0">
                  <a:pos x="connsiteX2" y="connsiteY2"/>
                </a:cxn>
                <a:cxn ang="0">
                  <a:pos x="connsiteX3" y="connsiteY3"/>
                </a:cxn>
              </a:cxnLst>
              <a:rect l="l" t="t" r="r" b="b"/>
              <a:pathLst>
                <a:path w="6629" h="5322">
                  <a:moveTo>
                    <a:pt x="0" y="5322"/>
                  </a:moveTo>
                  <a:lnTo>
                    <a:pt x="6629" y="0"/>
                  </a:lnTo>
                  <a:lnTo>
                    <a:pt x="0" y="5322"/>
                  </a:lnTo>
                  <a:lnTo>
                    <a:pt x="0" y="5322"/>
                  </a:lnTo>
                  <a:close/>
                </a:path>
              </a:pathLst>
            </a:custGeom>
            <a:solidFill>
              <a:srgbClr val="CEE3BF"/>
            </a:solidFill>
            <a:ln w="9334" cap="flat">
              <a:noFill/>
              <a:prstDash val="solid"/>
              <a:miter/>
            </a:ln>
          </p:spPr>
          <p:txBody>
            <a:bodyPr rtlCol="0" anchor="ctr"/>
            <a:lstStyle/>
            <a:p>
              <a:endParaRPr lang="en-GB" dirty="0"/>
            </a:p>
          </p:txBody>
        </p:sp>
        <p:sp>
          <p:nvSpPr>
            <p:cNvPr id="1284" name="Freeform: Shape 1283">
              <a:extLst>
                <a:ext uri="{FF2B5EF4-FFF2-40B4-BE49-F238E27FC236}">
                  <a16:creationId xmlns:a16="http://schemas.microsoft.com/office/drawing/2014/main" id="{3B64AA7E-E93C-4828-9F45-1052BA2DAD6E}"/>
                </a:ext>
              </a:extLst>
            </p:cNvPr>
            <p:cNvSpPr/>
            <p:nvPr/>
          </p:nvSpPr>
          <p:spPr>
            <a:xfrm>
              <a:off x="6425350" y="2230908"/>
              <a:ext cx="9337" cy="93"/>
            </a:xfrm>
            <a:custGeom>
              <a:avLst/>
              <a:gdLst>
                <a:gd name="connsiteX0" fmla="*/ 0 w 9337"/>
                <a:gd name="connsiteY0" fmla="*/ 0 h 93"/>
                <a:gd name="connsiteX1" fmla="*/ 0 w 9337"/>
                <a:gd name="connsiteY1" fmla="*/ 93 h 93"/>
                <a:gd name="connsiteX2" fmla="*/ 0 w 9337"/>
                <a:gd name="connsiteY2" fmla="*/ 0 h 93"/>
                <a:gd name="connsiteX3" fmla="*/ 0 w 9337"/>
                <a:gd name="connsiteY3" fmla="*/ 0 h 93"/>
              </a:gdLst>
              <a:ahLst/>
              <a:cxnLst>
                <a:cxn ang="0">
                  <a:pos x="connsiteX0" y="connsiteY0"/>
                </a:cxn>
                <a:cxn ang="0">
                  <a:pos x="connsiteX1" y="connsiteY1"/>
                </a:cxn>
                <a:cxn ang="0">
                  <a:pos x="connsiteX2" y="connsiteY2"/>
                </a:cxn>
                <a:cxn ang="0">
                  <a:pos x="connsiteX3" y="connsiteY3"/>
                </a:cxn>
              </a:cxnLst>
              <a:rect l="l" t="t" r="r" b="b"/>
              <a:pathLst>
                <a:path w="9337" h="93">
                  <a:moveTo>
                    <a:pt x="0" y="0"/>
                  </a:moveTo>
                  <a:lnTo>
                    <a:pt x="0" y="93"/>
                  </a:lnTo>
                  <a:lnTo>
                    <a:pt x="0" y="0"/>
                  </a:lnTo>
                  <a:lnTo>
                    <a:pt x="0" y="0"/>
                  </a:lnTo>
                  <a:close/>
                </a:path>
              </a:pathLst>
            </a:custGeom>
            <a:solidFill>
              <a:srgbClr val="CEE3BF"/>
            </a:solidFill>
            <a:ln w="9334" cap="flat">
              <a:noFill/>
              <a:prstDash val="solid"/>
              <a:miter/>
            </a:ln>
          </p:spPr>
          <p:txBody>
            <a:bodyPr rtlCol="0" anchor="ctr"/>
            <a:lstStyle/>
            <a:p>
              <a:endParaRPr lang="en-GB" dirty="0"/>
            </a:p>
          </p:txBody>
        </p:sp>
        <p:sp>
          <p:nvSpPr>
            <p:cNvPr id="1285" name="Freeform: Shape 1284">
              <a:extLst>
                <a:ext uri="{FF2B5EF4-FFF2-40B4-BE49-F238E27FC236}">
                  <a16:creationId xmlns:a16="http://schemas.microsoft.com/office/drawing/2014/main" id="{1FB485FC-4D28-4B2D-980E-51AF8516E858}"/>
                </a:ext>
              </a:extLst>
            </p:cNvPr>
            <p:cNvSpPr/>
            <p:nvPr/>
          </p:nvSpPr>
          <p:spPr>
            <a:xfrm>
              <a:off x="6221610" y="2383013"/>
              <a:ext cx="20729" cy="51822"/>
            </a:xfrm>
            <a:custGeom>
              <a:avLst/>
              <a:gdLst>
                <a:gd name="connsiteX0" fmla="*/ 0 w 20729"/>
                <a:gd name="connsiteY0" fmla="*/ 51822 h 51822"/>
                <a:gd name="connsiteX1" fmla="*/ 17274 w 20729"/>
                <a:gd name="connsiteY1" fmla="*/ 24184 h 51822"/>
                <a:gd name="connsiteX2" fmla="*/ 20729 w 20729"/>
                <a:gd name="connsiteY2" fmla="*/ 0 h 51822"/>
                <a:gd name="connsiteX3" fmla="*/ 17274 w 20729"/>
                <a:gd name="connsiteY3" fmla="*/ 24184 h 51822"/>
                <a:gd name="connsiteX4" fmla="*/ 0 w 20729"/>
                <a:gd name="connsiteY4" fmla="*/ 51822 h 51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29" h="51822">
                  <a:moveTo>
                    <a:pt x="0" y="51822"/>
                  </a:moveTo>
                  <a:lnTo>
                    <a:pt x="17274" y="24184"/>
                  </a:lnTo>
                  <a:lnTo>
                    <a:pt x="20729" y="0"/>
                  </a:lnTo>
                  <a:lnTo>
                    <a:pt x="17274" y="24184"/>
                  </a:lnTo>
                  <a:lnTo>
                    <a:pt x="0" y="51822"/>
                  </a:lnTo>
                  <a:close/>
                </a:path>
              </a:pathLst>
            </a:custGeom>
            <a:solidFill>
              <a:srgbClr val="CEE3BF"/>
            </a:solidFill>
            <a:ln w="9334" cap="flat">
              <a:noFill/>
              <a:prstDash val="solid"/>
              <a:miter/>
            </a:ln>
          </p:spPr>
          <p:txBody>
            <a:bodyPr rtlCol="0" anchor="ctr"/>
            <a:lstStyle/>
            <a:p>
              <a:endParaRPr lang="en-GB" dirty="0"/>
            </a:p>
          </p:txBody>
        </p:sp>
        <p:sp>
          <p:nvSpPr>
            <p:cNvPr id="1286" name="Freeform: Shape 1285">
              <a:extLst>
                <a:ext uri="{FF2B5EF4-FFF2-40B4-BE49-F238E27FC236}">
                  <a16:creationId xmlns:a16="http://schemas.microsoft.com/office/drawing/2014/main" id="{881D5C06-3745-453C-A4CA-2D0324F3386F}"/>
                </a:ext>
              </a:extLst>
            </p:cNvPr>
            <p:cNvSpPr/>
            <p:nvPr/>
          </p:nvSpPr>
          <p:spPr>
            <a:xfrm>
              <a:off x="6290706" y="2286185"/>
              <a:ext cx="51728" cy="31186"/>
            </a:xfrm>
            <a:custGeom>
              <a:avLst/>
              <a:gdLst>
                <a:gd name="connsiteX0" fmla="*/ 0 w 51728"/>
                <a:gd name="connsiteY0" fmla="*/ 31187 h 31186"/>
                <a:gd name="connsiteX1" fmla="*/ 20729 w 51728"/>
                <a:gd name="connsiteY1" fmla="*/ 3455 h 31186"/>
                <a:gd name="connsiteX2" fmla="*/ 51729 w 51728"/>
                <a:gd name="connsiteY2" fmla="*/ 0 h 31186"/>
                <a:gd name="connsiteX3" fmla="*/ 20729 w 51728"/>
                <a:gd name="connsiteY3" fmla="*/ 3455 h 31186"/>
                <a:gd name="connsiteX4" fmla="*/ 0 w 51728"/>
                <a:gd name="connsiteY4" fmla="*/ 31187 h 3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28" h="31186">
                  <a:moveTo>
                    <a:pt x="0" y="31187"/>
                  </a:moveTo>
                  <a:lnTo>
                    <a:pt x="20729" y="3455"/>
                  </a:lnTo>
                  <a:lnTo>
                    <a:pt x="51729" y="0"/>
                  </a:lnTo>
                  <a:lnTo>
                    <a:pt x="20729" y="3455"/>
                  </a:lnTo>
                  <a:lnTo>
                    <a:pt x="0" y="31187"/>
                  </a:lnTo>
                  <a:close/>
                </a:path>
              </a:pathLst>
            </a:custGeom>
            <a:solidFill>
              <a:srgbClr val="CEE3BF"/>
            </a:solidFill>
            <a:ln w="9334" cap="flat">
              <a:noFill/>
              <a:prstDash val="solid"/>
              <a:miter/>
            </a:ln>
          </p:spPr>
          <p:txBody>
            <a:bodyPr rtlCol="0" anchor="ctr"/>
            <a:lstStyle/>
            <a:p>
              <a:endParaRPr lang="en-GB" dirty="0"/>
            </a:p>
          </p:txBody>
        </p:sp>
        <p:sp>
          <p:nvSpPr>
            <p:cNvPr id="1287" name="Freeform: Shape 1286">
              <a:extLst>
                <a:ext uri="{FF2B5EF4-FFF2-40B4-BE49-F238E27FC236}">
                  <a16:creationId xmlns:a16="http://schemas.microsoft.com/office/drawing/2014/main" id="{C6042B61-E1CB-49D4-829E-4D3038937D2E}"/>
                </a:ext>
              </a:extLst>
            </p:cNvPr>
            <p:cNvSpPr/>
            <p:nvPr/>
          </p:nvSpPr>
          <p:spPr>
            <a:xfrm>
              <a:off x="6390802" y="2244727"/>
              <a:ext cx="17274" cy="3454"/>
            </a:xfrm>
            <a:custGeom>
              <a:avLst/>
              <a:gdLst>
                <a:gd name="connsiteX0" fmla="*/ 0 w 17274"/>
                <a:gd name="connsiteY0" fmla="*/ 3455 h 3454"/>
                <a:gd name="connsiteX1" fmla="*/ 17274 w 17274"/>
                <a:gd name="connsiteY1" fmla="*/ 0 h 3454"/>
                <a:gd name="connsiteX2" fmla="*/ 17274 w 17274"/>
                <a:gd name="connsiteY2" fmla="*/ 0 h 3454"/>
                <a:gd name="connsiteX3" fmla="*/ 17274 w 17274"/>
                <a:gd name="connsiteY3" fmla="*/ 0 h 3454"/>
                <a:gd name="connsiteX4" fmla="*/ 0 w 17274"/>
                <a:gd name="connsiteY4" fmla="*/ 3455 h 3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4" h="3454">
                  <a:moveTo>
                    <a:pt x="0" y="3455"/>
                  </a:moveTo>
                  <a:lnTo>
                    <a:pt x="17274" y="0"/>
                  </a:lnTo>
                  <a:lnTo>
                    <a:pt x="17274" y="0"/>
                  </a:lnTo>
                  <a:lnTo>
                    <a:pt x="17274" y="0"/>
                  </a:lnTo>
                  <a:lnTo>
                    <a:pt x="0" y="3455"/>
                  </a:lnTo>
                  <a:close/>
                </a:path>
              </a:pathLst>
            </a:custGeom>
            <a:solidFill>
              <a:srgbClr val="CEE3BF"/>
            </a:solidFill>
            <a:ln w="9334" cap="flat">
              <a:noFill/>
              <a:prstDash val="solid"/>
              <a:miter/>
            </a:ln>
          </p:spPr>
          <p:txBody>
            <a:bodyPr rtlCol="0" anchor="ctr"/>
            <a:lstStyle/>
            <a:p>
              <a:endParaRPr lang="en-GB" dirty="0"/>
            </a:p>
          </p:txBody>
        </p:sp>
        <p:sp>
          <p:nvSpPr>
            <p:cNvPr id="1288" name="Freeform: Shape 1287">
              <a:extLst>
                <a:ext uri="{FF2B5EF4-FFF2-40B4-BE49-F238E27FC236}">
                  <a16:creationId xmlns:a16="http://schemas.microsoft.com/office/drawing/2014/main" id="{4CE41DC3-82B6-4807-B3B1-D72037B7551D}"/>
                </a:ext>
              </a:extLst>
            </p:cNvPr>
            <p:cNvSpPr/>
            <p:nvPr/>
          </p:nvSpPr>
          <p:spPr>
            <a:xfrm>
              <a:off x="5674443" y="2697587"/>
              <a:ext cx="217465" cy="331848"/>
            </a:xfrm>
            <a:custGeom>
              <a:avLst/>
              <a:gdLst>
                <a:gd name="connsiteX0" fmla="*/ 10364 w 217465"/>
                <a:gd name="connsiteY0" fmla="*/ 110647 h 331848"/>
                <a:gd name="connsiteX1" fmla="*/ 24184 w 217465"/>
                <a:gd name="connsiteY1" fmla="*/ 103738 h 331848"/>
                <a:gd name="connsiteX2" fmla="*/ 31093 w 217465"/>
                <a:gd name="connsiteY2" fmla="*/ 107193 h 331848"/>
                <a:gd name="connsiteX3" fmla="*/ 34548 w 217465"/>
                <a:gd name="connsiteY3" fmla="*/ 131376 h 331848"/>
                <a:gd name="connsiteX4" fmla="*/ 24184 w 217465"/>
                <a:gd name="connsiteY4" fmla="*/ 141741 h 331848"/>
                <a:gd name="connsiteX5" fmla="*/ 27638 w 217465"/>
                <a:gd name="connsiteY5" fmla="*/ 155560 h 331848"/>
                <a:gd name="connsiteX6" fmla="*/ 55183 w 217465"/>
                <a:gd name="connsiteY6" fmla="*/ 159015 h 331848"/>
                <a:gd name="connsiteX7" fmla="*/ 65548 w 217465"/>
                <a:gd name="connsiteY7" fmla="*/ 145195 h 331848"/>
                <a:gd name="connsiteX8" fmla="*/ 75912 w 217465"/>
                <a:gd name="connsiteY8" fmla="*/ 148650 h 331848"/>
                <a:gd name="connsiteX9" fmla="*/ 65548 w 217465"/>
                <a:gd name="connsiteY9" fmla="*/ 162469 h 331848"/>
                <a:gd name="connsiteX10" fmla="*/ 89732 w 217465"/>
                <a:gd name="connsiteY10" fmla="*/ 176289 h 331848"/>
                <a:gd name="connsiteX11" fmla="*/ 82822 w 217465"/>
                <a:gd name="connsiteY11" fmla="*/ 193563 h 331848"/>
                <a:gd name="connsiteX12" fmla="*/ 82822 w 217465"/>
                <a:gd name="connsiteY12" fmla="*/ 210837 h 331848"/>
                <a:gd name="connsiteX13" fmla="*/ 41457 w 217465"/>
                <a:gd name="connsiteY13" fmla="*/ 207382 h 331848"/>
                <a:gd name="connsiteX14" fmla="*/ 41457 w 217465"/>
                <a:gd name="connsiteY14" fmla="*/ 221201 h 331848"/>
                <a:gd name="connsiteX15" fmla="*/ 58638 w 217465"/>
                <a:gd name="connsiteY15" fmla="*/ 224656 h 331848"/>
                <a:gd name="connsiteX16" fmla="*/ 58638 w 217465"/>
                <a:gd name="connsiteY16" fmla="*/ 235020 h 331848"/>
                <a:gd name="connsiteX17" fmla="*/ 44912 w 217465"/>
                <a:gd name="connsiteY17" fmla="*/ 245478 h 331848"/>
                <a:gd name="connsiteX18" fmla="*/ 31093 w 217465"/>
                <a:gd name="connsiteY18" fmla="*/ 255843 h 331848"/>
                <a:gd name="connsiteX19" fmla="*/ 17274 w 217465"/>
                <a:gd name="connsiteY19" fmla="*/ 266207 h 331848"/>
                <a:gd name="connsiteX20" fmla="*/ 24184 w 217465"/>
                <a:gd name="connsiteY20" fmla="*/ 273117 h 331848"/>
                <a:gd name="connsiteX21" fmla="*/ 41457 w 217465"/>
                <a:gd name="connsiteY21" fmla="*/ 266207 h 331848"/>
                <a:gd name="connsiteX22" fmla="*/ 51729 w 217465"/>
                <a:gd name="connsiteY22" fmla="*/ 273117 h 331848"/>
                <a:gd name="connsiteX23" fmla="*/ 65548 w 217465"/>
                <a:gd name="connsiteY23" fmla="*/ 273117 h 331848"/>
                <a:gd name="connsiteX24" fmla="*/ 82822 w 217465"/>
                <a:gd name="connsiteY24" fmla="*/ 276572 h 331848"/>
                <a:gd name="connsiteX25" fmla="*/ 96641 w 217465"/>
                <a:gd name="connsiteY25" fmla="*/ 266207 h 331848"/>
                <a:gd name="connsiteX26" fmla="*/ 93186 w 217465"/>
                <a:gd name="connsiteY26" fmla="*/ 280026 h 331848"/>
                <a:gd name="connsiteX27" fmla="*/ 79367 w 217465"/>
                <a:gd name="connsiteY27" fmla="*/ 283481 h 331848"/>
                <a:gd name="connsiteX28" fmla="*/ 58638 w 217465"/>
                <a:gd name="connsiteY28" fmla="*/ 283481 h 331848"/>
                <a:gd name="connsiteX29" fmla="*/ 41457 w 217465"/>
                <a:gd name="connsiteY29" fmla="*/ 297300 h 331848"/>
                <a:gd name="connsiteX30" fmla="*/ 10364 w 217465"/>
                <a:gd name="connsiteY30" fmla="*/ 324939 h 331848"/>
                <a:gd name="connsiteX31" fmla="*/ 17274 w 217465"/>
                <a:gd name="connsiteY31" fmla="*/ 331848 h 331848"/>
                <a:gd name="connsiteX32" fmla="*/ 38003 w 217465"/>
                <a:gd name="connsiteY32" fmla="*/ 318029 h 331848"/>
                <a:gd name="connsiteX33" fmla="*/ 65548 w 217465"/>
                <a:gd name="connsiteY33" fmla="*/ 318029 h 331848"/>
                <a:gd name="connsiteX34" fmla="*/ 65548 w 217465"/>
                <a:gd name="connsiteY34" fmla="*/ 304210 h 331848"/>
                <a:gd name="connsiteX35" fmla="*/ 79367 w 217465"/>
                <a:gd name="connsiteY35" fmla="*/ 304210 h 331848"/>
                <a:gd name="connsiteX36" fmla="*/ 165737 w 217465"/>
                <a:gd name="connsiteY36" fmla="*/ 304210 h 331848"/>
                <a:gd name="connsiteX37" fmla="*/ 186373 w 217465"/>
                <a:gd name="connsiteY37" fmla="*/ 297300 h 331848"/>
                <a:gd name="connsiteX38" fmla="*/ 200192 w 217465"/>
                <a:gd name="connsiteY38" fmla="*/ 286936 h 331848"/>
                <a:gd name="connsiteX39" fmla="*/ 186373 w 217465"/>
                <a:gd name="connsiteY39" fmla="*/ 280026 h 331848"/>
                <a:gd name="connsiteX40" fmla="*/ 176102 w 217465"/>
                <a:gd name="connsiteY40" fmla="*/ 276572 h 331848"/>
                <a:gd name="connsiteX41" fmla="*/ 189828 w 217465"/>
                <a:gd name="connsiteY41" fmla="*/ 266207 h 331848"/>
                <a:gd name="connsiteX42" fmla="*/ 207102 w 217465"/>
                <a:gd name="connsiteY42" fmla="*/ 255843 h 331848"/>
                <a:gd name="connsiteX43" fmla="*/ 217466 w 217465"/>
                <a:gd name="connsiteY43" fmla="*/ 238475 h 331848"/>
                <a:gd name="connsiteX44" fmla="*/ 200192 w 217465"/>
                <a:gd name="connsiteY44" fmla="*/ 224656 h 331848"/>
                <a:gd name="connsiteX45" fmla="*/ 182918 w 217465"/>
                <a:gd name="connsiteY45" fmla="*/ 228111 h 331848"/>
                <a:gd name="connsiteX46" fmla="*/ 169192 w 217465"/>
                <a:gd name="connsiteY46" fmla="*/ 224656 h 331848"/>
                <a:gd name="connsiteX47" fmla="*/ 162282 w 217465"/>
                <a:gd name="connsiteY47" fmla="*/ 203927 h 331848"/>
                <a:gd name="connsiteX48" fmla="*/ 158828 w 217465"/>
                <a:gd name="connsiteY48" fmla="*/ 190108 h 331848"/>
                <a:gd name="connsiteX49" fmla="*/ 145009 w 217465"/>
                <a:gd name="connsiteY49" fmla="*/ 169379 h 331848"/>
                <a:gd name="connsiteX50" fmla="*/ 124280 w 217465"/>
                <a:gd name="connsiteY50" fmla="*/ 155560 h 331848"/>
                <a:gd name="connsiteX51" fmla="*/ 120825 w 217465"/>
                <a:gd name="connsiteY51" fmla="*/ 134831 h 331848"/>
                <a:gd name="connsiteX52" fmla="*/ 113915 w 217465"/>
                <a:gd name="connsiteY52" fmla="*/ 117557 h 331848"/>
                <a:gd name="connsiteX53" fmla="*/ 89732 w 217465"/>
                <a:gd name="connsiteY53" fmla="*/ 114102 h 331848"/>
                <a:gd name="connsiteX54" fmla="*/ 72457 w 217465"/>
                <a:gd name="connsiteY54" fmla="*/ 121012 h 331848"/>
                <a:gd name="connsiteX55" fmla="*/ 62093 w 217465"/>
                <a:gd name="connsiteY55" fmla="*/ 114102 h 331848"/>
                <a:gd name="connsiteX56" fmla="*/ 69003 w 217465"/>
                <a:gd name="connsiteY56" fmla="*/ 100283 h 331848"/>
                <a:gd name="connsiteX57" fmla="*/ 82822 w 217465"/>
                <a:gd name="connsiteY57" fmla="*/ 86464 h 331848"/>
                <a:gd name="connsiteX58" fmla="*/ 103551 w 217465"/>
                <a:gd name="connsiteY58" fmla="*/ 65641 h 331848"/>
                <a:gd name="connsiteX59" fmla="*/ 110460 w 217465"/>
                <a:gd name="connsiteY59" fmla="*/ 44912 h 331848"/>
                <a:gd name="connsiteX60" fmla="*/ 48367 w 217465"/>
                <a:gd name="connsiteY60" fmla="*/ 44912 h 331848"/>
                <a:gd name="connsiteX61" fmla="*/ 75912 w 217465"/>
                <a:gd name="connsiteY61" fmla="*/ 3455 h 331848"/>
                <a:gd name="connsiteX62" fmla="*/ 27638 w 217465"/>
                <a:gd name="connsiteY62" fmla="*/ 0 h 331848"/>
                <a:gd name="connsiteX63" fmla="*/ 20729 w 217465"/>
                <a:gd name="connsiteY63" fmla="*/ 34548 h 331848"/>
                <a:gd name="connsiteX64" fmla="*/ 3455 w 217465"/>
                <a:gd name="connsiteY64" fmla="*/ 34548 h 331848"/>
                <a:gd name="connsiteX65" fmla="*/ 0 w 217465"/>
                <a:gd name="connsiteY65" fmla="*/ 62187 h 331848"/>
                <a:gd name="connsiteX66" fmla="*/ 6910 w 217465"/>
                <a:gd name="connsiteY66" fmla="*/ 76099 h 331848"/>
                <a:gd name="connsiteX67" fmla="*/ 17274 w 217465"/>
                <a:gd name="connsiteY67" fmla="*/ 83009 h 331848"/>
                <a:gd name="connsiteX68" fmla="*/ 0 w 217465"/>
                <a:gd name="connsiteY68" fmla="*/ 103738 h 331848"/>
                <a:gd name="connsiteX69" fmla="*/ 10364 w 217465"/>
                <a:gd name="connsiteY69" fmla="*/ 110647 h 33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17465" h="331848">
                  <a:moveTo>
                    <a:pt x="10364" y="110647"/>
                  </a:moveTo>
                  <a:lnTo>
                    <a:pt x="24184" y="103738"/>
                  </a:lnTo>
                  <a:lnTo>
                    <a:pt x="31093" y="107193"/>
                  </a:lnTo>
                  <a:lnTo>
                    <a:pt x="34548" y="131376"/>
                  </a:lnTo>
                  <a:lnTo>
                    <a:pt x="24184" y="141741"/>
                  </a:lnTo>
                  <a:lnTo>
                    <a:pt x="27638" y="155560"/>
                  </a:lnTo>
                  <a:lnTo>
                    <a:pt x="55183" y="159015"/>
                  </a:lnTo>
                  <a:lnTo>
                    <a:pt x="65548" y="145195"/>
                  </a:lnTo>
                  <a:lnTo>
                    <a:pt x="75912" y="148650"/>
                  </a:lnTo>
                  <a:lnTo>
                    <a:pt x="65548" y="162469"/>
                  </a:lnTo>
                  <a:lnTo>
                    <a:pt x="89732" y="176289"/>
                  </a:lnTo>
                  <a:lnTo>
                    <a:pt x="82822" y="193563"/>
                  </a:lnTo>
                  <a:lnTo>
                    <a:pt x="82822" y="210837"/>
                  </a:lnTo>
                  <a:lnTo>
                    <a:pt x="41457" y="207382"/>
                  </a:lnTo>
                  <a:lnTo>
                    <a:pt x="41457" y="221201"/>
                  </a:lnTo>
                  <a:lnTo>
                    <a:pt x="58638" y="224656"/>
                  </a:lnTo>
                  <a:lnTo>
                    <a:pt x="58638" y="235020"/>
                  </a:lnTo>
                  <a:lnTo>
                    <a:pt x="44912" y="245478"/>
                  </a:lnTo>
                  <a:lnTo>
                    <a:pt x="31093" y="255843"/>
                  </a:lnTo>
                  <a:lnTo>
                    <a:pt x="17274" y="266207"/>
                  </a:lnTo>
                  <a:lnTo>
                    <a:pt x="24184" y="273117"/>
                  </a:lnTo>
                  <a:lnTo>
                    <a:pt x="41457" y="266207"/>
                  </a:lnTo>
                  <a:lnTo>
                    <a:pt x="51729" y="273117"/>
                  </a:lnTo>
                  <a:lnTo>
                    <a:pt x="65548" y="273117"/>
                  </a:lnTo>
                  <a:lnTo>
                    <a:pt x="82822" y="276572"/>
                  </a:lnTo>
                  <a:lnTo>
                    <a:pt x="96641" y="266207"/>
                  </a:lnTo>
                  <a:lnTo>
                    <a:pt x="93186" y="280026"/>
                  </a:lnTo>
                  <a:lnTo>
                    <a:pt x="79367" y="283481"/>
                  </a:lnTo>
                  <a:lnTo>
                    <a:pt x="58638" y="283481"/>
                  </a:lnTo>
                  <a:lnTo>
                    <a:pt x="41457" y="297300"/>
                  </a:lnTo>
                  <a:lnTo>
                    <a:pt x="10364" y="324939"/>
                  </a:lnTo>
                  <a:lnTo>
                    <a:pt x="17274" y="331848"/>
                  </a:lnTo>
                  <a:lnTo>
                    <a:pt x="38003" y="318029"/>
                  </a:lnTo>
                  <a:lnTo>
                    <a:pt x="65548" y="318029"/>
                  </a:lnTo>
                  <a:lnTo>
                    <a:pt x="65548" y="304210"/>
                  </a:lnTo>
                  <a:lnTo>
                    <a:pt x="79367" y="304210"/>
                  </a:lnTo>
                  <a:lnTo>
                    <a:pt x="165737" y="304210"/>
                  </a:lnTo>
                  <a:lnTo>
                    <a:pt x="186373" y="297300"/>
                  </a:lnTo>
                  <a:lnTo>
                    <a:pt x="200192" y="286936"/>
                  </a:lnTo>
                  <a:lnTo>
                    <a:pt x="186373" y="280026"/>
                  </a:lnTo>
                  <a:lnTo>
                    <a:pt x="176102" y="276572"/>
                  </a:lnTo>
                  <a:lnTo>
                    <a:pt x="189828" y="266207"/>
                  </a:lnTo>
                  <a:lnTo>
                    <a:pt x="207102" y="255843"/>
                  </a:lnTo>
                  <a:lnTo>
                    <a:pt x="217466" y="238475"/>
                  </a:lnTo>
                  <a:lnTo>
                    <a:pt x="200192" y="224656"/>
                  </a:lnTo>
                  <a:lnTo>
                    <a:pt x="182918" y="228111"/>
                  </a:lnTo>
                  <a:lnTo>
                    <a:pt x="169192" y="224656"/>
                  </a:lnTo>
                  <a:lnTo>
                    <a:pt x="162282" y="203927"/>
                  </a:lnTo>
                  <a:lnTo>
                    <a:pt x="158828" y="190108"/>
                  </a:lnTo>
                  <a:lnTo>
                    <a:pt x="145009" y="169379"/>
                  </a:lnTo>
                  <a:lnTo>
                    <a:pt x="124280" y="155560"/>
                  </a:lnTo>
                  <a:lnTo>
                    <a:pt x="120825" y="134831"/>
                  </a:lnTo>
                  <a:lnTo>
                    <a:pt x="113915" y="117557"/>
                  </a:lnTo>
                  <a:lnTo>
                    <a:pt x="89732" y="114102"/>
                  </a:lnTo>
                  <a:lnTo>
                    <a:pt x="72457" y="121012"/>
                  </a:lnTo>
                  <a:lnTo>
                    <a:pt x="62093" y="114102"/>
                  </a:lnTo>
                  <a:lnTo>
                    <a:pt x="69003" y="100283"/>
                  </a:lnTo>
                  <a:lnTo>
                    <a:pt x="82822" y="86464"/>
                  </a:lnTo>
                  <a:lnTo>
                    <a:pt x="103551" y="65641"/>
                  </a:lnTo>
                  <a:lnTo>
                    <a:pt x="110460" y="44912"/>
                  </a:lnTo>
                  <a:lnTo>
                    <a:pt x="48367" y="44912"/>
                  </a:lnTo>
                  <a:lnTo>
                    <a:pt x="75912" y="3455"/>
                  </a:lnTo>
                  <a:lnTo>
                    <a:pt x="27638" y="0"/>
                  </a:lnTo>
                  <a:lnTo>
                    <a:pt x="20729" y="34548"/>
                  </a:lnTo>
                  <a:lnTo>
                    <a:pt x="3455" y="34548"/>
                  </a:lnTo>
                  <a:lnTo>
                    <a:pt x="0" y="62187"/>
                  </a:lnTo>
                  <a:lnTo>
                    <a:pt x="6910" y="76099"/>
                  </a:lnTo>
                  <a:lnTo>
                    <a:pt x="17274" y="83009"/>
                  </a:lnTo>
                  <a:lnTo>
                    <a:pt x="0" y="103738"/>
                  </a:lnTo>
                  <a:lnTo>
                    <a:pt x="10364" y="110647"/>
                  </a:lnTo>
                  <a:close/>
                </a:path>
              </a:pathLst>
            </a:custGeom>
            <a:solidFill>
              <a:srgbClr val="CEE3BF"/>
            </a:solidFill>
            <a:ln w="9334" cap="flat">
              <a:noFill/>
              <a:prstDash val="solid"/>
              <a:miter/>
            </a:ln>
          </p:spPr>
          <p:txBody>
            <a:bodyPr rtlCol="0" anchor="ctr"/>
            <a:lstStyle/>
            <a:p>
              <a:endParaRPr lang="en-GB" dirty="0"/>
            </a:p>
          </p:txBody>
        </p:sp>
        <p:sp>
          <p:nvSpPr>
            <p:cNvPr id="1289" name="Freeform: Shape 1288">
              <a:extLst>
                <a:ext uri="{FF2B5EF4-FFF2-40B4-BE49-F238E27FC236}">
                  <a16:creationId xmlns:a16="http://schemas.microsoft.com/office/drawing/2014/main" id="{32990129-DF6D-4B2C-B6E0-7C30D9FFD14C}"/>
                </a:ext>
              </a:extLst>
            </p:cNvPr>
            <p:cNvSpPr/>
            <p:nvPr/>
          </p:nvSpPr>
          <p:spPr>
            <a:xfrm>
              <a:off x="6791280" y="3613671"/>
              <a:ext cx="569670" cy="463224"/>
            </a:xfrm>
            <a:custGeom>
              <a:avLst/>
              <a:gdLst>
                <a:gd name="connsiteX0" fmla="*/ 521303 w 569670"/>
                <a:gd name="connsiteY0" fmla="*/ 283388 h 463224"/>
                <a:gd name="connsiteX1" fmla="*/ 500574 w 569670"/>
                <a:gd name="connsiteY1" fmla="*/ 276478 h 463224"/>
                <a:gd name="connsiteX2" fmla="*/ 486755 w 569670"/>
                <a:gd name="connsiteY2" fmla="*/ 273023 h 463224"/>
                <a:gd name="connsiteX3" fmla="*/ 462664 w 569670"/>
                <a:gd name="connsiteY3" fmla="*/ 245385 h 463224"/>
                <a:gd name="connsiteX4" fmla="*/ 448845 w 569670"/>
                <a:gd name="connsiteY4" fmla="*/ 228111 h 463224"/>
                <a:gd name="connsiteX5" fmla="*/ 441936 w 569670"/>
                <a:gd name="connsiteY5" fmla="*/ 221201 h 463224"/>
                <a:gd name="connsiteX6" fmla="*/ 428116 w 569670"/>
                <a:gd name="connsiteY6" fmla="*/ 203927 h 463224"/>
                <a:gd name="connsiteX7" fmla="*/ 421206 w 569670"/>
                <a:gd name="connsiteY7" fmla="*/ 190108 h 463224"/>
                <a:gd name="connsiteX8" fmla="*/ 417752 w 569670"/>
                <a:gd name="connsiteY8" fmla="*/ 165924 h 463224"/>
                <a:gd name="connsiteX9" fmla="*/ 403933 w 569670"/>
                <a:gd name="connsiteY9" fmla="*/ 152105 h 463224"/>
                <a:gd name="connsiteX10" fmla="*/ 390114 w 569670"/>
                <a:gd name="connsiteY10" fmla="*/ 141741 h 463224"/>
                <a:gd name="connsiteX11" fmla="*/ 372839 w 569670"/>
                <a:gd name="connsiteY11" fmla="*/ 107099 h 463224"/>
                <a:gd name="connsiteX12" fmla="*/ 359020 w 569670"/>
                <a:gd name="connsiteY12" fmla="*/ 107099 h 463224"/>
                <a:gd name="connsiteX13" fmla="*/ 345200 w 569670"/>
                <a:gd name="connsiteY13" fmla="*/ 93280 h 463224"/>
                <a:gd name="connsiteX14" fmla="*/ 328020 w 569670"/>
                <a:gd name="connsiteY14" fmla="*/ 89825 h 463224"/>
                <a:gd name="connsiteX15" fmla="*/ 300381 w 569670"/>
                <a:gd name="connsiteY15" fmla="*/ 89825 h 463224"/>
                <a:gd name="connsiteX16" fmla="*/ 272743 w 569670"/>
                <a:gd name="connsiteY16" fmla="*/ 89825 h 463224"/>
                <a:gd name="connsiteX17" fmla="*/ 248559 w 569670"/>
                <a:gd name="connsiteY17" fmla="*/ 72551 h 463224"/>
                <a:gd name="connsiteX18" fmla="*/ 234740 w 569670"/>
                <a:gd name="connsiteY18" fmla="*/ 69096 h 463224"/>
                <a:gd name="connsiteX19" fmla="*/ 231286 w 569670"/>
                <a:gd name="connsiteY19" fmla="*/ 62187 h 463224"/>
                <a:gd name="connsiteX20" fmla="*/ 217466 w 569670"/>
                <a:gd name="connsiteY20" fmla="*/ 41458 h 463224"/>
                <a:gd name="connsiteX21" fmla="*/ 155373 w 569670"/>
                <a:gd name="connsiteY21" fmla="*/ 6910 h 463224"/>
                <a:gd name="connsiteX22" fmla="*/ 120825 w 569670"/>
                <a:gd name="connsiteY22" fmla="*/ 0 h 463224"/>
                <a:gd name="connsiteX23" fmla="*/ 117370 w 569670"/>
                <a:gd name="connsiteY23" fmla="*/ 10364 h 463224"/>
                <a:gd name="connsiteX24" fmla="*/ 69003 w 569670"/>
                <a:gd name="connsiteY24" fmla="*/ 17274 h 463224"/>
                <a:gd name="connsiteX25" fmla="*/ 89732 w 569670"/>
                <a:gd name="connsiteY25" fmla="*/ 44912 h 463224"/>
                <a:gd name="connsiteX26" fmla="*/ 79367 w 569670"/>
                <a:gd name="connsiteY26" fmla="*/ 55277 h 463224"/>
                <a:gd name="connsiteX27" fmla="*/ 75912 w 569670"/>
                <a:gd name="connsiteY27" fmla="*/ 65641 h 463224"/>
                <a:gd name="connsiteX28" fmla="*/ 55277 w 569670"/>
                <a:gd name="connsiteY28" fmla="*/ 69096 h 463224"/>
                <a:gd name="connsiteX29" fmla="*/ 44912 w 569670"/>
                <a:gd name="connsiteY29" fmla="*/ 82915 h 463224"/>
                <a:gd name="connsiteX30" fmla="*/ 38003 w 569670"/>
                <a:gd name="connsiteY30" fmla="*/ 89825 h 463224"/>
                <a:gd name="connsiteX31" fmla="*/ 6910 w 569670"/>
                <a:gd name="connsiteY31" fmla="*/ 79461 h 463224"/>
                <a:gd name="connsiteX32" fmla="*/ 0 w 569670"/>
                <a:gd name="connsiteY32" fmla="*/ 117464 h 463224"/>
                <a:gd name="connsiteX33" fmla="*/ 13819 w 569670"/>
                <a:gd name="connsiteY33" fmla="*/ 120918 h 463224"/>
                <a:gd name="connsiteX34" fmla="*/ 31093 w 569670"/>
                <a:gd name="connsiteY34" fmla="*/ 155560 h 463224"/>
                <a:gd name="connsiteX35" fmla="*/ 65642 w 569670"/>
                <a:gd name="connsiteY35" fmla="*/ 197017 h 463224"/>
                <a:gd name="connsiteX36" fmla="*/ 65642 w 569670"/>
                <a:gd name="connsiteY36" fmla="*/ 217746 h 463224"/>
                <a:gd name="connsiteX37" fmla="*/ 72458 w 569670"/>
                <a:gd name="connsiteY37" fmla="*/ 235020 h 463224"/>
                <a:gd name="connsiteX38" fmla="*/ 96641 w 569670"/>
                <a:gd name="connsiteY38" fmla="*/ 245385 h 463224"/>
                <a:gd name="connsiteX39" fmla="*/ 117370 w 569670"/>
                <a:gd name="connsiteY39" fmla="*/ 276478 h 463224"/>
                <a:gd name="connsiteX40" fmla="*/ 117370 w 569670"/>
                <a:gd name="connsiteY40" fmla="*/ 318029 h 463224"/>
                <a:gd name="connsiteX41" fmla="*/ 131189 w 569670"/>
                <a:gd name="connsiteY41" fmla="*/ 345668 h 463224"/>
                <a:gd name="connsiteX42" fmla="*/ 151918 w 569670"/>
                <a:gd name="connsiteY42" fmla="*/ 349122 h 463224"/>
                <a:gd name="connsiteX43" fmla="*/ 165737 w 569670"/>
                <a:gd name="connsiteY43" fmla="*/ 366396 h 463224"/>
                <a:gd name="connsiteX44" fmla="*/ 183011 w 569670"/>
                <a:gd name="connsiteY44" fmla="*/ 400945 h 463224"/>
                <a:gd name="connsiteX45" fmla="*/ 207102 w 569670"/>
                <a:gd name="connsiteY45" fmla="*/ 432038 h 463224"/>
                <a:gd name="connsiteX46" fmla="*/ 220921 w 569670"/>
                <a:gd name="connsiteY46" fmla="*/ 463224 h 463224"/>
                <a:gd name="connsiteX47" fmla="*/ 234740 w 569670"/>
                <a:gd name="connsiteY47" fmla="*/ 432038 h 463224"/>
                <a:gd name="connsiteX48" fmla="*/ 293472 w 569670"/>
                <a:gd name="connsiteY48" fmla="*/ 428583 h 463224"/>
                <a:gd name="connsiteX49" fmla="*/ 345200 w 569670"/>
                <a:gd name="connsiteY49" fmla="*/ 438947 h 463224"/>
                <a:gd name="connsiteX50" fmla="*/ 390114 w 569670"/>
                <a:gd name="connsiteY50" fmla="*/ 397490 h 463224"/>
                <a:gd name="connsiteX51" fmla="*/ 445390 w 569670"/>
                <a:gd name="connsiteY51" fmla="*/ 387125 h 463224"/>
                <a:gd name="connsiteX52" fmla="*/ 473028 w 569670"/>
                <a:gd name="connsiteY52" fmla="*/ 390580 h 463224"/>
                <a:gd name="connsiteX53" fmla="*/ 500574 w 569670"/>
                <a:gd name="connsiteY53" fmla="*/ 373306 h 463224"/>
                <a:gd name="connsiteX54" fmla="*/ 528212 w 569670"/>
                <a:gd name="connsiteY54" fmla="*/ 359487 h 463224"/>
                <a:gd name="connsiteX55" fmla="*/ 555851 w 569670"/>
                <a:gd name="connsiteY55" fmla="*/ 352577 h 463224"/>
                <a:gd name="connsiteX56" fmla="*/ 569670 w 569670"/>
                <a:gd name="connsiteY56" fmla="*/ 321484 h 463224"/>
                <a:gd name="connsiteX57" fmla="*/ 569670 w 569670"/>
                <a:gd name="connsiteY57" fmla="*/ 297300 h 463224"/>
                <a:gd name="connsiteX58" fmla="*/ 562761 w 569670"/>
                <a:gd name="connsiteY58" fmla="*/ 283388 h 463224"/>
                <a:gd name="connsiteX59" fmla="*/ 531667 w 569670"/>
                <a:gd name="connsiteY59" fmla="*/ 286843 h 463224"/>
                <a:gd name="connsiteX60" fmla="*/ 521303 w 569670"/>
                <a:gd name="connsiteY60" fmla="*/ 283388 h 463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69670" h="463224">
                  <a:moveTo>
                    <a:pt x="521303" y="283388"/>
                  </a:moveTo>
                  <a:lnTo>
                    <a:pt x="500574" y="276478"/>
                  </a:lnTo>
                  <a:lnTo>
                    <a:pt x="486755" y="273023"/>
                  </a:lnTo>
                  <a:lnTo>
                    <a:pt x="462664" y="245385"/>
                  </a:lnTo>
                  <a:lnTo>
                    <a:pt x="448845" y="228111"/>
                  </a:lnTo>
                  <a:lnTo>
                    <a:pt x="441936" y="221201"/>
                  </a:lnTo>
                  <a:lnTo>
                    <a:pt x="428116" y="203927"/>
                  </a:lnTo>
                  <a:lnTo>
                    <a:pt x="421206" y="190108"/>
                  </a:lnTo>
                  <a:lnTo>
                    <a:pt x="417752" y="165924"/>
                  </a:lnTo>
                  <a:lnTo>
                    <a:pt x="403933" y="152105"/>
                  </a:lnTo>
                  <a:lnTo>
                    <a:pt x="390114" y="141741"/>
                  </a:lnTo>
                  <a:lnTo>
                    <a:pt x="372839" y="107099"/>
                  </a:lnTo>
                  <a:lnTo>
                    <a:pt x="359020" y="107099"/>
                  </a:lnTo>
                  <a:lnTo>
                    <a:pt x="345200" y="93280"/>
                  </a:lnTo>
                  <a:lnTo>
                    <a:pt x="328020" y="89825"/>
                  </a:lnTo>
                  <a:lnTo>
                    <a:pt x="300381" y="89825"/>
                  </a:lnTo>
                  <a:lnTo>
                    <a:pt x="272743" y="89825"/>
                  </a:lnTo>
                  <a:lnTo>
                    <a:pt x="248559" y="72551"/>
                  </a:lnTo>
                  <a:lnTo>
                    <a:pt x="234740" y="69096"/>
                  </a:lnTo>
                  <a:lnTo>
                    <a:pt x="231286" y="62187"/>
                  </a:lnTo>
                  <a:lnTo>
                    <a:pt x="217466" y="41458"/>
                  </a:lnTo>
                  <a:lnTo>
                    <a:pt x="155373" y="6910"/>
                  </a:lnTo>
                  <a:lnTo>
                    <a:pt x="120825" y="0"/>
                  </a:lnTo>
                  <a:lnTo>
                    <a:pt x="117370" y="10364"/>
                  </a:lnTo>
                  <a:lnTo>
                    <a:pt x="69003" y="17274"/>
                  </a:lnTo>
                  <a:lnTo>
                    <a:pt x="89732" y="44912"/>
                  </a:lnTo>
                  <a:lnTo>
                    <a:pt x="79367" y="55277"/>
                  </a:lnTo>
                  <a:lnTo>
                    <a:pt x="75912" y="65641"/>
                  </a:lnTo>
                  <a:lnTo>
                    <a:pt x="55277" y="69096"/>
                  </a:lnTo>
                  <a:lnTo>
                    <a:pt x="44912" y="82915"/>
                  </a:lnTo>
                  <a:lnTo>
                    <a:pt x="38003" y="89825"/>
                  </a:lnTo>
                  <a:lnTo>
                    <a:pt x="6910" y="79461"/>
                  </a:lnTo>
                  <a:lnTo>
                    <a:pt x="0" y="117464"/>
                  </a:lnTo>
                  <a:lnTo>
                    <a:pt x="13819" y="120918"/>
                  </a:lnTo>
                  <a:lnTo>
                    <a:pt x="31093" y="155560"/>
                  </a:lnTo>
                  <a:lnTo>
                    <a:pt x="65642" y="197017"/>
                  </a:lnTo>
                  <a:lnTo>
                    <a:pt x="65642" y="217746"/>
                  </a:lnTo>
                  <a:lnTo>
                    <a:pt x="72458" y="235020"/>
                  </a:lnTo>
                  <a:lnTo>
                    <a:pt x="96641" y="245385"/>
                  </a:lnTo>
                  <a:lnTo>
                    <a:pt x="117370" y="276478"/>
                  </a:lnTo>
                  <a:lnTo>
                    <a:pt x="117370" y="318029"/>
                  </a:lnTo>
                  <a:lnTo>
                    <a:pt x="131189" y="345668"/>
                  </a:lnTo>
                  <a:lnTo>
                    <a:pt x="151918" y="349122"/>
                  </a:lnTo>
                  <a:lnTo>
                    <a:pt x="165737" y="366396"/>
                  </a:lnTo>
                  <a:lnTo>
                    <a:pt x="183011" y="400945"/>
                  </a:lnTo>
                  <a:lnTo>
                    <a:pt x="207102" y="432038"/>
                  </a:lnTo>
                  <a:lnTo>
                    <a:pt x="220921" y="463224"/>
                  </a:lnTo>
                  <a:lnTo>
                    <a:pt x="234740" y="432038"/>
                  </a:lnTo>
                  <a:lnTo>
                    <a:pt x="293472" y="428583"/>
                  </a:lnTo>
                  <a:lnTo>
                    <a:pt x="345200" y="438947"/>
                  </a:lnTo>
                  <a:lnTo>
                    <a:pt x="390114" y="397490"/>
                  </a:lnTo>
                  <a:lnTo>
                    <a:pt x="445390" y="387125"/>
                  </a:lnTo>
                  <a:lnTo>
                    <a:pt x="473028" y="390580"/>
                  </a:lnTo>
                  <a:lnTo>
                    <a:pt x="500574" y="373306"/>
                  </a:lnTo>
                  <a:lnTo>
                    <a:pt x="528212" y="359487"/>
                  </a:lnTo>
                  <a:lnTo>
                    <a:pt x="555851" y="352577"/>
                  </a:lnTo>
                  <a:lnTo>
                    <a:pt x="569670" y="321484"/>
                  </a:lnTo>
                  <a:lnTo>
                    <a:pt x="569670" y="297300"/>
                  </a:lnTo>
                  <a:lnTo>
                    <a:pt x="562761" y="283388"/>
                  </a:lnTo>
                  <a:lnTo>
                    <a:pt x="531667" y="286843"/>
                  </a:lnTo>
                  <a:lnTo>
                    <a:pt x="521303" y="283388"/>
                  </a:lnTo>
                  <a:close/>
                </a:path>
              </a:pathLst>
            </a:custGeom>
            <a:solidFill>
              <a:srgbClr val="CEE3BF"/>
            </a:solidFill>
            <a:ln w="9334" cap="flat">
              <a:noFill/>
              <a:prstDash val="solid"/>
              <a:miter/>
            </a:ln>
          </p:spPr>
          <p:txBody>
            <a:bodyPr rtlCol="0" anchor="ctr"/>
            <a:lstStyle/>
            <a:p>
              <a:endParaRPr lang="en-GB" dirty="0"/>
            </a:p>
          </p:txBody>
        </p:sp>
        <p:sp>
          <p:nvSpPr>
            <p:cNvPr id="1290" name="Freeform: Shape 1289">
              <a:extLst>
                <a:ext uri="{FF2B5EF4-FFF2-40B4-BE49-F238E27FC236}">
                  <a16:creationId xmlns:a16="http://schemas.microsoft.com/office/drawing/2014/main" id="{4AA4F736-B3BF-4A8D-B495-A36BC2F7237E}"/>
                </a:ext>
              </a:extLst>
            </p:cNvPr>
            <p:cNvSpPr/>
            <p:nvPr/>
          </p:nvSpPr>
          <p:spPr>
            <a:xfrm>
              <a:off x="6108068" y="2817478"/>
              <a:ext cx="29412" cy="21849"/>
            </a:xfrm>
            <a:custGeom>
              <a:avLst/>
              <a:gdLst>
                <a:gd name="connsiteX0" fmla="*/ 12512 w 29412"/>
                <a:gd name="connsiteY0" fmla="*/ 0 h 21849"/>
                <a:gd name="connsiteX1" fmla="*/ 0 w 29412"/>
                <a:gd name="connsiteY1" fmla="*/ 5136 h 21849"/>
                <a:gd name="connsiteX2" fmla="*/ 8777 w 29412"/>
                <a:gd name="connsiteY2" fmla="*/ 19328 h 21849"/>
                <a:gd name="connsiteX3" fmla="*/ 19981 w 29412"/>
                <a:gd name="connsiteY3" fmla="*/ 21849 h 21849"/>
                <a:gd name="connsiteX4" fmla="*/ 29412 w 29412"/>
                <a:gd name="connsiteY4" fmla="*/ 14286 h 21849"/>
                <a:gd name="connsiteX5" fmla="*/ 12512 w 29412"/>
                <a:gd name="connsiteY5" fmla="*/ 0 h 2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12" h="21849">
                  <a:moveTo>
                    <a:pt x="12512" y="0"/>
                  </a:moveTo>
                  <a:lnTo>
                    <a:pt x="0" y="5136"/>
                  </a:lnTo>
                  <a:lnTo>
                    <a:pt x="8777" y="19328"/>
                  </a:lnTo>
                  <a:lnTo>
                    <a:pt x="19981" y="21849"/>
                  </a:lnTo>
                  <a:lnTo>
                    <a:pt x="29412" y="14286"/>
                  </a:lnTo>
                  <a:lnTo>
                    <a:pt x="12512" y="0"/>
                  </a:lnTo>
                  <a:close/>
                </a:path>
              </a:pathLst>
            </a:custGeom>
            <a:solidFill>
              <a:srgbClr val="CEE3BF"/>
            </a:solidFill>
            <a:ln w="9334" cap="flat">
              <a:noFill/>
              <a:prstDash val="solid"/>
              <a:miter/>
            </a:ln>
          </p:spPr>
          <p:txBody>
            <a:bodyPr rtlCol="0" anchor="ctr"/>
            <a:lstStyle/>
            <a:p>
              <a:endParaRPr lang="en-GB" dirty="0"/>
            </a:p>
          </p:txBody>
        </p:sp>
        <p:sp>
          <p:nvSpPr>
            <p:cNvPr id="1291" name="Freeform: Shape 1290">
              <a:extLst>
                <a:ext uri="{FF2B5EF4-FFF2-40B4-BE49-F238E27FC236}">
                  <a16:creationId xmlns:a16="http://schemas.microsoft.com/office/drawing/2014/main" id="{33CD8483-C4B4-4D2D-8C11-F5B4317CD13E}"/>
                </a:ext>
              </a:extLst>
            </p:cNvPr>
            <p:cNvSpPr/>
            <p:nvPr/>
          </p:nvSpPr>
          <p:spPr>
            <a:xfrm>
              <a:off x="6131225" y="2836340"/>
              <a:ext cx="8123" cy="14659"/>
            </a:xfrm>
            <a:custGeom>
              <a:avLst/>
              <a:gdLst>
                <a:gd name="connsiteX0" fmla="*/ 8123 w 8123"/>
                <a:gd name="connsiteY0" fmla="*/ 0 h 14659"/>
                <a:gd name="connsiteX1" fmla="*/ 0 w 8123"/>
                <a:gd name="connsiteY1" fmla="*/ 6536 h 14659"/>
                <a:gd name="connsiteX2" fmla="*/ 0 w 8123"/>
                <a:gd name="connsiteY2" fmla="*/ 14660 h 14659"/>
                <a:gd name="connsiteX3" fmla="*/ 5602 w 8123"/>
                <a:gd name="connsiteY3" fmla="*/ 10645 h 14659"/>
                <a:gd name="connsiteX4" fmla="*/ 8123 w 8123"/>
                <a:gd name="connsiteY4" fmla="*/ 0 h 14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3" h="14659">
                  <a:moveTo>
                    <a:pt x="8123" y="0"/>
                  </a:moveTo>
                  <a:lnTo>
                    <a:pt x="0" y="6536"/>
                  </a:lnTo>
                  <a:lnTo>
                    <a:pt x="0" y="14660"/>
                  </a:lnTo>
                  <a:lnTo>
                    <a:pt x="5602" y="10645"/>
                  </a:lnTo>
                  <a:lnTo>
                    <a:pt x="8123" y="0"/>
                  </a:lnTo>
                  <a:close/>
                </a:path>
              </a:pathLst>
            </a:custGeom>
            <a:solidFill>
              <a:srgbClr val="CEE3BF"/>
            </a:solidFill>
            <a:ln w="9334" cap="flat">
              <a:noFill/>
              <a:prstDash val="solid"/>
              <a:miter/>
            </a:ln>
          </p:spPr>
          <p:txBody>
            <a:bodyPr rtlCol="0" anchor="ctr"/>
            <a:lstStyle/>
            <a:p>
              <a:endParaRPr lang="en-GB" dirty="0"/>
            </a:p>
          </p:txBody>
        </p:sp>
        <p:sp>
          <p:nvSpPr>
            <p:cNvPr id="1292" name="Freeform: Shape 1291">
              <a:extLst>
                <a:ext uri="{FF2B5EF4-FFF2-40B4-BE49-F238E27FC236}">
                  <a16:creationId xmlns:a16="http://schemas.microsoft.com/office/drawing/2014/main" id="{C0F4F781-0C3F-4618-BE1F-8AD9C788976A}"/>
                </a:ext>
              </a:extLst>
            </p:cNvPr>
            <p:cNvSpPr/>
            <p:nvPr/>
          </p:nvSpPr>
          <p:spPr>
            <a:xfrm>
              <a:off x="6144297" y="2845397"/>
              <a:ext cx="16900" cy="7096"/>
            </a:xfrm>
            <a:custGeom>
              <a:avLst/>
              <a:gdLst>
                <a:gd name="connsiteX0" fmla="*/ 1307 w 16900"/>
                <a:gd name="connsiteY0" fmla="*/ 5602 h 7096"/>
                <a:gd name="connsiteX1" fmla="*/ 16901 w 16900"/>
                <a:gd name="connsiteY1" fmla="*/ 7096 h 7096"/>
                <a:gd name="connsiteX2" fmla="*/ 13165 w 16900"/>
                <a:gd name="connsiteY2" fmla="*/ 1027 h 7096"/>
                <a:gd name="connsiteX3" fmla="*/ 0 w 16900"/>
                <a:gd name="connsiteY3" fmla="*/ 0 h 7096"/>
                <a:gd name="connsiteX4" fmla="*/ 1307 w 16900"/>
                <a:gd name="connsiteY4" fmla="*/ 5602 h 7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0" h="7096">
                  <a:moveTo>
                    <a:pt x="1307" y="5602"/>
                  </a:moveTo>
                  <a:lnTo>
                    <a:pt x="16901" y="7096"/>
                  </a:lnTo>
                  <a:lnTo>
                    <a:pt x="13165" y="1027"/>
                  </a:lnTo>
                  <a:lnTo>
                    <a:pt x="0" y="0"/>
                  </a:lnTo>
                  <a:lnTo>
                    <a:pt x="1307" y="5602"/>
                  </a:lnTo>
                  <a:close/>
                </a:path>
              </a:pathLst>
            </a:custGeom>
            <a:solidFill>
              <a:srgbClr val="CEE3BF"/>
            </a:solidFill>
            <a:ln w="9334" cap="flat">
              <a:noFill/>
              <a:prstDash val="solid"/>
              <a:miter/>
            </a:ln>
          </p:spPr>
          <p:txBody>
            <a:bodyPr rtlCol="0" anchor="ctr"/>
            <a:lstStyle/>
            <a:p>
              <a:endParaRPr lang="en-GB" dirty="0"/>
            </a:p>
          </p:txBody>
        </p:sp>
        <p:sp>
          <p:nvSpPr>
            <p:cNvPr id="1293" name="Freeform: Shape 1292">
              <a:extLst>
                <a:ext uri="{FF2B5EF4-FFF2-40B4-BE49-F238E27FC236}">
                  <a16:creationId xmlns:a16="http://schemas.microsoft.com/office/drawing/2014/main" id="{74F3BEC7-8167-440F-AE2D-84AE0BD98358}"/>
                </a:ext>
              </a:extLst>
            </p:cNvPr>
            <p:cNvSpPr/>
            <p:nvPr/>
          </p:nvSpPr>
          <p:spPr>
            <a:xfrm>
              <a:off x="6161851" y="2844930"/>
              <a:ext cx="8123" cy="7096"/>
            </a:xfrm>
            <a:custGeom>
              <a:avLst/>
              <a:gdLst>
                <a:gd name="connsiteX0" fmla="*/ 0 w 8123"/>
                <a:gd name="connsiteY0" fmla="*/ 1027 h 7096"/>
                <a:gd name="connsiteX1" fmla="*/ 3828 w 8123"/>
                <a:gd name="connsiteY1" fmla="*/ 7096 h 7096"/>
                <a:gd name="connsiteX2" fmla="*/ 8123 w 8123"/>
                <a:gd name="connsiteY2" fmla="*/ 3548 h 7096"/>
                <a:gd name="connsiteX3" fmla="*/ 8123 w 8123"/>
                <a:gd name="connsiteY3" fmla="*/ 467 h 7096"/>
                <a:gd name="connsiteX4" fmla="*/ 1867 w 8123"/>
                <a:gd name="connsiteY4" fmla="*/ 0 h 7096"/>
                <a:gd name="connsiteX5" fmla="*/ 0 w 8123"/>
                <a:gd name="connsiteY5" fmla="*/ 1027 h 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3" h="7096">
                  <a:moveTo>
                    <a:pt x="0" y="1027"/>
                  </a:moveTo>
                  <a:lnTo>
                    <a:pt x="3828" y="7096"/>
                  </a:lnTo>
                  <a:lnTo>
                    <a:pt x="8123" y="3548"/>
                  </a:lnTo>
                  <a:lnTo>
                    <a:pt x="8123" y="467"/>
                  </a:lnTo>
                  <a:lnTo>
                    <a:pt x="1867" y="0"/>
                  </a:lnTo>
                  <a:lnTo>
                    <a:pt x="0" y="1027"/>
                  </a:lnTo>
                  <a:close/>
                </a:path>
              </a:pathLst>
            </a:custGeom>
            <a:solidFill>
              <a:srgbClr val="CEE3BF"/>
            </a:solidFill>
            <a:ln w="9334" cap="flat">
              <a:noFill/>
              <a:prstDash val="solid"/>
              <a:miter/>
            </a:ln>
          </p:spPr>
          <p:txBody>
            <a:bodyPr rtlCol="0" anchor="ctr"/>
            <a:lstStyle/>
            <a:p>
              <a:endParaRPr lang="en-GB" dirty="0"/>
            </a:p>
          </p:txBody>
        </p:sp>
        <p:sp>
          <p:nvSpPr>
            <p:cNvPr id="1294" name="Freeform: Shape 1293">
              <a:extLst>
                <a:ext uri="{FF2B5EF4-FFF2-40B4-BE49-F238E27FC236}">
                  <a16:creationId xmlns:a16="http://schemas.microsoft.com/office/drawing/2014/main" id="{8213B279-13AE-4291-8A9E-05FEC1F4FCF6}"/>
                </a:ext>
              </a:extLst>
            </p:cNvPr>
            <p:cNvSpPr/>
            <p:nvPr/>
          </p:nvSpPr>
          <p:spPr>
            <a:xfrm>
              <a:off x="6173149" y="2839888"/>
              <a:ext cx="11858" cy="5508"/>
            </a:xfrm>
            <a:custGeom>
              <a:avLst/>
              <a:gdLst>
                <a:gd name="connsiteX0" fmla="*/ 0 w 11858"/>
                <a:gd name="connsiteY0" fmla="*/ 2988 h 5508"/>
                <a:gd name="connsiteX1" fmla="*/ 654 w 11858"/>
                <a:gd name="connsiteY1" fmla="*/ 5509 h 5508"/>
                <a:gd name="connsiteX2" fmla="*/ 11859 w 11858"/>
                <a:gd name="connsiteY2" fmla="*/ 3548 h 5508"/>
                <a:gd name="connsiteX3" fmla="*/ 8777 w 11858"/>
                <a:gd name="connsiteY3" fmla="*/ 0 h 5508"/>
                <a:gd name="connsiteX4" fmla="*/ 0 w 11858"/>
                <a:gd name="connsiteY4" fmla="*/ 2988 h 5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58" h="5508">
                  <a:moveTo>
                    <a:pt x="0" y="2988"/>
                  </a:moveTo>
                  <a:lnTo>
                    <a:pt x="654" y="5509"/>
                  </a:lnTo>
                  <a:lnTo>
                    <a:pt x="11859" y="3548"/>
                  </a:lnTo>
                  <a:lnTo>
                    <a:pt x="8777" y="0"/>
                  </a:lnTo>
                  <a:lnTo>
                    <a:pt x="0" y="2988"/>
                  </a:lnTo>
                  <a:close/>
                </a:path>
              </a:pathLst>
            </a:custGeom>
            <a:solidFill>
              <a:srgbClr val="CEE3BF"/>
            </a:solidFill>
            <a:ln w="9334" cap="flat">
              <a:noFill/>
              <a:prstDash val="solid"/>
              <a:miter/>
            </a:ln>
          </p:spPr>
          <p:txBody>
            <a:bodyPr rtlCol="0" anchor="ctr"/>
            <a:lstStyle/>
            <a:p>
              <a:endParaRPr lang="en-GB" dirty="0"/>
            </a:p>
          </p:txBody>
        </p:sp>
        <p:sp>
          <p:nvSpPr>
            <p:cNvPr id="1295" name="Freeform: Shape 1294">
              <a:extLst>
                <a:ext uri="{FF2B5EF4-FFF2-40B4-BE49-F238E27FC236}">
                  <a16:creationId xmlns:a16="http://schemas.microsoft.com/office/drawing/2014/main" id="{6AECF169-456B-499B-96DF-46E71699A343}"/>
                </a:ext>
              </a:extLst>
            </p:cNvPr>
            <p:cNvSpPr/>
            <p:nvPr/>
          </p:nvSpPr>
          <p:spPr>
            <a:xfrm>
              <a:off x="6141216" y="2796189"/>
              <a:ext cx="43231" cy="42111"/>
            </a:xfrm>
            <a:custGeom>
              <a:avLst/>
              <a:gdLst>
                <a:gd name="connsiteX0" fmla="*/ 12512 w 43231"/>
                <a:gd name="connsiteY0" fmla="*/ 9151 h 42111"/>
                <a:gd name="connsiteX1" fmla="*/ 9337 w 43231"/>
                <a:gd name="connsiteY1" fmla="*/ 13726 h 42111"/>
                <a:gd name="connsiteX2" fmla="*/ 0 w 43231"/>
                <a:gd name="connsiteY2" fmla="*/ 14193 h 42111"/>
                <a:gd name="connsiteX3" fmla="*/ 3081 w 43231"/>
                <a:gd name="connsiteY3" fmla="*/ 19235 h 42111"/>
                <a:gd name="connsiteX4" fmla="*/ 6910 w 43231"/>
                <a:gd name="connsiteY4" fmla="*/ 33988 h 42111"/>
                <a:gd name="connsiteX5" fmla="*/ 21942 w 43231"/>
                <a:gd name="connsiteY5" fmla="*/ 36509 h 42111"/>
                <a:gd name="connsiteX6" fmla="*/ 25024 w 43231"/>
                <a:gd name="connsiteY6" fmla="*/ 42111 h 42111"/>
                <a:gd name="connsiteX7" fmla="*/ 29413 w 43231"/>
                <a:gd name="connsiteY7" fmla="*/ 37069 h 42111"/>
                <a:gd name="connsiteX8" fmla="*/ 35669 w 43231"/>
                <a:gd name="connsiteY8" fmla="*/ 35015 h 42111"/>
                <a:gd name="connsiteX9" fmla="*/ 41271 w 43231"/>
                <a:gd name="connsiteY9" fmla="*/ 30440 h 42111"/>
                <a:gd name="connsiteX10" fmla="*/ 35669 w 43231"/>
                <a:gd name="connsiteY10" fmla="*/ 26892 h 42111"/>
                <a:gd name="connsiteX11" fmla="*/ 35669 w 43231"/>
                <a:gd name="connsiteY11" fmla="*/ 20262 h 42111"/>
                <a:gd name="connsiteX12" fmla="*/ 43232 w 43231"/>
                <a:gd name="connsiteY12" fmla="*/ 15220 h 42111"/>
                <a:gd name="connsiteX13" fmla="*/ 43232 w 43231"/>
                <a:gd name="connsiteY13" fmla="*/ 9617 h 42111"/>
                <a:gd name="connsiteX14" fmla="*/ 37536 w 43231"/>
                <a:gd name="connsiteY14" fmla="*/ 0 h 42111"/>
                <a:gd name="connsiteX15" fmla="*/ 28199 w 43231"/>
                <a:gd name="connsiteY15" fmla="*/ 5042 h 42111"/>
                <a:gd name="connsiteX16" fmla="*/ 23810 w 43231"/>
                <a:gd name="connsiteY16" fmla="*/ 13166 h 42111"/>
                <a:gd name="connsiteX17" fmla="*/ 19422 w 43231"/>
                <a:gd name="connsiteY17" fmla="*/ 12699 h 42111"/>
                <a:gd name="connsiteX18" fmla="*/ 21289 w 43231"/>
                <a:gd name="connsiteY18" fmla="*/ 7657 h 42111"/>
                <a:gd name="connsiteX19" fmla="*/ 12512 w 43231"/>
                <a:gd name="connsiteY19" fmla="*/ 9151 h 4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231" h="42111">
                  <a:moveTo>
                    <a:pt x="12512" y="9151"/>
                  </a:moveTo>
                  <a:lnTo>
                    <a:pt x="9337" y="13726"/>
                  </a:lnTo>
                  <a:lnTo>
                    <a:pt x="0" y="14193"/>
                  </a:lnTo>
                  <a:lnTo>
                    <a:pt x="3081" y="19235"/>
                  </a:lnTo>
                  <a:lnTo>
                    <a:pt x="6910" y="33988"/>
                  </a:lnTo>
                  <a:lnTo>
                    <a:pt x="21942" y="36509"/>
                  </a:lnTo>
                  <a:lnTo>
                    <a:pt x="25024" y="42111"/>
                  </a:lnTo>
                  <a:lnTo>
                    <a:pt x="29413" y="37069"/>
                  </a:lnTo>
                  <a:lnTo>
                    <a:pt x="35669" y="35015"/>
                  </a:lnTo>
                  <a:lnTo>
                    <a:pt x="41271" y="30440"/>
                  </a:lnTo>
                  <a:lnTo>
                    <a:pt x="35669" y="26892"/>
                  </a:lnTo>
                  <a:lnTo>
                    <a:pt x="35669" y="20262"/>
                  </a:lnTo>
                  <a:lnTo>
                    <a:pt x="43232" y="15220"/>
                  </a:lnTo>
                  <a:lnTo>
                    <a:pt x="43232" y="9617"/>
                  </a:lnTo>
                  <a:lnTo>
                    <a:pt x="37536" y="0"/>
                  </a:lnTo>
                  <a:lnTo>
                    <a:pt x="28199" y="5042"/>
                  </a:lnTo>
                  <a:lnTo>
                    <a:pt x="23810" y="13166"/>
                  </a:lnTo>
                  <a:lnTo>
                    <a:pt x="19422" y="12699"/>
                  </a:lnTo>
                  <a:lnTo>
                    <a:pt x="21289" y="7657"/>
                  </a:lnTo>
                  <a:lnTo>
                    <a:pt x="12512" y="9151"/>
                  </a:lnTo>
                  <a:close/>
                </a:path>
              </a:pathLst>
            </a:custGeom>
            <a:solidFill>
              <a:srgbClr val="CEE3BF"/>
            </a:solidFill>
            <a:ln w="9334" cap="flat">
              <a:noFill/>
              <a:prstDash val="solid"/>
              <a:miter/>
            </a:ln>
          </p:spPr>
          <p:txBody>
            <a:bodyPr rtlCol="0" anchor="ctr"/>
            <a:lstStyle/>
            <a:p>
              <a:endParaRPr lang="en-GB" dirty="0"/>
            </a:p>
          </p:txBody>
        </p:sp>
        <p:sp>
          <p:nvSpPr>
            <p:cNvPr id="1296" name="Freeform: Shape 1295">
              <a:extLst>
                <a:ext uri="{FF2B5EF4-FFF2-40B4-BE49-F238E27FC236}">
                  <a16:creationId xmlns:a16="http://schemas.microsoft.com/office/drawing/2014/main" id="{E57CDFCE-C144-45A6-81F2-0DECB1013769}"/>
                </a:ext>
              </a:extLst>
            </p:cNvPr>
            <p:cNvSpPr/>
            <p:nvPr/>
          </p:nvSpPr>
          <p:spPr>
            <a:xfrm>
              <a:off x="6234962" y="2831858"/>
              <a:ext cx="13352" cy="13819"/>
            </a:xfrm>
            <a:custGeom>
              <a:avLst/>
              <a:gdLst>
                <a:gd name="connsiteX0" fmla="*/ 3642 w 13352"/>
                <a:gd name="connsiteY0" fmla="*/ 0 h 13819"/>
                <a:gd name="connsiteX1" fmla="*/ 0 w 13352"/>
                <a:gd name="connsiteY1" fmla="*/ 7376 h 13819"/>
                <a:gd name="connsiteX2" fmla="*/ 12138 w 13352"/>
                <a:gd name="connsiteY2" fmla="*/ 13819 h 13819"/>
                <a:gd name="connsiteX3" fmla="*/ 13352 w 13352"/>
                <a:gd name="connsiteY3" fmla="*/ 7376 h 13819"/>
                <a:gd name="connsiteX4" fmla="*/ 3642 w 13352"/>
                <a:gd name="connsiteY4" fmla="*/ 0 h 13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2" h="13819">
                  <a:moveTo>
                    <a:pt x="3642" y="0"/>
                  </a:moveTo>
                  <a:lnTo>
                    <a:pt x="0" y="7376"/>
                  </a:lnTo>
                  <a:lnTo>
                    <a:pt x="12138" y="13819"/>
                  </a:lnTo>
                  <a:lnTo>
                    <a:pt x="13352" y="7376"/>
                  </a:lnTo>
                  <a:lnTo>
                    <a:pt x="3642" y="0"/>
                  </a:lnTo>
                  <a:close/>
                </a:path>
              </a:pathLst>
            </a:custGeom>
            <a:solidFill>
              <a:srgbClr val="CEE3BF"/>
            </a:solidFill>
            <a:ln w="9334" cap="flat">
              <a:noFill/>
              <a:prstDash val="solid"/>
              <a:miter/>
            </a:ln>
          </p:spPr>
          <p:txBody>
            <a:bodyPr rtlCol="0" anchor="ctr"/>
            <a:lstStyle/>
            <a:p>
              <a:endParaRPr lang="en-GB" dirty="0"/>
            </a:p>
          </p:txBody>
        </p:sp>
        <p:sp>
          <p:nvSpPr>
            <p:cNvPr id="1297" name="Freeform: Shape 1296">
              <a:extLst>
                <a:ext uri="{FF2B5EF4-FFF2-40B4-BE49-F238E27FC236}">
                  <a16:creationId xmlns:a16="http://schemas.microsoft.com/office/drawing/2014/main" id="{33AFE66F-D90A-4EDE-8011-12EC857BC3B9}"/>
                </a:ext>
              </a:extLst>
            </p:cNvPr>
            <p:cNvSpPr/>
            <p:nvPr/>
          </p:nvSpPr>
          <p:spPr>
            <a:xfrm>
              <a:off x="6064836" y="2730734"/>
              <a:ext cx="63213" cy="41644"/>
            </a:xfrm>
            <a:custGeom>
              <a:avLst/>
              <a:gdLst>
                <a:gd name="connsiteX0" fmla="*/ 54437 w 63213"/>
                <a:gd name="connsiteY0" fmla="*/ 4575 h 41644"/>
                <a:gd name="connsiteX1" fmla="*/ 45660 w 63213"/>
                <a:gd name="connsiteY1" fmla="*/ 6536 h 41644"/>
                <a:gd name="connsiteX2" fmla="*/ 30720 w 63213"/>
                <a:gd name="connsiteY2" fmla="*/ 20822 h 41644"/>
                <a:gd name="connsiteX3" fmla="*/ 20075 w 63213"/>
                <a:gd name="connsiteY3" fmla="*/ 21289 h 41644"/>
                <a:gd name="connsiteX4" fmla="*/ 3735 w 63213"/>
                <a:gd name="connsiteY4" fmla="*/ 28946 h 41644"/>
                <a:gd name="connsiteX5" fmla="*/ 0 w 63213"/>
                <a:gd name="connsiteY5" fmla="*/ 39030 h 41644"/>
                <a:gd name="connsiteX6" fmla="*/ 5042 w 63213"/>
                <a:gd name="connsiteY6" fmla="*/ 41645 h 41644"/>
                <a:gd name="connsiteX7" fmla="*/ 5602 w 63213"/>
                <a:gd name="connsiteY7" fmla="*/ 35015 h 41644"/>
                <a:gd name="connsiteX8" fmla="*/ 22596 w 63213"/>
                <a:gd name="connsiteY8" fmla="*/ 26892 h 41644"/>
                <a:gd name="connsiteX9" fmla="*/ 27545 w 63213"/>
                <a:gd name="connsiteY9" fmla="*/ 29879 h 41644"/>
                <a:gd name="connsiteX10" fmla="*/ 40711 w 63213"/>
                <a:gd name="connsiteY10" fmla="*/ 26331 h 41644"/>
                <a:gd name="connsiteX11" fmla="*/ 54437 w 63213"/>
                <a:gd name="connsiteY11" fmla="*/ 28385 h 41644"/>
                <a:gd name="connsiteX12" fmla="*/ 63213 w 63213"/>
                <a:gd name="connsiteY12" fmla="*/ 16714 h 41644"/>
                <a:gd name="connsiteX13" fmla="*/ 60693 w 63213"/>
                <a:gd name="connsiteY13" fmla="*/ 6069 h 41644"/>
                <a:gd name="connsiteX14" fmla="*/ 62653 w 63213"/>
                <a:gd name="connsiteY14" fmla="*/ 0 h 41644"/>
                <a:gd name="connsiteX15" fmla="*/ 54437 w 63213"/>
                <a:gd name="connsiteY15" fmla="*/ 4575 h 4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213" h="41644">
                  <a:moveTo>
                    <a:pt x="54437" y="4575"/>
                  </a:moveTo>
                  <a:lnTo>
                    <a:pt x="45660" y="6536"/>
                  </a:lnTo>
                  <a:lnTo>
                    <a:pt x="30720" y="20822"/>
                  </a:lnTo>
                  <a:lnTo>
                    <a:pt x="20075" y="21289"/>
                  </a:lnTo>
                  <a:lnTo>
                    <a:pt x="3735" y="28946"/>
                  </a:lnTo>
                  <a:lnTo>
                    <a:pt x="0" y="39030"/>
                  </a:lnTo>
                  <a:lnTo>
                    <a:pt x="5042" y="41645"/>
                  </a:lnTo>
                  <a:lnTo>
                    <a:pt x="5602" y="35015"/>
                  </a:lnTo>
                  <a:lnTo>
                    <a:pt x="22596" y="26892"/>
                  </a:lnTo>
                  <a:lnTo>
                    <a:pt x="27545" y="29879"/>
                  </a:lnTo>
                  <a:lnTo>
                    <a:pt x="40711" y="26331"/>
                  </a:lnTo>
                  <a:lnTo>
                    <a:pt x="54437" y="28385"/>
                  </a:lnTo>
                  <a:lnTo>
                    <a:pt x="63213" y="16714"/>
                  </a:lnTo>
                  <a:lnTo>
                    <a:pt x="60693" y="6069"/>
                  </a:lnTo>
                  <a:lnTo>
                    <a:pt x="62653" y="0"/>
                  </a:lnTo>
                  <a:lnTo>
                    <a:pt x="54437" y="4575"/>
                  </a:lnTo>
                  <a:close/>
                </a:path>
              </a:pathLst>
            </a:custGeom>
            <a:solidFill>
              <a:srgbClr val="CEE3BF"/>
            </a:solidFill>
            <a:ln w="9334" cap="flat">
              <a:noFill/>
              <a:prstDash val="solid"/>
              <a:miter/>
            </a:ln>
          </p:spPr>
          <p:txBody>
            <a:bodyPr rtlCol="0" anchor="ctr"/>
            <a:lstStyle/>
            <a:p>
              <a:endParaRPr lang="en-GB" dirty="0"/>
            </a:p>
          </p:txBody>
        </p:sp>
        <p:sp>
          <p:nvSpPr>
            <p:cNvPr id="1298" name="Freeform: Shape 1297">
              <a:extLst>
                <a:ext uri="{FF2B5EF4-FFF2-40B4-BE49-F238E27FC236}">
                  <a16:creationId xmlns:a16="http://schemas.microsoft.com/office/drawing/2014/main" id="{4CE4B3CC-436E-4A0A-81A3-EB250CEED012}"/>
                </a:ext>
              </a:extLst>
            </p:cNvPr>
            <p:cNvSpPr/>
            <p:nvPr/>
          </p:nvSpPr>
          <p:spPr>
            <a:xfrm>
              <a:off x="6061101" y="2759680"/>
              <a:ext cx="78246" cy="89358"/>
            </a:xfrm>
            <a:custGeom>
              <a:avLst/>
              <a:gdLst>
                <a:gd name="connsiteX0" fmla="*/ 38190 w 78246"/>
                <a:gd name="connsiteY0" fmla="*/ 79647 h 89358"/>
                <a:gd name="connsiteX1" fmla="*/ 43792 w 78246"/>
                <a:gd name="connsiteY1" fmla="*/ 63400 h 89358"/>
                <a:gd name="connsiteX2" fmla="*/ 45099 w 78246"/>
                <a:gd name="connsiteY2" fmla="*/ 54810 h 89358"/>
                <a:gd name="connsiteX3" fmla="*/ 52569 w 78246"/>
                <a:gd name="connsiteY3" fmla="*/ 50702 h 89358"/>
                <a:gd name="connsiteX4" fmla="*/ 58172 w 78246"/>
                <a:gd name="connsiteY4" fmla="*/ 46687 h 89358"/>
                <a:gd name="connsiteX5" fmla="*/ 60693 w 78246"/>
                <a:gd name="connsiteY5" fmla="*/ 42578 h 89358"/>
                <a:gd name="connsiteX6" fmla="*/ 58825 w 78246"/>
                <a:gd name="connsiteY6" fmla="*/ 38563 h 89358"/>
                <a:gd name="connsiteX7" fmla="*/ 60693 w 78246"/>
                <a:gd name="connsiteY7" fmla="*/ 33988 h 89358"/>
                <a:gd name="connsiteX8" fmla="*/ 73205 w 78246"/>
                <a:gd name="connsiteY8" fmla="*/ 33988 h 89358"/>
                <a:gd name="connsiteX9" fmla="*/ 78247 w 78246"/>
                <a:gd name="connsiteY9" fmla="*/ 27358 h 89358"/>
                <a:gd name="connsiteX10" fmla="*/ 76939 w 78246"/>
                <a:gd name="connsiteY10" fmla="*/ 21289 h 89358"/>
                <a:gd name="connsiteX11" fmla="*/ 63868 w 78246"/>
                <a:gd name="connsiteY11" fmla="*/ 20729 h 89358"/>
                <a:gd name="connsiteX12" fmla="*/ 57611 w 78246"/>
                <a:gd name="connsiteY12" fmla="*/ 21756 h 89358"/>
                <a:gd name="connsiteX13" fmla="*/ 60693 w 78246"/>
                <a:gd name="connsiteY13" fmla="*/ 15687 h 89358"/>
                <a:gd name="connsiteX14" fmla="*/ 59479 w 78246"/>
                <a:gd name="connsiteY14" fmla="*/ 3548 h 89358"/>
                <a:gd name="connsiteX15" fmla="*/ 48835 w 78246"/>
                <a:gd name="connsiteY15" fmla="*/ 0 h 89358"/>
                <a:gd name="connsiteX16" fmla="*/ 46313 w 78246"/>
                <a:gd name="connsiteY16" fmla="*/ 2521 h 89358"/>
                <a:gd name="connsiteX17" fmla="*/ 31933 w 78246"/>
                <a:gd name="connsiteY17" fmla="*/ 4575 h 89358"/>
                <a:gd name="connsiteX18" fmla="*/ 31280 w 78246"/>
                <a:gd name="connsiteY18" fmla="*/ 14660 h 89358"/>
                <a:gd name="connsiteX19" fmla="*/ 23810 w 78246"/>
                <a:gd name="connsiteY19" fmla="*/ 11672 h 89358"/>
                <a:gd name="connsiteX20" fmla="*/ 16901 w 78246"/>
                <a:gd name="connsiteY20" fmla="*/ 15220 h 89358"/>
                <a:gd name="connsiteX21" fmla="*/ 16901 w 78246"/>
                <a:gd name="connsiteY21" fmla="*/ 20729 h 89358"/>
                <a:gd name="connsiteX22" fmla="*/ 9337 w 78246"/>
                <a:gd name="connsiteY22" fmla="*/ 18208 h 89358"/>
                <a:gd name="connsiteX23" fmla="*/ 2521 w 78246"/>
                <a:gd name="connsiteY23" fmla="*/ 13632 h 89358"/>
                <a:gd name="connsiteX24" fmla="*/ 0 w 78246"/>
                <a:gd name="connsiteY24" fmla="*/ 18208 h 89358"/>
                <a:gd name="connsiteX25" fmla="*/ 654 w 78246"/>
                <a:gd name="connsiteY25" fmla="*/ 40057 h 89358"/>
                <a:gd name="connsiteX26" fmla="*/ 2521 w 78246"/>
                <a:gd name="connsiteY26" fmla="*/ 42111 h 89358"/>
                <a:gd name="connsiteX27" fmla="*/ 0 w 78246"/>
                <a:gd name="connsiteY27" fmla="*/ 43605 h 89358"/>
                <a:gd name="connsiteX28" fmla="*/ 654 w 78246"/>
                <a:gd name="connsiteY28" fmla="*/ 58825 h 89358"/>
                <a:gd name="connsiteX29" fmla="*/ 8123 w 78246"/>
                <a:gd name="connsiteY29" fmla="*/ 62373 h 89358"/>
                <a:gd name="connsiteX30" fmla="*/ 16247 w 78246"/>
                <a:gd name="connsiteY30" fmla="*/ 67509 h 89358"/>
                <a:gd name="connsiteX31" fmla="*/ 18208 w 78246"/>
                <a:gd name="connsiteY31" fmla="*/ 87304 h 89358"/>
                <a:gd name="connsiteX32" fmla="*/ 25771 w 78246"/>
                <a:gd name="connsiteY32" fmla="*/ 89358 h 89358"/>
                <a:gd name="connsiteX33" fmla="*/ 41458 w 78246"/>
                <a:gd name="connsiteY33" fmla="*/ 86557 h 89358"/>
                <a:gd name="connsiteX34" fmla="*/ 42578 w 78246"/>
                <a:gd name="connsiteY34" fmla="*/ 83195 h 89358"/>
                <a:gd name="connsiteX35" fmla="*/ 38190 w 78246"/>
                <a:gd name="connsiteY35" fmla="*/ 79647 h 8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8246" h="89358">
                  <a:moveTo>
                    <a:pt x="38190" y="79647"/>
                  </a:moveTo>
                  <a:lnTo>
                    <a:pt x="43792" y="63400"/>
                  </a:lnTo>
                  <a:lnTo>
                    <a:pt x="45099" y="54810"/>
                  </a:lnTo>
                  <a:lnTo>
                    <a:pt x="52569" y="50702"/>
                  </a:lnTo>
                  <a:lnTo>
                    <a:pt x="58172" y="46687"/>
                  </a:lnTo>
                  <a:lnTo>
                    <a:pt x="60693" y="42578"/>
                  </a:lnTo>
                  <a:lnTo>
                    <a:pt x="58825" y="38563"/>
                  </a:lnTo>
                  <a:lnTo>
                    <a:pt x="60693" y="33988"/>
                  </a:lnTo>
                  <a:lnTo>
                    <a:pt x="73205" y="33988"/>
                  </a:lnTo>
                  <a:lnTo>
                    <a:pt x="78247" y="27358"/>
                  </a:lnTo>
                  <a:lnTo>
                    <a:pt x="76939" y="21289"/>
                  </a:lnTo>
                  <a:lnTo>
                    <a:pt x="63868" y="20729"/>
                  </a:lnTo>
                  <a:lnTo>
                    <a:pt x="57611" y="21756"/>
                  </a:lnTo>
                  <a:lnTo>
                    <a:pt x="60693" y="15687"/>
                  </a:lnTo>
                  <a:lnTo>
                    <a:pt x="59479" y="3548"/>
                  </a:lnTo>
                  <a:lnTo>
                    <a:pt x="48835" y="0"/>
                  </a:lnTo>
                  <a:lnTo>
                    <a:pt x="46313" y="2521"/>
                  </a:lnTo>
                  <a:lnTo>
                    <a:pt x="31933" y="4575"/>
                  </a:lnTo>
                  <a:lnTo>
                    <a:pt x="31280" y="14660"/>
                  </a:lnTo>
                  <a:lnTo>
                    <a:pt x="23810" y="11672"/>
                  </a:lnTo>
                  <a:lnTo>
                    <a:pt x="16901" y="15220"/>
                  </a:lnTo>
                  <a:lnTo>
                    <a:pt x="16901" y="20729"/>
                  </a:lnTo>
                  <a:lnTo>
                    <a:pt x="9337" y="18208"/>
                  </a:lnTo>
                  <a:lnTo>
                    <a:pt x="2521" y="13632"/>
                  </a:lnTo>
                  <a:lnTo>
                    <a:pt x="0" y="18208"/>
                  </a:lnTo>
                  <a:lnTo>
                    <a:pt x="654" y="40057"/>
                  </a:lnTo>
                  <a:lnTo>
                    <a:pt x="2521" y="42111"/>
                  </a:lnTo>
                  <a:lnTo>
                    <a:pt x="0" y="43605"/>
                  </a:lnTo>
                  <a:lnTo>
                    <a:pt x="654" y="58825"/>
                  </a:lnTo>
                  <a:lnTo>
                    <a:pt x="8123" y="62373"/>
                  </a:lnTo>
                  <a:lnTo>
                    <a:pt x="16247" y="67509"/>
                  </a:lnTo>
                  <a:lnTo>
                    <a:pt x="18208" y="87304"/>
                  </a:lnTo>
                  <a:lnTo>
                    <a:pt x="25771" y="89358"/>
                  </a:lnTo>
                  <a:lnTo>
                    <a:pt x="41458" y="86557"/>
                  </a:lnTo>
                  <a:lnTo>
                    <a:pt x="42578" y="83195"/>
                  </a:lnTo>
                  <a:lnTo>
                    <a:pt x="38190" y="79647"/>
                  </a:lnTo>
                  <a:close/>
                </a:path>
              </a:pathLst>
            </a:custGeom>
            <a:solidFill>
              <a:srgbClr val="CEE3BF"/>
            </a:solidFill>
            <a:ln w="9334" cap="flat">
              <a:noFill/>
              <a:prstDash val="solid"/>
              <a:miter/>
            </a:ln>
          </p:spPr>
          <p:txBody>
            <a:bodyPr rtlCol="0" anchor="ctr"/>
            <a:lstStyle/>
            <a:p>
              <a:endParaRPr lang="en-GB" dirty="0"/>
            </a:p>
          </p:txBody>
        </p:sp>
        <p:sp>
          <p:nvSpPr>
            <p:cNvPr id="1299" name="Freeform: Shape 1298">
              <a:extLst>
                <a:ext uri="{FF2B5EF4-FFF2-40B4-BE49-F238E27FC236}">
                  <a16:creationId xmlns:a16="http://schemas.microsoft.com/office/drawing/2014/main" id="{5BC33741-FEF4-4718-B09E-01C50A07DF0D}"/>
                </a:ext>
              </a:extLst>
            </p:cNvPr>
            <p:cNvSpPr/>
            <p:nvPr/>
          </p:nvSpPr>
          <p:spPr>
            <a:xfrm>
              <a:off x="7240125" y="3800324"/>
              <a:ext cx="145008" cy="96734"/>
            </a:xfrm>
            <a:custGeom>
              <a:avLst/>
              <a:gdLst>
                <a:gd name="connsiteX0" fmla="*/ 141554 w 145008"/>
                <a:gd name="connsiteY0" fmla="*/ 17274 h 96734"/>
                <a:gd name="connsiteX1" fmla="*/ 138099 w 145008"/>
                <a:gd name="connsiteY1" fmla="*/ 3455 h 96734"/>
                <a:gd name="connsiteX2" fmla="*/ 131189 w 145008"/>
                <a:gd name="connsiteY2" fmla="*/ 0 h 96734"/>
                <a:gd name="connsiteX3" fmla="*/ 117370 w 145008"/>
                <a:gd name="connsiteY3" fmla="*/ 17274 h 96734"/>
                <a:gd name="connsiteX4" fmla="*/ 100096 w 145008"/>
                <a:gd name="connsiteY4" fmla="*/ 31093 h 96734"/>
                <a:gd name="connsiteX5" fmla="*/ 86277 w 145008"/>
                <a:gd name="connsiteY5" fmla="*/ 48367 h 96734"/>
                <a:gd name="connsiteX6" fmla="*/ 72458 w 145008"/>
                <a:gd name="connsiteY6" fmla="*/ 51822 h 96734"/>
                <a:gd name="connsiteX7" fmla="*/ 55183 w 145008"/>
                <a:gd name="connsiteY7" fmla="*/ 44912 h 96734"/>
                <a:gd name="connsiteX8" fmla="*/ 44819 w 145008"/>
                <a:gd name="connsiteY8" fmla="*/ 51822 h 96734"/>
                <a:gd name="connsiteX9" fmla="*/ 37909 w 145008"/>
                <a:gd name="connsiteY9" fmla="*/ 55277 h 96734"/>
                <a:gd name="connsiteX10" fmla="*/ 24183 w 145008"/>
                <a:gd name="connsiteY10" fmla="*/ 51822 h 96734"/>
                <a:gd name="connsiteX11" fmla="*/ 13819 w 145008"/>
                <a:gd name="connsiteY11" fmla="*/ 41458 h 96734"/>
                <a:gd name="connsiteX12" fmla="*/ 6910 w 145008"/>
                <a:gd name="connsiteY12" fmla="*/ 34548 h 96734"/>
                <a:gd name="connsiteX13" fmla="*/ 0 w 145008"/>
                <a:gd name="connsiteY13" fmla="*/ 41458 h 96734"/>
                <a:gd name="connsiteX14" fmla="*/ 37909 w 145008"/>
                <a:gd name="connsiteY14" fmla="*/ 86370 h 96734"/>
                <a:gd name="connsiteX15" fmla="*/ 82822 w 145008"/>
                <a:gd name="connsiteY15" fmla="*/ 96734 h 96734"/>
                <a:gd name="connsiteX16" fmla="*/ 113915 w 145008"/>
                <a:gd name="connsiteY16" fmla="*/ 96734 h 96734"/>
                <a:gd name="connsiteX17" fmla="*/ 145008 w 145008"/>
                <a:gd name="connsiteY17" fmla="*/ 41458 h 96734"/>
                <a:gd name="connsiteX18" fmla="*/ 141554 w 145008"/>
                <a:gd name="connsiteY18" fmla="*/ 17274 h 9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008" h="96734">
                  <a:moveTo>
                    <a:pt x="141554" y="17274"/>
                  </a:moveTo>
                  <a:lnTo>
                    <a:pt x="138099" y="3455"/>
                  </a:lnTo>
                  <a:lnTo>
                    <a:pt x="131189" y="0"/>
                  </a:lnTo>
                  <a:lnTo>
                    <a:pt x="117370" y="17274"/>
                  </a:lnTo>
                  <a:lnTo>
                    <a:pt x="100096" y="31093"/>
                  </a:lnTo>
                  <a:lnTo>
                    <a:pt x="86277" y="48367"/>
                  </a:lnTo>
                  <a:lnTo>
                    <a:pt x="72458" y="51822"/>
                  </a:lnTo>
                  <a:lnTo>
                    <a:pt x="55183" y="44912"/>
                  </a:lnTo>
                  <a:lnTo>
                    <a:pt x="44819" y="51822"/>
                  </a:lnTo>
                  <a:lnTo>
                    <a:pt x="37909" y="55277"/>
                  </a:lnTo>
                  <a:lnTo>
                    <a:pt x="24183" y="51822"/>
                  </a:lnTo>
                  <a:lnTo>
                    <a:pt x="13819" y="41458"/>
                  </a:lnTo>
                  <a:lnTo>
                    <a:pt x="6910" y="34548"/>
                  </a:lnTo>
                  <a:lnTo>
                    <a:pt x="0" y="41458"/>
                  </a:lnTo>
                  <a:lnTo>
                    <a:pt x="37909" y="86370"/>
                  </a:lnTo>
                  <a:lnTo>
                    <a:pt x="82822" y="96734"/>
                  </a:lnTo>
                  <a:lnTo>
                    <a:pt x="113915" y="96734"/>
                  </a:lnTo>
                  <a:lnTo>
                    <a:pt x="145008" y="41458"/>
                  </a:lnTo>
                  <a:lnTo>
                    <a:pt x="141554" y="17274"/>
                  </a:lnTo>
                  <a:close/>
                </a:path>
              </a:pathLst>
            </a:custGeom>
            <a:solidFill>
              <a:srgbClr val="CEE3BF"/>
            </a:solidFill>
            <a:ln w="9334" cap="flat">
              <a:noFill/>
              <a:prstDash val="solid"/>
              <a:miter/>
            </a:ln>
          </p:spPr>
          <p:txBody>
            <a:bodyPr rtlCol="0" anchor="ctr"/>
            <a:lstStyle/>
            <a:p>
              <a:endParaRPr lang="en-GB" dirty="0"/>
            </a:p>
          </p:txBody>
        </p:sp>
        <p:sp>
          <p:nvSpPr>
            <p:cNvPr id="1300" name="Freeform: Shape 1299">
              <a:extLst>
                <a:ext uri="{FF2B5EF4-FFF2-40B4-BE49-F238E27FC236}">
                  <a16:creationId xmlns:a16="http://schemas.microsoft.com/office/drawing/2014/main" id="{C54A9C4A-6811-469F-93BF-A35B4D4A350D}"/>
                </a:ext>
              </a:extLst>
            </p:cNvPr>
            <p:cNvSpPr/>
            <p:nvPr/>
          </p:nvSpPr>
          <p:spPr>
            <a:xfrm>
              <a:off x="7240125" y="3841782"/>
              <a:ext cx="37909" cy="44912"/>
            </a:xfrm>
            <a:custGeom>
              <a:avLst/>
              <a:gdLst>
                <a:gd name="connsiteX0" fmla="*/ 37909 w 37909"/>
                <a:gd name="connsiteY0" fmla="*/ 44912 h 44912"/>
                <a:gd name="connsiteX1" fmla="*/ 0 w 37909"/>
                <a:gd name="connsiteY1" fmla="*/ 0 h 44912"/>
                <a:gd name="connsiteX2" fmla="*/ 13819 w 37909"/>
                <a:gd name="connsiteY2" fmla="*/ 17274 h 44912"/>
                <a:gd name="connsiteX3" fmla="*/ 37909 w 37909"/>
                <a:gd name="connsiteY3" fmla="*/ 44912 h 44912"/>
              </a:gdLst>
              <a:ahLst/>
              <a:cxnLst>
                <a:cxn ang="0">
                  <a:pos x="connsiteX0" y="connsiteY0"/>
                </a:cxn>
                <a:cxn ang="0">
                  <a:pos x="connsiteX1" y="connsiteY1"/>
                </a:cxn>
                <a:cxn ang="0">
                  <a:pos x="connsiteX2" y="connsiteY2"/>
                </a:cxn>
                <a:cxn ang="0">
                  <a:pos x="connsiteX3" y="connsiteY3"/>
                </a:cxn>
              </a:cxnLst>
              <a:rect l="l" t="t" r="r" b="b"/>
              <a:pathLst>
                <a:path w="37909" h="44912">
                  <a:moveTo>
                    <a:pt x="37909" y="44912"/>
                  </a:moveTo>
                  <a:lnTo>
                    <a:pt x="0" y="0"/>
                  </a:lnTo>
                  <a:lnTo>
                    <a:pt x="13819" y="17274"/>
                  </a:lnTo>
                  <a:lnTo>
                    <a:pt x="37909" y="44912"/>
                  </a:lnTo>
                  <a:close/>
                </a:path>
              </a:pathLst>
            </a:custGeom>
            <a:solidFill>
              <a:srgbClr val="CEE3BF"/>
            </a:solidFill>
            <a:ln w="9334" cap="flat">
              <a:noFill/>
              <a:prstDash val="solid"/>
              <a:miter/>
            </a:ln>
          </p:spPr>
          <p:txBody>
            <a:bodyPr rtlCol="0" anchor="ctr"/>
            <a:lstStyle/>
            <a:p>
              <a:endParaRPr lang="en-GB" dirty="0"/>
            </a:p>
          </p:txBody>
        </p:sp>
        <p:sp>
          <p:nvSpPr>
            <p:cNvPr id="1301" name="Freeform: Shape 1300">
              <a:extLst>
                <a:ext uri="{FF2B5EF4-FFF2-40B4-BE49-F238E27FC236}">
                  <a16:creationId xmlns:a16="http://schemas.microsoft.com/office/drawing/2014/main" id="{D1D833A9-3567-49B8-ADB5-C64266BBCB9A}"/>
                </a:ext>
              </a:extLst>
            </p:cNvPr>
            <p:cNvSpPr/>
            <p:nvPr/>
          </p:nvSpPr>
          <p:spPr>
            <a:xfrm>
              <a:off x="3810154" y="4381012"/>
              <a:ext cx="1070243" cy="1102737"/>
            </a:xfrm>
            <a:custGeom>
              <a:avLst/>
              <a:gdLst>
                <a:gd name="connsiteX0" fmla="*/ 1052970 w 1070243"/>
                <a:gd name="connsiteY0" fmla="*/ 283481 h 1102737"/>
                <a:gd name="connsiteX1" fmla="*/ 1039150 w 1070243"/>
                <a:gd name="connsiteY1" fmla="*/ 283481 h 1102737"/>
                <a:gd name="connsiteX2" fmla="*/ 1021876 w 1070243"/>
                <a:gd name="connsiteY2" fmla="*/ 286936 h 1102737"/>
                <a:gd name="connsiteX3" fmla="*/ 1004602 w 1070243"/>
                <a:gd name="connsiteY3" fmla="*/ 276571 h 1102737"/>
                <a:gd name="connsiteX4" fmla="*/ 987328 w 1070243"/>
                <a:gd name="connsiteY4" fmla="*/ 262752 h 1102737"/>
                <a:gd name="connsiteX5" fmla="*/ 966693 w 1070243"/>
                <a:gd name="connsiteY5" fmla="*/ 245478 h 1102737"/>
                <a:gd name="connsiteX6" fmla="*/ 945964 w 1070243"/>
                <a:gd name="connsiteY6" fmla="*/ 231659 h 1102737"/>
                <a:gd name="connsiteX7" fmla="*/ 928690 w 1070243"/>
                <a:gd name="connsiteY7" fmla="*/ 228204 h 1102737"/>
                <a:gd name="connsiteX8" fmla="*/ 911416 w 1070243"/>
                <a:gd name="connsiteY8" fmla="*/ 224749 h 1102737"/>
                <a:gd name="connsiteX9" fmla="*/ 890687 w 1070243"/>
                <a:gd name="connsiteY9" fmla="*/ 224749 h 1102737"/>
                <a:gd name="connsiteX10" fmla="*/ 873413 w 1070243"/>
                <a:gd name="connsiteY10" fmla="*/ 221294 h 1102737"/>
                <a:gd name="connsiteX11" fmla="*/ 856139 w 1070243"/>
                <a:gd name="connsiteY11" fmla="*/ 214385 h 1102737"/>
                <a:gd name="connsiteX12" fmla="*/ 842413 w 1070243"/>
                <a:gd name="connsiteY12" fmla="*/ 210930 h 1102737"/>
                <a:gd name="connsiteX13" fmla="*/ 832049 w 1070243"/>
                <a:gd name="connsiteY13" fmla="*/ 214385 h 1102737"/>
                <a:gd name="connsiteX14" fmla="*/ 821684 w 1070243"/>
                <a:gd name="connsiteY14" fmla="*/ 217840 h 1102737"/>
                <a:gd name="connsiteX15" fmla="*/ 807865 w 1070243"/>
                <a:gd name="connsiteY15" fmla="*/ 231659 h 1102737"/>
                <a:gd name="connsiteX16" fmla="*/ 804410 w 1070243"/>
                <a:gd name="connsiteY16" fmla="*/ 231659 h 1102737"/>
                <a:gd name="connsiteX17" fmla="*/ 807865 w 1070243"/>
                <a:gd name="connsiteY17" fmla="*/ 217840 h 1102737"/>
                <a:gd name="connsiteX18" fmla="*/ 814774 w 1070243"/>
                <a:gd name="connsiteY18" fmla="*/ 207475 h 1102737"/>
                <a:gd name="connsiteX19" fmla="*/ 814774 w 1070243"/>
                <a:gd name="connsiteY19" fmla="*/ 197111 h 1102737"/>
                <a:gd name="connsiteX20" fmla="*/ 797501 w 1070243"/>
                <a:gd name="connsiteY20" fmla="*/ 190201 h 1102737"/>
                <a:gd name="connsiteX21" fmla="*/ 773317 w 1070243"/>
                <a:gd name="connsiteY21" fmla="*/ 179837 h 1102737"/>
                <a:gd name="connsiteX22" fmla="*/ 759498 w 1070243"/>
                <a:gd name="connsiteY22" fmla="*/ 169472 h 1102737"/>
                <a:gd name="connsiteX23" fmla="*/ 735314 w 1070243"/>
                <a:gd name="connsiteY23" fmla="*/ 162563 h 1102737"/>
                <a:gd name="connsiteX24" fmla="*/ 724949 w 1070243"/>
                <a:gd name="connsiteY24" fmla="*/ 159015 h 1102737"/>
                <a:gd name="connsiteX25" fmla="*/ 714585 w 1070243"/>
                <a:gd name="connsiteY25" fmla="*/ 162563 h 1102737"/>
                <a:gd name="connsiteX26" fmla="*/ 707769 w 1070243"/>
                <a:gd name="connsiteY26" fmla="*/ 169472 h 1102737"/>
                <a:gd name="connsiteX27" fmla="*/ 704314 w 1070243"/>
                <a:gd name="connsiteY27" fmla="*/ 179837 h 1102737"/>
                <a:gd name="connsiteX28" fmla="*/ 700859 w 1070243"/>
                <a:gd name="connsiteY28" fmla="*/ 186746 h 1102737"/>
                <a:gd name="connsiteX29" fmla="*/ 697405 w 1070243"/>
                <a:gd name="connsiteY29" fmla="*/ 186746 h 1102737"/>
                <a:gd name="connsiteX30" fmla="*/ 683585 w 1070243"/>
                <a:gd name="connsiteY30" fmla="*/ 200565 h 1102737"/>
                <a:gd name="connsiteX31" fmla="*/ 676676 w 1070243"/>
                <a:gd name="connsiteY31" fmla="*/ 200565 h 1102737"/>
                <a:gd name="connsiteX32" fmla="*/ 676676 w 1070243"/>
                <a:gd name="connsiteY32" fmla="*/ 186746 h 1102737"/>
                <a:gd name="connsiteX33" fmla="*/ 687040 w 1070243"/>
                <a:gd name="connsiteY33" fmla="*/ 176382 h 1102737"/>
                <a:gd name="connsiteX34" fmla="*/ 693949 w 1070243"/>
                <a:gd name="connsiteY34" fmla="*/ 169472 h 1102737"/>
                <a:gd name="connsiteX35" fmla="*/ 697405 w 1070243"/>
                <a:gd name="connsiteY35" fmla="*/ 159015 h 1102737"/>
                <a:gd name="connsiteX36" fmla="*/ 697405 w 1070243"/>
                <a:gd name="connsiteY36" fmla="*/ 152105 h 1102737"/>
                <a:gd name="connsiteX37" fmla="*/ 690495 w 1070243"/>
                <a:gd name="connsiteY37" fmla="*/ 145195 h 1102737"/>
                <a:gd name="connsiteX38" fmla="*/ 676676 w 1070243"/>
                <a:gd name="connsiteY38" fmla="*/ 141740 h 1102737"/>
                <a:gd name="connsiteX39" fmla="*/ 669766 w 1070243"/>
                <a:gd name="connsiteY39" fmla="*/ 134831 h 1102737"/>
                <a:gd name="connsiteX40" fmla="*/ 655947 w 1070243"/>
                <a:gd name="connsiteY40" fmla="*/ 134831 h 1102737"/>
                <a:gd name="connsiteX41" fmla="*/ 642127 w 1070243"/>
                <a:gd name="connsiteY41" fmla="*/ 141740 h 1102737"/>
                <a:gd name="connsiteX42" fmla="*/ 642127 w 1070243"/>
                <a:gd name="connsiteY42" fmla="*/ 159015 h 1102737"/>
                <a:gd name="connsiteX43" fmla="*/ 635218 w 1070243"/>
                <a:gd name="connsiteY43" fmla="*/ 169472 h 1102737"/>
                <a:gd name="connsiteX44" fmla="*/ 624853 w 1070243"/>
                <a:gd name="connsiteY44" fmla="*/ 172927 h 1102737"/>
                <a:gd name="connsiteX45" fmla="*/ 621399 w 1070243"/>
                <a:gd name="connsiteY45" fmla="*/ 166018 h 1102737"/>
                <a:gd name="connsiteX46" fmla="*/ 621399 w 1070243"/>
                <a:gd name="connsiteY46" fmla="*/ 152105 h 1102737"/>
                <a:gd name="connsiteX47" fmla="*/ 624853 w 1070243"/>
                <a:gd name="connsiteY47" fmla="*/ 145195 h 1102737"/>
                <a:gd name="connsiteX48" fmla="*/ 638673 w 1070243"/>
                <a:gd name="connsiteY48" fmla="*/ 131376 h 1102737"/>
                <a:gd name="connsiteX49" fmla="*/ 652492 w 1070243"/>
                <a:gd name="connsiteY49" fmla="*/ 121012 h 1102737"/>
                <a:gd name="connsiteX50" fmla="*/ 659402 w 1070243"/>
                <a:gd name="connsiteY50" fmla="*/ 117557 h 1102737"/>
                <a:gd name="connsiteX51" fmla="*/ 659402 w 1070243"/>
                <a:gd name="connsiteY51" fmla="*/ 103737 h 1102737"/>
                <a:gd name="connsiteX52" fmla="*/ 649037 w 1070243"/>
                <a:gd name="connsiteY52" fmla="*/ 93373 h 1102737"/>
                <a:gd name="connsiteX53" fmla="*/ 635218 w 1070243"/>
                <a:gd name="connsiteY53" fmla="*/ 76099 h 1102737"/>
                <a:gd name="connsiteX54" fmla="*/ 631763 w 1070243"/>
                <a:gd name="connsiteY54" fmla="*/ 62280 h 1102737"/>
                <a:gd name="connsiteX55" fmla="*/ 628308 w 1070243"/>
                <a:gd name="connsiteY55" fmla="*/ 48461 h 1102737"/>
                <a:gd name="connsiteX56" fmla="*/ 631763 w 1070243"/>
                <a:gd name="connsiteY56" fmla="*/ 41551 h 1102737"/>
                <a:gd name="connsiteX57" fmla="*/ 624853 w 1070243"/>
                <a:gd name="connsiteY57" fmla="*/ 34641 h 1102737"/>
                <a:gd name="connsiteX58" fmla="*/ 614489 w 1070243"/>
                <a:gd name="connsiteY58" fmla="*/ 31187 h 1102737"/>
                <a:gd name="connsiteX59" fmla="*/ 604124 w 1070243"/>
                <a:gd name="connsiteY59" fmla="*/ 41551 h 1102737"/>
                <a:gd name="connsiteX60" fmla="*/ 583396 w 1070243"/>
                <a:gd name="connsiteY60" fmla="*/ 89918 h 1102737"/>
                <a:gd name="connsiteX61" fmla="*/ 573125 w 1070243"/>
                <a:gd name="connsiteY61" fmla="*/ 83009 h 1102737"/>
                <a:gd name="connsiteX62" fmla="*/ 555851 w 1070243"/>
                <a:gd name="connsiteY62" fmla="*/ 79554 h 1102737"/>
                <a:gd name="connsiteX63" fmla="*/ 545486 w 1070243"/>
                <a:gd name="connsiteY63" fmla="*/ 86464 h 1102737"/>
                <a:gd name="connsiteX64" fmla="*/ 535122 w 1070243"/>
                <a:gd name="connsiteY64" fmla="*/ 86464 h 1102737"/>
                <a:gd name="connsiteX65" fmla="*/ 517848 w 1070243"/>
                <a:gd name="connsiteY65" fmla="*/ 79554 h 1102737"/>
                <a:gd name="connsiteX66" fmla="*/ 500574 w 1070243"/>
                <a:gd name="connsiteY66" fmla="*/ 76099 h 1102737"/>
                <a:gd name="connsiteX67" fmla="*/ 493664 w 1070243"/>
                <a:gd name="connsiteY67" fmla="*/ 76099 h 1102737"/>
                <a:gd name="connsiteX68" fmla="*/ 493664 w 1070243"/>
                <a:gd name="connsiteY68" fmla="*/ 83009 h 1102737"/>
                <a:gd name="connsiteX69" fmla="*/ 490209 w 1070243"/>
                <a:gd name="connsiteY69" fmla="*/ 93373 h 1102737"/>
                <a:gd name="connsiteX70" fmla="*/ 486754 w 1070243"/>
                <a:gd name="connsiteY70" fmla="*/ 93373 h 1102737"/>
                <a:gd name="connsiteX71" fmla="*/ 476390 w 1070243"/>
                <a:gd name="connsiteY71" fmla="*/ 93373 h 1102737"/>
                <a:gd name="connsiteX72" fmla="*/ 469480 w 1070243"/>
                <a:gd name="connsiteY72" fmla="*/ 86464 h 1102737"/>
                <a:gd name="connsiteX73" fmla="*/ 462571 w 1070243"/>
                <a:gd name="connsiteY73" fmla="*/ 93373 h 1102737"/>
                <a:gd name="connsiteX74" fmla="*/ 448752 w 1070243"/>
                <a:gd name="connsiteY74" fmla="*/ 100283 h 1102737"/>
                <a:gd name="connsiteX75" fmla="*/ 438480 w 1070243"/>
                <a:gd name="connsiteY75" fmla="*/ 107192 h 1102737"/>
                <a:gd name="connsiteX76" fmla="*/ 421206 w 1070243"/>
                <a:gd name="connsiteY76" fmla="*/ 110647 h 1102737"/>
                <a:gd name="connsiteX77" fmla="*/ 407387 w 1070243"/>
                <a:gd name="connsiteY77" fmla="*/ 110647 h 1102737"/>
                <a:gd name="connsiteX78" fmla="*/ 393568 w 1070243"/>
                <a:gd name="connsiteY78" fmla="*/ 96828 h 1102737"/>
                <a:gd name="connsiteX79" fmla="*/ 383203 w 1070243"/>
                <a:gd name="connsiteY79" fmla="*/ 83009 h 1102737"/>
                <a:gd name="connsiteX80" fmla="*/ 383203 w 1070243"/>
                <a:gd name="connsiteY80" fmla="*/ 48461 h 1102737"/>
                <a:gd name="connsiteX81" fmla="*/ 393568 w 1070243"/>
                <a:gd name="connsiteY81" fmla="*/ 38096 h 1102737"/>
                <a:gd name="connsiteX82" fmla="*/ 379749 w 1070243"/>
                <a:gd name="connsiteY82" fmla="*/ 0 h 1102737"/>
                <a:gd name="connsiteX83" fmla="*/ 359020 w 1070243"/>
                <a:gd name="connsiteY83" fmla="*/ 0 h 1102737"/>
                <a:gd name="connsiteX84" fmla="*/ 362475 w 1070243"/>
                <a:gd name="connsiteY84" fmla="*/ 6910 h 1102737"/>
                <a:gd name="connsiteX85" fmla="*/ 355565 w 1070243"/>
                <a:gd name="connsiteY85" fmla="*/ 24277 h 1102737"/>
                <a:gd name="connsiteX86" fmla="*/ 334836 w 1070243"/>
                <a:gd name="connsiteY86" fmla="*/ 31187 h 1102737"/>
                <a:gd name="connsiteX87" fmla="*/ 317656 w 1070243"/>
                <a:gd name="connsiteY87" fmla="*/ 34641 h 1102737"/>
                <a:gd name="connsiteX88" fmla="*/ 307291 w 1070243"/>
                <a:gd name="connsiteY88" fmla="*/ 41551 h 1102737"/>
                <a:gd name="connsiteX89" fmla="*/ 300381 w 1070243"/>
                <a:gd name="connsiteY89" fmla="*/ 38096 h 1102737"/>
                <a:gd name="connsiteX90" fmla="*/ 279653 w 1070243"/>
                <a:gd name="connsiteY90" fmla="*/ 38096 h 1102737"/>
                <a:gd name="connsiteX91" fmla="*/ 265834 w 1070243"/>
                <a:gd name="connsiteY91" fmla="*/ 31187 h 1102737"/>
                <a:gd name="connsiteX92" fmla="*/ 255469 w 1070243"/>
                <a:gd name="connsiteY92" fmla="*/ 34641 h 1102737"/>
                <a:gd name="connsiteX93" fmla="*/ 265834 w 1070243"/>
                <a:gd name="connsiteY93" fmla="*/ 45006 h 1102737"/>
                <a:gd name="connsiteX94" fmla="*/ 269288 w 1070243"/>
                <a:gd name="connsiteY94" fmla="*/ 62280 h 1102737"/>
                <a:gd name="connsiteX95" fmla="*/ 279653 w 1070243"/>
                <a:gd name="connsiteY95" fmla="*/ 76099 h 1102737"/>
                <a:gd name="connsiteX96" fmla="*/ 290017 w 1070243"/>
                <a:gd name="connsiteY96" fmla="*/ 76099 h 1102737"/>
                <a:gd name="connsiteX97" fmla="*/ 290017 w 1070243"/>
                <a:gd name="connsiteY97" fmla="*/ 89918 h 1102737"/>
                <a:gd name="connsiteX98" fmla="*/ 269288 w 1070243"/>
                <a:gd name="connsiteY98" fmla="*/ 96828 h 1102737"/>
                <a:gd name="connsiteX99" fmla="*/ 258924 w 1070243"/>
                <a:gd name="connsiteY99" fmla="*/ 107192 h 1102737"/>
                <a:gd name="connsiteX100" fmla="*/ 248559 w 1070243"/>
                <a:gd name="connsiteY100" fmla="*/ 117557 h 1102737"/>
                <a:gd name="connsiteX101" fmla="*/ 224376 w 1070243"/>
                <a:gd name="connsiteY101" fmla="*/ 124466 h 1102737"/>
                <a:gd name="connsiteX102" fmla="*/ 207102 w 1070243"/>
                <a:gd name="connsiteY102" fmla="*/ 121012 h 1102737"/>
                <a:gd name="connsiteX103" fmla="*/ 193282 w 1070243"/>
                <a:gd name="connsiteY103" fmla="*/ 107192 h 1102737"/>
                <a:gd name="connsiteX104" fmla="*/ 186373 w 1070243"/>
                <a:gd name="connsiteY104" fmla="*/ 96828 h 1102737"/>
                <a:gd name="connsiteX105" fmla="*/ 176008 w 1070243"/>
                <a:gd name="connsiteY105" fmla="*/ 93373 h 1102737"/>
                <a:gd name="connsiteX106" fmla="*/ 158828 w 1070243"/>
                <a:gd name="connsiteY106" fmla="*/ 96828 h 1102737"/>
                <a:gd name="connsiteX107" fmla="*/ 110460 w 1070243"/>
                <a:gd name="connsiteY107" fmla="*/ 100283 h 1102737"/>
                <a:gd name="connsiteX108" fmla="*/ 110460 w 1070243"/>
                <a:gd name="connsiteY108" fmla="*/ 110647 h 1102737"/>
                <a:gd name="connsiteX109" fmla="*/ 131189 w 1070243"/>
                <a:gd name="connsiteY109" fmla="*/ 117557 h 1102737"/>
                <a:gd name="connsiteX110" fmla="*/ 131189 w 1070243"/>
                <a:gd name="connsiteY110" fmla="*/ 127921 h 1102737"/>
                <a:gd name="connsiteX111" fmla="*/ 113915 w 1070243"/>
                <a:gd name="connsiteY111" fmla="*/ 124466 h 1102737"/>
                <a:gd name="connsiteX112" fmla="*/ 110460 w 1070243"/>
                <a:gd name="connsiteY112" fmla="*/ 127921 h 1102737"/>
                <a:gd name="connsiteX113" fmla="*/ 110460 w 1070243"/>
                <a:gd name="connsiteY113" fmla="*/ 148650 h 1102737"/>
                <a:gd name="connsiteX114" fmla="*/ 120825 w 1070243"/>
                <a:gd name="connsiteY114" fmla="*/ 162563 h 1102737"/>
                <a:gd name="connsiteX115" fmla="*/ 124280 w 1070243"/>
                <a:gd name="connsiteY115" fmla="*/ 183292 h 1102737"/>
                <a:gd name="connsiteX116" fmla="*/ 120825 w 1070243"/>
                <a:gd name="connsiteY116" fmla="*/ 207475 h 1102737"/>
                <a:gd name="connsiteX117" fmla="*/ 117370 w 1070243"/>
                <a:gd name="connsiteY117" fmla="*/ 217840 h 1102737"/>
                <a:gd name="connsiteX118" fmla="*/ 117370 w 1070243"/>
                <a:gd name="connsiteY118" fmla="*/ 238568 h 1102737"/>
                <a:gd name="connsiteX119" fmla="*/ 107006 w 1070243"/>
                <a:gd name="connsiteY119" fmla="*/ 262752 h 1102737"/>
                <a:gd name="connsiteX120" fmla="*/ 69003 w 1070243"/>
                <a:gd name="connsiteY120" fmla="*/ 266207 h 1102737"/>
                <a:gd name="connsiteX121" fmla="*/ 44912 w 1070243"/>
                <a:gd name="connsiteY121" fmla="*/ 276571 h 1102737"/>
                <a:gd name="connsiteX122" fmla="*/ 27638 w 1070243"/>
                <a:gd name="connsiteY122" fmla="*/ 297300 h 1102737"/>
                <a:gd name="connsiteX123" fmla="*/ 24184 w 1070243"/>
                <a:gd name="connsiteY123" fmla="*/ 314574 h 1102737"/>
                <a:gd name="connsiteX124" fmla="*/ 13819 w 1070243"/>
                <a:gd name="connsiteY124" fmla="*/ 324939 h 1102737"/>
                <a:gd name="connsiteX125" fmla="*/ 0 w 1070243"/>
                <a:gd name="connsiteY125" fmla="*/ 345761 h 1102737"/>
                <a:gd name="connsiteX126" fmla="*/ 13819 w 1070243"/>
                <a:gd name="connsiteY126" fmla="*/ 383764 h 1102737"/>
                <a:gd name="connsiteX127" fmla="*/ 31093 w 1070243"/>
                <a:gd name="connsiteY127" fmla="*/ 401038 h 1102737"/>
                <a:gd name="connsiteX128" fmla="*/ 48367 w 1070243"/>
                <a:gd name="connsiteY128" fmla="*/ 418312 h 1102737"/>
                <a:gd name="connsiteX129" fmla="*/ 62093 w 1070243"/>
                <a:gd name="connsiteY129" fmla="*/ 421767 h 1102737"/>
                <a:gd name="connsiteX130" fmla="*/ 65548 w 1070243"/>
                <a:gd name="connsiteY130" fmla="*/ 418312 h 1102737"/>
                <a:gd name="connsiteX131" fmla="*/ 82822 w 1070243"/>
                <a:gd name="connsiteY131" fmla="*/ 411402 h 1102737"/>
                <a:gd name="connsiteX132" fmla="*/ 93186 w 1070243"/>
                <a:gd name="connsiteY132" fmla="*/ 401038 h 1102737"/>
                <a:gd name="connsiteX133" fmla="*/ 96641 w 1070243"/>
                <a:gd name="connsiteY133" fmla="*/ 411402 h 1102737"/>
                <a:gd name="connsiteX134" fmla="*/ 89732 w 1070243"/>
                <a:gd name="connsiteY134" fmla="*/ 432131 h 1102737"/>
                <a:gd name="connsiteX135" fmla="*/ 93186 w 1070243"/>
                <a:gd name="connsiteY135" fmla="*/ 442495 h 1102737"/>
                <a:gd name="connsiteX136" fmla="*/ 103551 w 1070243"/>
                <a:gd name="connsiteY136" fmla="*/ 442495 h 1102737"/>
                <a:gd name="connsiteX137" fmla="*/ 124280 w 1070243"/>
                <a:gd name="connsiteY137" fmla="*/ 445950 h 1102737"/>
                <a:gd name="connsiteX138" fmla="*/ 158828 w 1070243"/>
                <a:gd name="connsiteY138" fmla="*/ 442495 h 1102737"/>
                <a:gd name="connsiteX139" fmla="*/ 183011 w 1070243"/>
                <a:gd name="connsiteY139" fmla="*/ 432131 h 1102737"/>
                <a:gd name="connsiteX140" fmla="*/ 196737 w 1070243"/>
                <a:gd name="connsiteY140" fmla="*/ 421767 h 1102737"/>
                <a:gd name="connsiteX141" fmla="*/ 200192 w 1070243"/>
                <a:gd name="connsiteY141" fmla="*/ 421767 h 1102737"/>
                <a:gd name="connsiteX142" fmla="*/ 217466 w 1070243"/>
                <a:gd name="connsiteY142" fmla="*/ 414857 h 1102737"/>
                <a:gd name="connsiteX143" fmla="*/ 238195 w 1070243"/>
                <a:gd name="connsiteY143" fmla="*/ 414857 h 1102737"/>
                <a:gd name="connsiteX144" fmla="*/ 241650 w 1070243"/>
                <a:gd name="connsiteY144" fmla="*/ 463224 h 1102737"/>
                <a:gd name="connsiteX145" fmla="*/ 262378 w 1070243"/>
                <a:gd name="connsiteY145" fmla="*/ 483953 h 1102737"/>
                <a:gd name="connsiteX146" fmla="*/ 279653 w 1070243"/>
                <a:gd name="connsiteY146" fmla="*/ 487408 h 1102737"/>
                <a:gd name="connsiteX147" fmla="*/ 296927 w 1070243"/>
                <a:gd name="connsiteY147" fmla="*/ 490956 h 1102737"/>
                <a:gd name="connsiteX148" fmla="*/ 303836 w 1070243"/>
                <a:gd name="connsiteY148" fmla="*/ 501321 h 1102737"/>
                <a:gd name="connsiteX149" fmla="*/ 317656 w 1070243"/>
                <a:gd name="connsiteY149" fmla="*/ 504775 h 1102737"/>
                <a:gd name="connsiteX150" fmla="*/ 338291 w 1070243"/>
                <a:gd name="connsiteY150" fmla="*/ 515140 h 1102737"/>
                <a:gd name="connsiteX151" fmla="*/ 369384 w 1070243"/>
                <a:gd name="connsiteY151" fmla="*/ 522050 h 1102737"/>
                <a:gd name="connsiteX152" fmla="*/ 376294 w 1070243"/>
                <a:gd name="connsiteY152" fmla="*/ 542778 h 1102737"/>
                <a:gd name="connsiteX153" fmla="*/ 379749 w 1070243"/>
                <a:gd name="connsiteY153" fmla="*/ 556598 h 1102737"/>
                <a:gd name="connsiteX154" fmla="*/ 376294 w 1070243"/>
                <a:gd name="connsiteY154" fmla="*/ 563507 h 1102737"/>
                <a:gd name="connsiteX155" fmla="*/ 376294 w 1070243"/>
                <a:gd name="connsiteY155" fmla="*/ 570417 h 1102737"/>
                <a:gd name="connsiteX156" fmla="*/ 379749 w 1070243"/>
                <a:gd name="connsiteY156" fmla="*/ 591146 h 1102737"/>
                <a:gd name="connsiteX157" fmla="*/ 428116 w 1070243"/>
                <a:gd name="connsiteY157" fmla="*/ 591146 h 1102737"/>
                <a:gd name="connsiteX158" fmla="*/ 424661 w 1070243"/>
                <a:gd name="connsiteY158" fmla="*/ 604965 h 1102737"/>
                <a:gd name="connsiteX159" fmla="*/ 428116 w 1070243"/>
                <a:gd name="connsiteY159" fmla="*/ 625694 h 1102737"/>
                <a:gd name="connsiteX160" fmla="*/ 445297 w 1070243"/>
                <a:gd name="connsiteY160" fmla="*/ 632603 h 1102737"/>
                <a:gd name="connsiteX161" fmla="*/ 448752 w 1070243"/>
                <a:gd name="connsiteY161" fmla="*/ 649971 h 1102737"/>
                <a:gd name="connsiteX162" fmla="*/ 448752 w 1070243"/>
                <a:gd name="connsiteY162" fmla="*/ 660335 h 1102737"/>
                <a:gd name="connsiteX163" fmla="*/ 435026 w 1070243"/>
                <a:gd name="connsiteY163" fmla="*/ 684519 h 1102737"/>
                <a:gd name="connsiteX164" fmla="*/ 441935 w 1070243"/>
                <a:gd name="connsiteY164" fmla="*/ 694883 h 1102737"/>
                <a:gd name="connsiteX165" fmla="*/ 435026 w 1070243"/>
                <a:gd name="connsiteY165" fmla="*/ 701793 h 1102737"/>
                <a:gd name="connsiteX166" fmla="*/ 441935 w 1070243"/>
                <a:gd name="connsiteY166" fmla="*/ 715612 h 1102737"/>
                <a:gd name="connsiteX167" fmla="*/ 441935 w 1070243"/>
                <a:gd name="connsiteY167" fmla="*/ 763980 h 1102737"/>
                <a:gd name="connsiteX168" fmla="*/ 459116 w 1070243"/>
                <a:gd name="connsiteY168" fmla="*/ 763980 h 1102737"/>
                <a:gd name="connsiteX169" fmla="*/ 472935 w 1070243"/>
                <a:gd name="connsiteY169" fmla="*/ 760525 h 1102737"/>
                <a:gd name="connsiteX170" fmla="*/ 490209 w 1070243"/>
                <a:gd name="connsiteY170" fmla="*/ 763980 h 1102737"/>
                <a:gd name="connsiteX171" fmla="*/ 500574 w 1070243"/>
                <a:gd name="connsiteY171" fmla="*/ 770889 h 1102737"/>
                <a:gd name="connsiteX172" fmla="*/ 497119 w 1070243"/>
                <a:gd name="connsiteY172" fmla="*/ 788163 h 1102737"/>
                <a:gd name="connsiteX173" fmla="*/ 504028 w 1070243"/>
                <a:gd name="connsiteY173" fmla="*/ 805437 h 1102737"/>
                <a:gd name="connsiteX174" fmla="*/ 517848 w 1070243"/>
                <a:gd name="connsiteY174" fmla="*/ 819256 h 1102737"/>
                <a:gd name="connsiteX175" fmla="*/ 531667 w 1070243"/>
                <a:gd name="connsiteY175" fmla="*/ 815802 h 1102737"/>
                <a:gd name="connsiteX176" fmla="*/ 542031 w 1070243"/>
                <a:gd name="connsiteY176" fmla="*/ 819256 h 1102737"/>
                <a:gd name="connsiteX177" fmla="*/ 538577 w 1070243"/>
                <a:gd name="connsiteY177" fmla="*/ 833169 h 1102737"/>
                <a:gd name="connsiteX178" fmla="*/ 531667 w 1070243"/>
                <a:gd name="connsiteY178" fmla="*/ 846988 h 1102737"/>
                <a:gd name="connsiteX179" fmla="*/ 531667 w 1070243"/>
                <a:gd name="connsiteY179" fmla="*/ 857353 h 1102737"/>
                <a:gd name="connsiteX180" fmla="*/ 548941 w 1070243"/>
                <a:gd name="connsiteY180" fmla="*/ 860808 h 1102737"/>
                <a:gd name="connsiteX181" fmla="*/ 555851 w 1070243"/>
                <a:gd name="connsiteY181" fmla="*/ 867717 h 1102737"/>
                <a:gd name="connsiteX182" fmla="*/ 559305 w 1070243"/>
                <a:gd name="connsiteY182" fmla="*/ 884991 h 1102737"/>
                <a:gd name="connsiteX183" fmla="*/ 552396 w 1070243"/>
                <a:gd name="connsiteY183" fmla="*/ 905720 h 1102737"/>
                <a:gd name="connsiteX184" fmla="*/ 545486 w 1070243"/>
                <a:gd name="connsiteY184" fmla="*/ 916084 h 1102737"/>
                <a:gd name="connsiteX185" fmla="*/ 531667 w 1070243"/>
                <a:gd name="connsiteY185" fmla="*/ 922994 h 1102737"/>
                <a:gd name="connsiteX186" fmla="*/ 517848 w 1070243"/>
                <a:gd name="connsiteY186" fmla="*/ 933358 h 1102737"/>
                <a:gd name="connsiteX187" fmla="*/ 476390 w 1070243"/>
                <a:gd name="connsiteY187" fmla="*/ 974910 h 1102737"/>
                <a:gd name="connsiteX188" fmla="*/ 466026 w 1070243"/>
                <a:gd name="connsiteY188" fmla="*/ 981819 h 1102737"/>
                <a:gd name="connsiteX189" fmla="*/ 462571 w 1070243"/>
                <a:gd name="connsiteY189" fmla="*/ 988729 h 1102737"/>
                <a:gd name="connsiteX190" fmla="*/ 479845 w 1070243"/>
                <a:gd name="connsiteY190" fmla="*/ 1002548 h 1102737"/>
                <a:gd name="connsiteX191" fmla="*/ 493664 w 1070243"/>
                <a:gd name="connsiteY191" fmla="*/ 1019822 h 1102737"/>
                <a:gd name="connsiteX192" fmla="*/ 507483 w 1070243"/>
                <a:gd name="connsiteY192" fmla="*/ 1023277 h 1102737"/>
                <a:gd name="connsiteX193" fmla="*/ 531667 w 1070243"/>
                <a:gd name="connsiteY193" fmla="*/ 1037096 h 1102737"/>
                <a:gd name="connsiteX194" fmla="*/ 552396 w 1070243"/>
                <a:gd name="connsiteY194" fmla="*/ 1054370 h 1102737"/>
                <a:gd name="connsiteX195" fmla="*/ 562760 w 1070243"/>
                <a:gd name="connsiteY195" fmla="*/ 1061280 h 1102737"/>
                <a:gd name="connsiteX196" fmla="*/ 569670 w 1070243"/>
                <a:gd name="connsiteY196" fmla="*/ 1075099 h 1102737"/>
                <a:gd name="connsiteX197" fmla="*/ 566215 w 1070243"/>
                <a:gd name="connsiteY197" fmla="*/ 1085463 h 1102737"/>
                <a:gd name="connsiteX198" fmla="*/ 566215 w 1070243"/>
                <a:gd name="connsiteY198" fmla="*/ 1095828 h 1102737"/>
                <a:gd name="connsiteX199" fmla="*/ 573125 w 1070243"/>
                <a:gd name="connsiteY199" fmla="*/ 1102738 h 1102737"/>
                <a:gd name="connsiteX200" fmla="*/ 579941 w 1070243"/>
                <a:gd name="connsiteY200" fmla="*/ 1088918 h 1102737"/>
                <a:gd name="connsiteX201" fmla="*/ 590305 w 1070243"/>
                <a:gd name="connsiteY201" fmla="*/ 1075099 h 1102737"/>
                <a:gd name="connsiteX202" fmla="*/ 593760 w 1070243"/>
                <a:gd name="connsiteY202" fmla="*/ 1068189 h 1102737"/>
                <a:gd name="connsiteX203" fmla="*/ 597215 w 1070243"/>
                <a:gd name="connsiteY203" fmla="*/ 1057825 h 1102737"/>
                <a:gd name="connsiteX204" fmla="*/ 600670 w 1070243"/>
                <a:gd name="connsiteY204" fmla="*/ 1047460 h 1102737"/>
                <a:gd name="connsiteX205" fmla="*/ 600670 w 1070243"/>
                <a:gd name="connsiteY205" fmla="*/ 1037096 h 1102737"/>
                <a:gd name="connsiteX206" fmla="*/ 607579 w 1070243"/>
                <a:gd name="connsiteY206" fmla="*/ 1030186 h 1102737"/>
                <a:gd name="connsiteX207" fmla="*/ 614489 w 1070243"/>
                <a:gd name="connsiteY207" fmla="*/ 1023277 h 1102737"/>
                <a:gd name="connsiteX208" fmla="*/ 621399 w 1070243"/>
                <a:gd name="connsiteY208" fmla="*/ 1012912 h 1102737"/>
                <a:gd name="connsiteX209" fmla="*/ 628308 w 1070243"/>
                <a:gd name="connsiteY209" fmla="*/ 1006003 h 1102737"/>
                <a:gd name="connsiteX210" fmla="*/ 635218 w 1070243"/>
                <a:gd name="connsiteY210" fmla="*/ 1002548 h 1102737"/>
                <a:gd name="connsiteX211" fmla="*/ 638673 w 1070243"/>
                <a:gd name="connsiteY211" fmla="*/ 1009458 h 1102737"/>
                <a:gd name="connsiteX212" fmla="*/ 631763 w 1070243"/>
                <a:gd name="connsiteY212" fmla="*/ 1019822 h 1102737"/>
                <a:gd name="connsiteX213" fmla="*/ 621399 w 1070243"/>
                <a:gd name="connsiteY213" fmla="*/ 1030186 h 1102737"/>
                <a:gd name="connsiteX214" fmla="*/ 614489 w 1070243"/>
                <a:gd name="connsiteY214" fmla="*/ 1037096 h 1102737"/>
                <a:gd name="connsiteX215" fmla="*/ 607579 w 1070243"/>
                <a:gd name="connsiteY215" fmla="*/ 1044006 h 1102737"/>
                <a:gd name="connsiteX216" fmla="*/ 607579 w 1070243"/>
                <a:gd name="connsiteY216" fmla="*/ 1047460 h 1102737"/>
                <a:gd name="connsiteX217" fmla="*/ 607579 w 1070243"/>
                <a:gd name="connsiteY217" fmla="*/ 1054370 h 1102737"/>
                <a:gd name="connsiteX218" fmla="*/ 621399 w 1070243"/>
                <a:gd name="connsiteY218" fmla="*/ 1044006 h 1102737"/>
                <a:gd name="connsiteX219" fmla="*/ 631763 w 1070243"/>
                <a:gd name="connsiteY219" fmla="*/ 1037096 h 1102737"/>
                <a:gd name="connsiteX220" fmla="*/ 638673 w 1070243"/>
                <a:gd name="connsiteY220" fmla="*/ 1023277 h 1102737"/>
                <a:gd name="connsiteX221" fmla="*/ 645582 w 1070243"/>
                <a:gd name="connsiteY221" fmla="*/ 1016367 h 1102737"/>
                <a:gd name="connsiteX222" fmla="*/ 649037 w 1070243"/>
                <a:gd name="connsiteY222" fmla="*/ 1009458 h 1102737"/>
                <a:gd name="connsiteX223" fmla="*/ 655947 w 1070243"/>
                <a:gd name="connsiteY223" fmla="*/ 992184 h 1102737"/>
                <a:gd name="connsiteX224" fmla="*/ 662856 w 1070243"/>
                <a:gd name="connsiteY224" fmla="*/ 978364 h 1102737"/>
                <a:gd name="connsiteX225" fmla="*/ 673221 w 1070243"/>
                <a:gd name="connsiteY225" fmla="*/ 968000 h 1102737"/>
                <a:gd name="connsiteX226" fmla="*/ 687040 w 1070243"/>
                <a:gd name="connsiteY226" fmla="*/ 950633 h 1102737"/>
                <a:gd name="connsiteX227" fmla="*/ 697405 w 1070243"/>
                <a:gd name="connsiteY227" fmla="*/ 936813 h 1102737"/>
                <a:gd name="connsiteX228" fmla="*/ 693949 w 1070243"/>
                <a:gd name="connsiteY228" fmla="*/ 909175 h 1102737"/>
                <a:gd name="connsiteX229" fmla="*/ 693949 w 1070243"/>
                <a:gd name="connsiteY229" fmla="*/ 891901 h 1102737"/>
                <a:gd name="connsiteX230" fmla="*/ 697405 w 1070243"/>
                <a:gd name="connsiteY230" fmla="*/ 867717 h 1102737"/>
                <a:gd name="connsiteX231" fmla="*/ 704314 w 1070243"/>
                <a:gd name="connsiteY231" fmla="*/ 853898 h 1102737"/>
                <a:gd name="connsiteX232" fmla="*/ 721495 w 1070243"/>
                <a:gd name="connsiteY232" fmla="*/ 836624 h 1102737"/>
                <a:gd name="connsiteX233" fmla="*/ 742224 w 1070243"/>
                <a:gd name="connsiteY233" fmla="*/ 829714 h 1102737"/>
                <a:gd name="connsiteX234" fmla="*/ 756043 w 1070243"/>
                <a:gd name="connsiteY234" fmla="*/ 815802 h 1102737"/>
                <a:gd name="connsiteX235" fmla="*/ 769862 w 1070243"/>
                <a:gd name="connsiteY235" fmla="*/ 815802 h 1102737"/>
                <a:gd name="connsiteX236" fmla="*/ 783681 w 1070243"/>
                <a:gd name="connsiteY236" fmla="*/ 808892 h 1102737"/>
                <a:gd name="connsiteX237" fmla="*/ 800955 w 1070243"/>
                <a:gd name="connsiteY237" fmla="*/ 791618 h 1102737"/>
                <a:gd name="connsiteX238" fmla="*/ 832049 w 1070243"/>
                <a:gd name="connsiteY238" fmla="*/ 788163 h 1102737"/>
                <a:gd name="connsiteX239" fmla="*/ 852684 w 1070243"/>
                <a:gd name="connsiteY239" fmla="*/ 788163 h 1102737"/>
                <a:gd name="connsiteX240" fmla="*/ 876868 w 1070243"/>
                <a:gd name="connsiteY240" fmla="*/ 781253 h 1102737"/>
                <a:gd name="connsiteX241" fmla="*/ 883777 w 1070243"/>
                <a:gd name="connsiteY241" fmla="*/ 770889 h 1102737"/>
                <a:gd name="connsiteX242" fmla="*/ 894142 w 1070243"/>
                <a:gd name="connsiteY242" fmla="*/ 760525 h 1102737"/>
                <a:gd name="connsiteX243" fmla="*/ 904506 w 1070243"/>
                <a:gd name="connsiteY243" fmla="*/ 750160 h 1102737"/>
                <a:gd name="connsiteX244" fmla="*/ 911416 w 1070243"/>
                <a:gd name="connsiteY244" fmla="*/ 725977 h 1102737"/>
                <a:gd name="connsiteX245" fmla="*/ 925235 w 1070243"/>
                <a:gd name="connsiteY245" fmla="*/ 705248 h 1102737"/>
                <a:gd name="connsiteX246" fmla="*/ 939054 w 1070243"/>
                <a:gd name="connsiteY246" fmla="*/ 677609 h 1102737"/>
                <a:gd name="connsiteX247" fmla="*/ 945964 w 1070243"/>
                <a:gd name="connsiteY247" fmla="*/ 649971 h 1102737"/>
                <a:gd name="connsiteX248" fmla="*/ 952873 w 1070243"/>
                <a:gd name="connsiteY248" fmla="*/ 632603 h 1102737"/>
                <a:gd name="connsiteX249" fmla="*/ 956328 w 1070243"/>
                <a:gd name="connsiteY249" fmla="*/ 604965 h 1102737"/>
                <a:gd name="connsiteX250" fmla="*/ 959783 w 1070243"/>
                <a:gd name="connsiteY250" fmla="*/ 584236 h 1102737"/>
                <a:gd name="connsiteX251" fmla="*/ 959783 w 1070243"/>
                <a:gd name="connsiteY251" fmla="*/ 556598 h 1102737"/>
                <a:gd name="connsiteX252" fmla="*/ 956328 w 1070243"/>
                <a:gd name="connsiteY252" fmla="*/ 535869 h 1102737"/>
                <a:gd name="connsiteX253" fmla="*/ 956328 w 1070243"/>
                <a:gd name="connsiteY253" fmla="*/ 522050 h 1102737"/>
                <a:gd name="connsiteX254" fmla="*/ 959783 w 1070243"/>
                <a:gd name="connsiteY254" fmla="*/ 508230 h 1102737"/>
                <a:gd name="connsiteX255" fmla="*/ 970148 w 1070243"/>
                <a:gd name="connsiteY255" fmla="*/ 501321 h 1102737"/>
                <a:gd name="connsiteX256" fmla="*/ 983873 w 1070243"/>
                <a:gd name="connsiteY256" fmla="*/ 494411 h 1102737"/>
                <a:gd name="connsiteX257" fmla="*/ 990783 w 1070243"/>
                <a:gd name="connsiteY257" fmla="*/ 487408 h 1102737"/>
                <a:gd name="connsiteX258" fmla="*/ 997692 w 1070243"/>
                <a:gd name="connsiteY258" fmla="*/ 480498 h 1102737"/>
                <a:gd name="connsiteX259" fmla="*/ 1001148 w 1070243"/>
                <a:gd name="connsiteY259" fmla="*/ 470134 h 1102737"/>
                <a:gd name="connsiteX260" fmla="*/ 1001148 w 1070243"/>
                <a:gd name="connsiteY260" fmla="*/ 456315 h 1102737"/>
                <a:gd name="connsiteX261" fmla="*/ 1035695 w 1070243"/>
                <a:gd name="connsiteY261" fmla="*/ 425222 h 1102737"/>
                <a:gd name="connsiteX262" fmla="*/ 1049515 w 1070243"/>
                <a:gd name="connsiteY262" fmla="*/ 407948 h 1102737"/>
                <a:gd name="connsiteX263" fmla="*/ 1066789 w 1070243"/>
                <a:gd name="connsiteY263" fmla="*/ 387219 h 1102737"/>
                <a:gd name="connsiteX264" fmla="*/ 1070244 w 1070243"/>
                <a:gd name="connsiteY264" fmla="*/ 356125 h 1102737"/>
                <a:gd name="connsiteX265" fmla="*/ 1070244 w 1070243"/>
                <a:gd name="connsiteY265" fmla="*/ 328393 h 1102737"/>
                <a:gd name="connsiteX266" fmla="*/ 1059879 w 1070243"/>
                <a:gd name="connsiteY266" fmla="*/ 300755 h 1102737"/>
                <a:gd name="connsiteX267" fmla="*/ 1052970 w 1070243"/>
                <a:gd name="connsiteY267" fmla="*/ 283481 h 110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70243" h="1102737">
                  <a:moveTo>
                    <a:pt x="1052970" y="283481"/>
                  </a:moveTo>
                  <a:lnTo>
                    <a:pt x="1039150" y="283481"/>
                  </a:lnTo>
                  <a:lnTo>
                    <a:pt x="1021876" y="286936"/>
                  </a:lnTo>
                  <a:lnTo>
                    <a:pt x="1004602" y="276571"/>
                  </a:lnTo>
                  <a:lnTo>
                    <a:pt x="987328" y="262752"/>
                  </a:lnTo>
                  <a:lnTo>
                    <a:pt x="966693" y="245478"/>
                  </a:lnTo>
                  <a:lnTo>
                    <a:pt x="945964" y="231659"/>
                  </a:lnTo>
                  <a:lnTo>
                    <a:pt x="928690" y="228204"/>
                  </a:lnTo>
                  <a:lnTo>
                    <a:pt x="911416" y="224749"/>
                  </a:lnTo>
                  <a:lnTo>
                    <a:pt x="890687" y="224749"/>
                  </a:lnTo>
                  <a:lnTo>
                    <a:pt x="873413" y="221294"/>
                  </a:lnTo>
                  <a:lnTo>
                    <a:pt x="856139" y="214385"/>
                  </a:lnTo>
                  <a:lnTo>
                    <a:pt x="842413" y="210930"/>
                  </a:lnTo>
                  <a:lnTo>
                    <a:pt x="832049" y="214385"/>
                  </a:lnTo>
                  <a:lnTo>
                    <a:pt x="821684" y="217840"/>
                  </a:lnTo>
                  <a:lnTo>
                    <a:pt x="807865" y="231659"/>
                  </a:lnTo>
                  <a:lnTo>
                    <a:pt x="804410" y="231659"/>
                  </a:lnTo>
                  <a:lnTo>
                    <a:pt x="807865" y="217840"/>
                  </a:lnTo>
                  <a:lnTo>
                    <a:pt x="814774" y="207475"/>
                  </a:lnTo>
                  <a:lnTo>
                    <a:pt x="814774" y="197111"/>
                  </a:lnTo>
                  <a:lnTo>
                    <a:pt x="797501" y="190201"/>
                  </a:lnTo>
                  <a:lnTo>
                    <a:pt x="773317" y="179837"/>
                  </a:lnTo>
                  <a:lnTo>
                    <a:pt x="759498" y="169472"/>
                  </a:lnTo>
                  <a:lnTo>
                    <a:pt x="735314" y="162563"/>
                  </a:lnTo>
                  <a:lnTo>
                    <a:pt x="724949" y="159015"/>
                  </a:lnTo>
                  <a:lnTo>
                    <a:pt x="714585" y="162563"/>
                  </a:lnTo>
                  <a:lnTo>
                    <a:pt x="707769" y="169472"/>
                  </a:lnTo>
                  <a:lnTo>
                    <a:pt x="704314" y="179837"/>
                  </a:lnTo>
                  <a:lnTo>
                    <a:pt x="700859" y="186746"/>
                  </a:lnTo>
                  <a:lnTo>
                    <a:pt x="697405" y="186746"/>
                  </a:lnTo>
                  <a:lnTo>
                    <a:pt x="683585" y="200565"/>
                  </a:lnTo>
                  <a:lnTo>
                    <a:pt x="676676" y="200565"/>
                  </a:lnTo>
                  <a:lnTo>
                    <a:pt x="676676" y="186746"/>
                  </a:lnTo>
                  <a:lnTo>
                    <a:pt x="687040" y="176382"/>
                  </a:lnTo>
                  <a:lnTo>
                    <a:pt x="693949" y="169472"/>
                  </a:lnTo>
                  <a:lnTo>
                    <a:pt x="697405" y="159015"/>
                  </a:lnTo>
                  <a:lnTo>
                    <a:pt x="697405" y="152105"/>
                  </a:lnTo>
                  <a:lnTo>
                    <a:pt x="690495" y="145195"/>
                  </a:lnTo>
                  <a:lnTo>
                    <a:pt x="676676" y="141740"/>
                  </a:lnTo>
                  <a:lnTo>
                    <a:pt x="669766" y="134831"/>
                  </a:lnTo>
                  <a:lnTo>
                    <a:pt x="655947" y="134831"/>
                  </a:lnTo>
                  <a:lnTo>
                    <a:pt x="642127" y="141740"/>
                  </a:lnTo>
                  <a:lnTo>
                    <a:pt x="642127" y="159015"/>
                  </a:lnTo>
                  <a:lnTo>
                    <a:pt x="635218" y="169472"/>
                  </a:lnTo>
                  <a:lnTo>
                    <a:pt x="624853" y="172927"/>
                  </a:lnTo>
                  <a:lnTo>
                    <a:pt x="621399" y="166018"/>
                  </a:lnTo>
                  <a:lnTo>
                    <a:pt x="621399" y="152105"/>
                  </a:lnTo>
                  <a:lnTo>
                    <a:pt x="624853" y="145195"/>
                  </a:lnTo>
                  <a:lnTo>
                    <a:pt x="638673" y="131376"/>
                  </a:lnTo>
                  <a:lnTo>
                    <a:pt x="652492" y="121012"/>
                  </a:lnTo>
                  <a:lnTo>
                    <a:pt x="659402" y="117557"/>
                  </a:lnTo>
                  <a:lnTo>
                    <a:pt x="659402" y="103737"/>
                  </a:lnTo>
                  <a:lnTo>
                    <a:pt x="649037" y="93373"/>
                  </a:lnTo>
                  <a:lnTo>
                    <a:pt x="635218" y="76099"/>
                  </a:lnTo>
                  <a:lnTo>
                    <a:pt x="631763" y="62280"/>
                  </a:lnTo>
                  <a:lnTo>
                    <a:pt x="628308" y="48461"/>
                  </a:lnTo>
                  <a:lnTo>
                    <a:pt x="631763" y="41551"/>
                  </a:lnTo>
                  <a:lnTo>
                    <a:pt x="624853" y="34641"/>
                  </a:lnTo>
                  <a:lnTo>
                    <a:pt x="614489" y="31187"/>
                  </a:lnTo>
                  <a:lnTo>
                    <a:pt x="604124" y="41551"/>
                  </a:lnTo>
                  <a:lnTo>
                    <a:pt x="583396" y="89918"/>
                  </a:lnTo>
                  <a:lnTo>
                    <a:pt x="573125" y="83009"/>
                  </a:lnTo>
                  <a:lnTo>
                    <a:pt x="555851" y="79554"/>
                  </a:lnTo>
                  <a:lnTo>
                    <a:pt x="545486" y="86464"/>
                  </a:lnTo>
                  <a:lnTo>
                    <a:pt x="535122" y="86464"/>
                  </a:lnTo>
                  <a:lnTo>
                    <a:pt x="517848" y="79554"/>
                  </a:lnTo>
                  <a:lnTo>
                    <a:pt x="500574" y="76099"/>
                  </a:lnTo>
                  <a:lnTo>
                    <a:pt x="493664" y="76099"/>
                  </a:lnTo>
                  <a:lnTo>
                    <a:pt x="493664" y="83009"/>
                  </a:lnTo>
                  <a:lnTo>
                    <a:pt x="490209" y="93373"/>
                  </a:lnTo>
                  <a:lnTo>
                    <a:pt x="486754" y="93373"/>
                  </a:lnTo>
                  <a:lnTo>
                    <a:pt x="476390" y="93373"/>
                  </a:lnTo>
                  <a:lnTo>
                    <a:pt x="469480" y="86464"/>
                  </a:lnTo>
                  <a:lnTo>
                    <a:pt x="462571" y="93373"/>
                  </a:lnTo>
                  <a:lnTo>
                    <a:pt x="448752" y="100283"/>
                  </a:lnTo>
                  <a:lnTo>
                    <a:pt x="438480" y="107192"/>
                  </a:lnTo>
                  <a:lnTo>
                    <a:pt x="421206" y="110647"/>
                  </a:lnTo>
                  <a:lnTo>
                    <a:pt x="407387" y="110647"/>
                  </a:lnTo>
                  <a:lnTo>
                    <a:pt x="393568" y="96828"/>
                  </a:lnTo>
                  <a:lnTo>
                    <a:pt x="383203" y="83009"/>
                  </a:lnTo>
                  <a:lnTo>
                    <a:pt x="383203" y="48461"/>
                  </a:lnTo>
                  <a:lnTo>
                    <a:pt x="393568" y="38096"/>
                  </a:lnTo>
                  <a:lnTo>
                    <a:pt x="379749" y="0"/>
                  </a:lnTo>
                  <a:lnTo>
                    <a:pt x="359020" y="0"/>
                  </a:lnTo>
                  <a:lnTo>
                    <a:pt x="362475" y="6910"/>
                  </a:lnTo>
                  <a:lnTo>
                    <a:pt x="355565" y="24277"/>
                  </a:lnTo>
                  <a:lnTo>
                    <a:pt x="334836" y="31187"/>
                  </a:lnTo>
                  <a:lnTo>
                    <a:pt x="317656" y="34641"/>
                  </a:lnTo>
                  <a:lnTo>
                    <a:pt x="307291" y="41551"/>
                  </a:lnTo>
                  <a:lnTo>
                    <a:pt x="300381" y="38096"/>
                  </a:lnTo>
                  <a:lnTo>
                    <a:pt x="279653" y="38096"/>
                  </a:lnTo>
                  <a:lnTo>
                    <a:pt x="265834" y="31187"/>
                  </a:lnTo>
                  <a:lnTo>
                    <a:pt x="255469" y="34641"/>
                  </a:lnTo>
                  <a:lnTo>
                    <a:pt x="265834" y="45006"/>
                  </a:lnTo>
                  <a:lnTo>
                    <a:pt x="269288" y="62280"/>
                  </a:lnTo>
                  <a:lnTo>
                    <a:pt x="279653" y="76099"/>
                  </a:lnTo>
                  <a:lnTo>
                    <a:pt x="290017" y="76099"/>
                  </a:lnTo>
                  <a:lnTo>
                    <a:pt x="290017" y="89918"/>
                  </a:lnTo>
                  <a:lnTo>
                    <a:pt x="269288" y="96828"/>
                  </a:lnTo>
                  <a:lnTo>
                    <a:pt x="258924" y="107192"/>
                  </a:lnTo>
                  <a:lnTo>
                    <a:pt x="248559" y="117557"/>
                  </a:lnTo>
                  <a:lnTo>
                    <a:pt x="224376" y="124466"/>
                  </a:lnTo>
                  <a:lnTo>
                    <a:pt x="207102" y="121012"/>
                  </a:lnTo>
                  <a:lnTo>
                    <a:pt x="193282" y="107192"/>
                  </a:lnTo>
                  <a:lnTo>
                    <a:pt x="186373" y="96828"/>
                  </a:lnTo>
                  <a:lnTo>
                    <a:pt x="176008" y="93373"/>
                  </a:lnTo>
                  <a:lnTo>
                    <a:pt x="158828" y="96828"/>
                  </a:lnTo>
                  <a:lnTo>
                    <a:pt x="110460" y="100283"/>
                  </a:lnTo>
                  <a:lnTo>
                    <a:pt x="110460" y="110647"/>
                  </a:lnTo>
                  <a:lnTo>
                    <a:pt x="131189" y="117557"/>
                  </a:lnTo>
                  <a:lnTo>
                    <a:pt x="131189" y="127921"/>
                  </a:lnTo>
                  <a:lnTo>
                    <a:pt x="113915" y="124466"/>
                  </a:lnTo>
                  <a:lnTo>
                    <a:pt x="110460" y="127921"/>
                  </a:lnTo>
                  <a:lnTo>
                    <a:pt x="110460" y="148650"/>
                  </a:lnTo>
                  <a:lnTo>
                    <a:pt x="120825" y="162563"/>
                  </a:lnTo>
                  <a:lnTo>
                    <a:pt x="124280" y="183292"/>
                  </a:lnTo>
                  <a:lnTo>
                    <a:pt x="120825" y="207475"/>
                  </a:lnTo>
                  <a:lnTo>
                    <a:pt x="117370" y="217840"/>
                  </a:lnTo>
                  <a:lnTo>
                    <a:pt x="117370" y="238568"/>
                  </a:lnTo>
                  <a:lnTo>
                    <a:pt x="107006" y="262752"/>
                  </a:lnTo>
                  <a:lnTo>
                    <a:pt x="69003" y="266207"/>
                  </a:lnTo>
                  <a:lnTo>
                    <a:pt x="44912" y="276571"/>
                  </a:lnTo>
                  <a:lnTo>
                    <a:pt x="27638" y="297300"/>
                  </a:lnTo>
                  <a:lnTo>
                    <a:pt x="24184" y="314574"/>
                  </a:lnTo>
                  <a:lnTo>
                    <a:pt x="13819" y="324939"/>
                  </a:lnTo>
                  <a:lnTo>
                    <a:pt x="0" y="345761"/>
                  </a:lnTo>
                  <a:lnTo>
                    <a:pt x="13819" y="383764"/>
                  </a:lnTo>
                  <a:lnTo>
                    <a:pt x="31093" y="401038"/>
                  </a:lnTo>
                  <a:lnTo>
                    <a:pt x="48367" y="418312"/>
                  </a:lnTo>
                  <a:lnTo>
                    <a:pt x="62093" y="421767"/>
                  </a:lnTo>
                  <a:lnTo>
                    <a:pt x="65548" y="418312"/>
                  </a:lnTo>
                  <a:lnTo>
                    <a:pt x="82822" y="411402"/>
                  </a:lnTo>
                  <a:lnTo>
                    <a:pt x="93186" y="401038"/>
                  </a:lnTo>
                  <a:lnTo>
                    <a:pt x="96641" y="411402"/>
                  </a:lnTo>
                  <a:lnTo>
                    <a:pt x="89732" y="432131"/>
                  </a:lnTo>
                  <a:lnTo>
                    <a:pt x="93186" y="442495"/>
                  </a:lnTo>
                  <a:lnTo>
                    <a:pt x="103551" y="442495"/>
                  </a:lnTo>
                  <a:lnTo>
                    <a:pt x="124280" y="445950"/>
                  </a:lnTo>
                  <a:lnTo>
                    <a:pt x="158828" y="442495"/>
                  </a:lnTo>
                  <a:lnTo>
                    <a:pt x="183011" y="432131"/>
                  </a:lnTo>
                  <a:lnTo>
                    <a:pt x="196737" y="421767"/>
                  </a:lnTo>
                  <a:lnTo>
                    <a:pt x="200192" y="421767"/>
                  </a:lnTo>
                  <a:lnTo>
                    <a:pt x="217466" y="414857"/>
                  </a:lnTo>
                  <a:lnTo>
                    <a:pt x="238195" y="414857"/>
                  </a:lnTo>
                  <a:lnTo>
                    <a:pt x="241650" y="463224"/>
                  </a:lnTo>
                  <a:lnTo>
                    <a:pt x="262378" y="483953"/>
                  </a:lnTo>
                  <a:lnTo>
                    <a:pt x="279653" y="487408"/>
                  </a:lnTo>
                  <a:lnTo>
                    <a:pt x="296927" y="490956"/>
                  </a:lnTo>
                  <a:lnTo>
                    <a:pt x="303836" y="501321"/>
                  </a:lnTo>
                  <a:lnTo>
                    <a:pt x="317656" y="504775"/>
                  </a:lnTo>
                  <a:lnTo>
                    <a:pt x="338291" y="515140"/>
                  </a:lnTo>
                  <a:lnTo>
                    <a:pt x="369384" y="522050"/>
                  </a:lnTo>
                  <a:lnTo>
                    <a:pt x="376294" y="542778"/>
                  </a:lnTo>
                  <a:lnTo>
                    <a:pt x="379749" y="556598"/>
                  </a:lnTo>
                  <a:lnTo>
                    <a:pt x="376294" y="563507"/>
                  </a:lnTo>
                  <a:lnTo>
                    <a:pt x="376294" y="570417"/>
                  </a:lnTo>
                  <a:lnTo>
                    <a:pt x="379749" y="591146"/>
                  </a:lnTo>
                  <a:lnTo>
                    <a:pt x="428116" y="591146"/>
                  </a:lnTo>
                  <a:lnTo>
                    <a:pt x="424661" y="604965"/>
                  </a:lnTo>
                  <a:lnTo>
                    <a:pt x="428116" y="625694"/>
                  </a:lnTo>
                  <a:lnTo>
                    <a:pt x="445297" y="632603"/>
                  </a:lnTo>
                  <a:lnTo>
                    <a:pt x="448752" y="649971"/>
                  </a:lnTo>
                  <a:lnTo>
                    <a:pt x="448752" y="660335"/>
                  </a:lnTo>
                  <a:lnTo>
                    <a:pt x="435026" y="684519"/>
                  </a:lnTo>
                  <a:lnTo>
                    <a:pt x="441935" y="694883"/>
                  </a:lnTo>
                  <a:lnTo>
                    <a:pt x="435026" y="701793"/>
                  </a:lnTo>
                  <a:lnTo>
                    <a:pt x="441935" y="715612"/>
                  </a:lnTo>
                  <a:lnTo>
                    <a:pt x="441935" y="763980"/>
                  </a:lnTo>
                  <a:lnTo>
                    <a:pt x="459116" y="763980"/>
                  </a:lnTo>
                  <a:lnTo>
                    <a:pt x="472935" y="760525"/>
                  </a:lnTo>
                  <a:lnTo>
                    <a:pt x="490209" y="763980"/>
                  </a:lnTo>
                  <a:lnTo>
                    <a:pt x="500574" y="770889"/>
                  </a:lnTo>
                  <a:lnTo>
                    <a:pt x="497119" y="788163"/>
                  </a:lnTo>
                  <a:lnTo>
                    <a:pt x="504028" y="805437"/>
                  </a:lnTo>
                  <a:lnTo>
                    <a:pt x="517848" y="819256"/>
                  </a:lnTo>
                  <a:lnTo>
                    <a:pt x="531667" y="815802"/>
                  </a:lnTo>
                  <a:lnTo>
                    <a:pt x="542031" y="819256"/>
                  </a:lnTo>
                  <a:lnTo>
                    <a:pt x="538577" y="833169"/>
                  </a:lnTo>
                  <a:lnTo>
                    <a:pt x="531667" y="846988"/>
                  </a:lnTo>
                  <a:lnTo>
                    <a:pt x="531667" y="857353"/>
                  </a:lnTo>
                  <a:lnTo>
                    <a:pt x="548941" y="860808"/>
                  </a:lnTo>
                  <a:lnTo>
                    <a:pt x="555851" y="867717"/>
                  </a:lnTo>
                  <a:lnTo>
                    <a:pt x="559305" y="884991"/>
                  </a:lnTo>
                  <a:lnTo>
                    <a:pt x="552396" y="905720"/>
                  </a:lnTo>
                  <a:lnTo>
                    <a:pt x="545486" y="916084"/>
                  </a:lnTo>
                  <a:lnTo>
                    <a:pt x="531667" y="922994"/>
                  </a:lnTo>
                  <a:lnTo>
                    <a:pt x="517848" y="933358"/>
                  </a:lnTo>
                  <a:lnTo>
                    <a:pt x="476390" y="974910"/>
                  </a:lnTo>
                  <a:lnTo>
                    <a:pt x="466026" y="981819"/>
                  </a:lnTo>
                  <a:lnTo>
                    <a:pt x="462571" y="988729"/>
                  </a:lnTo>
                  <a:lnTo>
                    <a:pt x="479845" y="1002548"/>
                  </a:lnTo>
                  <a:lnTo>
                    <a:pt x="493664" y="1019822"/>
                  </a:lnTo>
                  <a:lnTo>
                    <a:pt x="507483" y="1023277"/>
                  </a:lnTo>
                  <a:lnTo>
                    <a:pt x="531667" y="1037096"/>
                  </a:lnTo>
                  <a:lnTo>
                    <a:pt x="552396" y="1054370"/>
                  </a:lnTo>
                  <a:lnTo>
                    <a:pt x="562760" y="1061280"/>
                  </a:lnTo>
                  <a:lnTo>
                    <a:pt x="569670" y="1075099"/>
                  </a:lnTo>
                  <a:lnTo>
                    <a:pt x="566215" y="1085463"/>
                  </a:lnTo>
                  <a:lnTo>
                    <a:pt x="566215" y="1095828"/>
                  </a:lnTo>
                  <a:lnTo>
                    <a:pt x="573125" y="1102738"/>
                  </a:lnTo>
                  <a:lnTo>
                    <a:pt x="579941" y="1088918"/>
                  </a:lnTo>
                  <a:lnTo>
                    <a:pt x="590305" y="1075099"/>
                  </a:lnTo>
                  <a:lnTo>
                    <a:pt x="593760" y="1068189"/>
                  </a:lnTo>
                  <a:lnTo>
                    <a:pt x="597215" y="1057825"/>
                  </a:lnTo>
                  <a:lnTo>
                    <a:pt x="600670" y="1047460"/>
                  </a:lnTo>
                  <a:lnTo>
                    <a:pt x="600670" y="1037096"/>
                  </a:lnTo>
                  <a:lnTo>
                    <a:pt x="607579" y="1030186"/>
                  </a:lnTo>
                  <a:lnTo>
                    <a:pt x="614489" y="1023277"/>
                  </a:lnTo>
                  <a:lnTo>
                    <a:pt x="621399" y="1012912"/>
                  </a:lnTo>
                  <a:lnTo>
                    <a:pt x="628308" y="1006003"/>
                  </a:lnTo>
                  <a:lnTo>
                    <a:pt x="635218" y="1002548"/>
                  </a:lnTo>
                  <a:lnTo>
                    <a:pt x="638673" y="1009458"/>
                  </a:lnTo>
                  <a:lnTo>
                    <a:pt x="631763" y="1019822"/>
                  </a:lnTo>
                  <a:lnTo>
                    <a:pt x="621399" y="1030186"/>
                  </a:lnTo>
                  <a:lnTo>
                    <a:pt x="614489" y="1037096"/>
                  </a:lnTo>
                  <a:lnTo>
                    <a:pt x="607579" y="1044006"/>
                  </a:lnTo>
                  <a:lnTo>
                    <a:pt x="607579" y="1047460"/>
                  </a:lnTo>
                  <a:lnTo>
                    <a:pt x="607579" y="1054370"/>
                  </a:lnTo>
                  <a:lnTo>
                    <a:pt x="621399" y="1044006"/>
                  </a:lnTo>
                  <a:lnTo>
                    <a:pt x="631763" y="1037096"/>
                  </a:lnTo>
                  <a:lnTo>
                    <a:pt x="638673" y="1023277"/>
                  </a:lnTo>
                  <a:lnTo>
                    <a:pt x="645582" y="1016367"/>
                  </a:lnTo>
                  <a:lnTo>
                    <a:pt x="649037" y="1009458"/>
                  </a:lnTo>
                  <a:lnTo>
                    <a:pt x="655947" y="992184"/>
                  </a:lnTo>
                  <a:lnTo>
                    <a:pt x="662856" y="978364"/>
                  </a:lnTo>
                  <a:lnTo>
                    <a:pt x="673221" y="968000"/>
                  </a:lnTo>
                  <a:lnTo>
                    <a:pt x="687040" y="950633"/>
                  </a:lnTo>
                  <a:lnTo>
                    <a:pt x="697405" y="936813"/>
                  </a:lnTo>
                  <a:lnTo>
                    <a:pt x="693949" y="909175"/>
                  </a:lnTo>
                  <a:lnTo>
                    <a:pt x="693949" y="891901"/>
                  </a:lnTo>
                  <a:lnTo>
                    <a:pt x="697405" y="867717"/>
                  </a:lnTo>
                  <a:lnTo>
                    <a:pt x="704314" y="853898"/>
                  </a:lnTo>
                  <a:lnTo>
                    <a:pt x="721495" y="836624"/>
                  </a:lnTo>
                  <a:lnTo>
                    <a:pt x="742224" y="829714"/>
                  </a:lnTo>
                  <a:lnTo>
                    <a:pt x="756043" y="815802"/>
                  </a:lnTo>
                  <a:lnTo>
                    <a:pt x="769862" y="815802"/>
                  </a:lnTo>
                  <a:lnTo>
                    <a:pt x="783681" y="808892"/>
                  </a:lnTo>
                  <a:lnTo>
                    <a:pt x="800955" y="791618"/>
                  </a:lnTo>
                  <a:lnTo>
                    <a:pt x="832049" y="788163"/>
                  </a:lnTo>
                  <a:lnTo>
                    <a:pt x="852684" y="788163"/>
                  </a:lnTo>
                  <a:lnTo>
                    <a:pt x="876868" y="781253"/>
                  </a:lnTo>
                  <a:lnTo>
                    <a:pt x="883777" y="770889"/>
                  </a:lnTo>
                  <a:lnTo>
                    <a:pt x="894142" y="760525"/>
                  </a:lnTo>
                  <a:lnTo>
                    <a:pt x="904506" y="750160"/>
                  </a:lnTo>
                  <a:lnTo>
                    <a:pt x="911416" y="725977"/>
                  </a:lnTo>
                  <a:lnTo>
                    <a:pt x="925235" y="705248"/>
                  </a:lnTo>
                  <a:lnTo>
                    <a:pt x="939054" y="677609"/>
                  </a:lnTo>
                  <a:lnTo>
                    <a:pt x="945964" y="649971"/>
                  </a:lnTo>
                  <a:lnTo>
                    <a:pt x="952873" y="632603"/>
                  </a:lnTo>
                  <a:lnTo>
                    <a:pt x="956328" y="604965"/>
                  </a:lnTo>
                  <a:lnTo>
                    <a:pt x="959783" y="584236"/>
                  </a:lnTo>
                  <a:lnTo>
                    <a:pt x="959783" y="556598"/>
                  </a:lnTo>
                  <a:lnTo>
                    <a:pt x="956328" y="535869"/>
                  </a:lnTo>
                  <a:lnTo>
                    <a:pt x="956328" y="522050"/>
                  </a:lnTo>
                  <a:lnTo>
                    <a:pt x="959783" y="508230"/>
                  </a:lnTo>
                  <a:lnTo>
                    <a:pt x="970148" y="501321"/>
                  </a:lnTo>
                  <a:lnTo>
                    <a:pt x="983873" y="494411"/>
                  </a:lnTo>
                  <a:lnTo>
                    <a:pt x="990783" y="487408"/>
                  </a:lnTo>
                  <a:lnTo>
                    <a:pt x="997692" y="480498"/>
                  </a:lnTo>
                  <a:lnTo>
                    <a:pt x="1001148" y="470134"/>
                  </a:lnTo>
                  <a:lnTo>
                    <a:pt x="1001148" y="456315"/>
                  </a:lnTo>
                  <a:lnTo>
                    <a:pt x="1035695" y="425222"/>
                  </a:lnTo>
                  <a:lnTo>
                    <a:pt x="1049515" y="407948"/>
                  </a:lnTo>
                  <a:lnTo>
                    <a:pt x="1066789" y="387219"/>
                  </a:lnTo>
                  <a:lnTo>
                    <a:pt x="1070244" y="356125"/>
                  </a:lnTo>
                  <a:lnTo>
                    <a:pt x="1070244" y="328393"/>
                  </a:lnTo>
                  <a:lnTo>
                    <a:pt x="1059879" y="300755"/>
                  </a:lnTo>
                  <a:lnTo>
                    <a:pt x="1052970" y="283481"/>
                  </a:lnTo>
                  <a:close/>
                </a:path>
              </a:pathLst>
            </a:custGeom>
            <a:solidFill>
              <a:srgbClr val="CEE3BF"/>
            </a:solidFill>
            <a:ln w="9334" cap="flat">
              <a:noFill/>
              <a:prstDash val="solid"/>
              <a:miter/>
            </a:ln>
          </p:spPr>
          <p:txBody>
            <a:bodyPr rtlCol="0" anchor="ctr"/>
            <a:lstStyle/>
            <a:p>
              <a:endParaRPr lang="en-GB" dirty="0"/>
            </a:p>
          </p:txBody>
        </p:sp>
        <p:sp>
          <p:nvSpPr>
            <p:cNvPr id="1302" name="Freeform: Shape 1301">
              <a:extLst>
                <a:ext uri="{FF2B5EF4-FFF2-40B4-BE49-F238E27FC236}">
                  <a16:creationId xmlns:a16="http://schemas.microsoft.com/office/drawing/2014/main" id="{11A08EF5-11B6-415E-A636-A2E8518BEC13}"/>
                </a:ext>
              </a:extLst>
            </p:cNvPr>
            <p:cNvSpPr/>
            <p:nvPr/>
          </p:nvSpPr>
          <p:spPr>
            <a:xfrm>
              <a:off x="1976957" y="2109896"/>
              <a:ext cx="2330315" cy="1192655"/>
            </a:xfrm>
            <a:custGeom>
              <a:avLst/>
              <a:gdLst>
                <a:gd name="connsiteX0" fmla="*/ 1246252 w 2330315"/>
                <a:gd name="connsiteY0" fmla="*/ 940268 h 1192655"/>
                <a:gd name="connsiteX1" fmla="*/ 1260071 w 2330315"/>
                <a:gd name="connsiteY1" fmla="*/ 940268 h 1192655"/>
                <a:gd name="connsiteX2" fmla="*/ 1263526 w 2330315"/>
                <a:gd name="connsiteY2" fmla="*/ 954087 h 1192655"/>
                <a:gd name="connsiteX3" fmla="*/ 1270436 w 2330315"/>
                <a:gd name="connsiteY3" fmla="*/ 960997 h 1192655"/>
                <a:gd name="connsiteX4" fmla="*/ 1291165 w 2330315"/>
                <a:gd name="connsiteY4" fmla="*/ 967907 h 1192655"/>
                <a:gd name="connsiteX5" fmla="*/ 1332622 w 2330315"/>
                <a:gd name="connsiteY5" fmla="*/ 974816 h 1192655"/>
                <a:gd name="connsiteX6" fmla="*/ 1356713 w 2330315"/>
                <a:gd name="connsiteY6" fmla="*/ 981819 h 1192655"/>
                <a:gd name="connsiteX7" fmla="*/ 1377442 w 2330315"/>
                <a:gd name="connsiteY7" fmla="*/ 985274 h 1192655"/>
                <a:gd name="connsiteX8" fmla="*/ 1387806 w 2330315"/>
                <a:gd name="connsiteY8" fmla="*/ 985274 h 1192655"/>
                <a:gd name="connsiteX9" fmla="*/ 1398170 w 2330315"/>
                <a:gd name="connsiteY9" fmla="*/ 988729 h 1192655"/>
                <a:gd name="connsiteX10" fmla="*/ 1411990 w 2330315"/>
                <a:gd name="connsiteY10" fmla="*/ 978271 h 1192655"/>
                <a:gd name="connsiteX11" fmla="*/ 1429264 w 2330315"/>
                <a:gd name="connsiteY11" fmla="*/ 967907 h 1192655"/>
                <a:gd name="connsiteX12" fmla="*/ 1443083 w 2330315"/>
                <a:gd name="connsiteY12" fmla="*/ 957542 h 1192655"/>
                <a:gd name="connsiteX13" fmla="*/ 1456902 w 2330315"/>
                <a:gd name="connsiteY13" fmla="*/ 957542 h 1192655"/>
                <a:gd name="connsiteX14" fmla="*/ 1474176 w 2330315"/>
                <a:gd name="connsiteY14" fmla="*/ 964452 h 1192655"/>
                <a:gd name="connsiteX15" fmla="*/ 1491357 w 2330315"/>
                <a:gd name="connsiteY15" fmla="*/ 964452 h 1192655"/>
                <a:gd name="connsiteX16" fmla="*/ 1501721 w 2330315"/>
                <a:gd name="connsiteY16" fmla="*/ 978271 h 1192655"/>
                <a:gd name="connsiteX17" fmla="*/ 1508631 w 2330315"/>
                <a:gd name="connsiteY17" fmla="*/ 992184 h 1192655"/>
                <a:gd name="connsiteX18" fmla="*/ 1529360 w 2330315"/>
                <a:gd name="connsiteY18" fmla="*/ 992184 h 1192655"/>
                <a:gd name="connsiteX19" fmla="*/ 1532815 w 2330315"/>
                <a:gd name="connsiteY19" fmla="*/ 999093 h 1192655"/>
                <a:gd name="connsiteX20" fmla="*/ 1539724 w 2330315"/>
                <a:gd name="connsiteY20" fmla="*/ 1019822 h 1192655"/>
                <a:gd name="connsiteX21" fmla="*/ 1546634 w 2330315"/>
                <a:gd name="connsiteY21" fmla="*/ 1037096 h 1192655"/>
                <a:gd name="connsiteX22" fmla="*/ 1556998 w 2330315"/>
                <a:gd name="connsiteY22" fmla="*/ 1047461 h 1192655"/>
                <a:gd name="connsiteX23" fmla="*/ 1577727 w 2330315"/>
                <a:gd name="connsiteY23" fmla="*/ 1050915 h 1192655"/>
                <a:gd name="connsiteX24" fmla="*/ 1605366 w 2330315"/>
                <a:gd name="connsiteY24" fmla="*/ 1050915 h 1192655"/>
                <a:gd name="connsiteX25" fmla="*/ 1626001 w 2330315"/>
                <a:gd name="connsiteY25" fmla="*/ 1054370 h 1192655"/>
                <a:gd name="connsiteX26" fmla="*/ 1646730 w 2330315"/>
                <a:gd name="connsiteY26" fmla="*/ 1061280 h 1192655"/>
                <a:gd name="connsiteX27" fmla="*/ 1660549 w 2330315"/>
                <a:gd name="connsiteY27" fmla="*/ 1075099 h 1192655"/>
                <a:gd name="connsiteX28" fmla="*/ 1670914 w 2330315"/>
                <a:gd name="connsiteY28" fmla="*/ 1092373 h 1192655"/>
                <a:gd name="connsiteX29" fmla="*/ 1667459 w 2330315"/>
                <a:gd name="connsiteY29" fmla="*/ 1106192 h 1192655"/>
                <a:gd name="connsiteX30" fmla="*/ 1653639 w 2330315"/>
                <a:gd name="connsiteY30" fmla="*/ 1109647 h 1192655"/>
                <a:gd name="connsiteX31" fmla="*/ 1643275 w 2330315"/>
                <a:gd name="connsiteY31" fmla="*/ 1099283 h 1192655"/>
                <a:gd name="connsiteX32" fmla="*/ 1636365 w 2330315"/>
                <a:gd name="connsiteY32" fmla="*/ 1099283 h 1192655"/>
                <a:gd name="connsiteX33" fmla="*/ 1632911 w 2330315"/>
                <a:gd name="connsiteY33" fmla="*/ 1109647 h 1192655"/>
                <a:gd name="connsiteX34" fmla="*/ 1622546 w 2330315"/>
                <a:gd name="connsiteY34" fmla="*/ 1120012 h 1192655"/>
                <a:gd name="connsiteX35" fmla="*/ 1619091 w 2330315"/>
                <a:gd name="connsiteY35" fmla="*/ 1133831 h 1192655"/>
                <a:gd name="connsiteX36" fmla="*/ 1615637 w 2330315"/>
                <a:gd name="connsiteY36" fmla="*/ 1151198 h 1192655"/>
                <a:gd name="connsiteX37" fmla="*/ 1601911 w 2330315"/>
                <a:gd name="connsiteY37" fmla="*/ 1154653 h 1192655"/>
                <a:gd name="connsiteX38" fmla="*/ 1591546 w 2330315"/>
                <a:gd name="connsiteY38" fmla="*/ 1158108 h 1192655"/>
                <a:gd name="connsiteX39" fmla="*/ 1591546 w 2330315"/>
                <a:gd name="connsiteY39" fmla="*/ 1171927 h 1192655"/>
                <a:gd name="connsiteX40" fmla="*/ 1588091 w 2330315"/>
                <a:gd name="connsiteY40" fmla="*/ 1175382 h 1192655"/>
                <a:gd name="connsiteX41" fmla="*/ 1588091 w 2330315"/>
                <a:gd name="connsiteY41" fmla="*/ 1189201 h 1192655"/>
                <a:gd name="connsiteX42" fmla="*/ 1595001 w 2330315"/>
                <a:gd name="connsiteY42" fmla="*/ 1192656 h 1192655"/>
                <a:gd name="connsiteX43" fmla="*/ 1608820 w 2330315"/>
                <a:gd name="connsiteY43" fmla="*/ 1185746 h 1192655"/>
                <a:gd name="connsiteX44" fmla="*/ 1622546 w 2330315"/>
                <a:gd name="connsiteY44" fmla="*/ 1175382 h 1192655"/>
                <a:gd name="connsiteX45" fmla="*/ 1636365 w 2330315"/>
                <a:gd name="connsiteY45" fmla="*/ 1171927 h 1192655"/>
                <a:gd name="connsiteX46" fmla="*/ 1664004 w 2330315"/>
                <a:gd name="connsiteY46" fmla="*/ 1165017 h 1192655"/>
                <a:gd name="connsiteX47" fmla="*/ 1693977 w 2330315"/>
                <a:gd name="connsiteY47" fmla="*/ 1161656 h 1192655"/>
                <a:gd name="connsiteX48" fmla="*/ 1691642 w 2330315"/>
                <a:gd name="connsiteY48" fmla="*/ 1154653 h 1192655"/>
                <a:gd name="connsiteX49" fmla="*/ 1695097 w 2330315"/>
                <a:gd name="connsiteY49" fmla="*/ 1147650 h 1192655"/>
                <a:gd name="connsiteX50" fmla="*/ 1681278 w 2330315"/>
                <a:gd name="connsiteY50" fmla="*/ 1147650 h 1192655"/>
                <a:gd name="connsiteX51" fmla="*/ 1677823 w 2330315"/>
                <a:gd name="connsiteY51" fmla="*/ 1140740 h 1192655"/>
                <a:gd name="connsiteX52" fmla="*/ 1691642 w 2330315"/>
                <a:gd name="connsiteY52" fmla="*/ 1133831 h 1192655"/>
                <a:gd name="connsiteX53" fmla="*/ 1702007 w 2330315"/>
                <a:gd name="connsiteY53" fmla="*/ 1126921 h 1192655"/>
                <a:gd name="connsiteX54" fmla="*/ 1729645 w 2330315"/>
                <a:gd name="connsiteY54" fmla="*/ 1126921 h 1192655"/>
                <a:gd name="connsiteX55" fmla="*/ 1750281 w 2330315"/>
                <a:gd name="connsiteY55" fmla="*/ 1126921 h 1192655"/>
                <a:gd name="connsiteX56" fmla="*/ 1760645 w 2330315"/>
                <a:gd name="connsiteY56" fmla="*/ 1120012 h 1192655"/>
                <a:gd name="connsiteX57" fmla="*/ 1771010 w 2330315"/>
                <a:gd name="connsiteY57" fmla="*/ 1113102 h 1192655"/>
                <a:gd name="connsiteX58" fmla="*/ 1784829 w 2330315"/>
                <a:gd name="connsiteY58" fmla="*/ 1102738 h 1192655"/>
                <a:gd name="connsiteX59" fmla="*/ 1798648 w 2330315"/>
                <a:gd name="connsiteY59" fmla="*/ 1092373 h 1192655"/>
                <a:gd name="connsiteX60" fmla="*/ 1898744 w 2330315"/>
                <a:gd name="connsiteY60" fmla="*/ 1092373 h 1192655"/>
                <a:gd name="connsiteX61" fmla="*/ 1919473 w 2330315"/>
                <a:gd name="connsiteY61" fmla="*/ 1082009 h 1192655"/>
                <a:gd name="connsiteX62" fmla="*/ 1929837 w 2330315"/>
                <a:gd name="connsiteY62" fmla="*/ 1068189 h 1192655"/>
                <a:gd name="connsiteX63" fmla="*/ 1929837 w 2330315"/>
                <a:gd name="connsiteY63" fmla="*/ 1057825 h 1192655"/>
                <a:gd name="connsiteX64" fmla="*/ 1936747 w 2330315"/>
                <a:gd name="connsiteY64" fmla="*/ 1040551 h 1192655"/>
                <a:gd name="connsiteX65" fmla="*/ 1950566 w 2330315"/>
                <a:gd name="connsiteY65" fmla="*/ 1016367 h 1192655"/>
                <a:gd name="connsiteX66" fmla="*/ 1964385 w 2330315"/>
                <a:gd name="connsiteY66" fmla="*/ 1002548 h 1192655"/>
                <a:gd name="connsiteX67" fmla="*/ 1978205 w 2330315"/>
                <a:gd name="connsiteY67" fmla="*/ 1009458 h 1192655"/>
                <a:gd name="connsiteX68" fmla="*/ 2002388 w 2330315"/>
                <a:gd name="connsiteY68" fmla="*/ 1016367 h 1192655"/>
                <a:gd name="connsiteX69" fmla="*/ 2005843 w 2330315"/>
                <a:gd name="connsiteY69" fmla="*/ 1030186 h 1192655"/>
                <a:gd name="connsiteX70" fmla="*/ 2002388 w 2330315"/>
                <a:gd name="connsiteY70" fmla="*/ 1057825 h 1192655"/>
                <a:gd name="connsiteX71" fmla="*/ 2005843 w 2330315"/>
                <a:gd name="connsiteY71" fmla="*/ 1071644 h 1192655"/>
                <a:gd name="connsiteX72" fmla="*/ 2016207 w 2330315"/>
                <a:gd name="connsiteY72" fmla="*/ 1082009 h 1192655"/>
                <a:gd name="connsiteX73" fmla="*/ 2023024 w 2330315"/>
                <a:gd name="connsiteY73" fmla="*/ 1092373 h 1192655"/>
                <a:gd name="connsiteX74" fmla="*/ 2050662 w 2330315"/>
                <a:gd name="connsiteY74" fmla="*/ 1085463 h 1192655"/>
                <a:gd name="connsiteX75" fmla="*/ 2067936 w 2330315"/>
                <a:gd name="connsiteY75" fmla="*/ 1078554 h 1192655"/>
                <a:gd name="connsiteX76" fmla="*/ 2088665 w 2330315"/>
                <a:gd name="connsiteY76" fmla="*/ 1068189 h 1192655"/>
                <a:gd name="connsiteX77" fmla="*/ 2095575 w 2330315"/>
                <a:gd name="connsiteY77" fmla="*/ 1071644 h 1192655"/>
                <a:gd name="connsiteX78" fmla="*/ 2099030 w 2330315"/>
                <a:gd name="connsiteY78" fmla="*/ 1078554 h 1192655"/>
                <a:gd name="connsiteX79" fmla="*/ 2099030 w 2330315"/>
                <a:gd name="connsiteY79" fmla="*/ 1082009 h 1192655"/>
                <a:gd name="connsiteX80" fmla="*/ 2095575 w 2330315"/>
                <a:gd name="connsiteY80" fmla="*/ 1085463 h 1192655"/>
                <a:gd name="connsiteX81" fmla="*/ 2074846 w 2330315"/>
                <a:gd name="connsiteY81" fmla="*/ 1092373 h 1192655"/>
                <a:gd name="connsiteX82" fmla="*/ 2054117 w 2330315"/>
                <a:gd name="connsiteY82" fmla="*/ 1106192 h 1192655"/>
                <a:gd name="connsiteX83" fmla="*/ 2047207 w 2330315"/>
                <a:gd name="connsiteY83" fmla="*/ 1120012 h 1192655"/>
                <a:gd name="connsiteX84" fmla="*/ 2050662 w 2330315"/>
                <a:gd name="connsiteY84" fmla="*/ 1133831 h 1192655"/>
                <a:gd name="connsiteX85" fmla="*/ 2067936 w 2330315"/>
                <a:gd name="connsiteY85" fmla="*/ 1144289 h 1192655"/>
                <a:gd name="connsiteX86" fmla="*/ 2078301 w 2330315"/>
                <a:gd name="connsiteY86" fmla="*/ 1133831 h 1192655"/>
                <a:gd name="connsiteX87" fmla="*/ 2092120 w 2330315"/>
                <a:gd name="connsiteY87" fmla="*/ 1120012 h 1192655"/>
                <a:gd name="connsiteX88" fmla="*/ 2105939 w 2330315"/>
                <a:gd name="connsiteY88" fmla="*/ 1106192 h 1192655"/>
                <a:gd name="connsiteX89" fmla="*/ 2123213 w 2330315"/>
                <a:gd name="connsiteY89" fmla="*/ 1106192 h 1192655"/>
                <a:gd name="connsiteX90" fmla="*/ 2150852 w 2330315"/>
                <a:gd name="connsiteY90" fmla="*/ 1095828 h 1192655"/>
                <a:gd name="connsiteX91" fmla="*/ 2171487 w 2330315"/>
                <a:gd name="connsiteY91" fmla="*/ 1088918 h 1192655"/>
                <a:gd name="connsiteX92" fmla="*/ 2178397 w 2330315"/>
                <a:gd name="connsiteY92" fmla="*/ 1082009 h 1192655"/>
                <a:gd name="connsiteX93" fmla="*/ 2188761 w 2330315"/>
                <a:gd name="connsiteY93" fmla="*/ 1064735 h 1192655"/>
                <a:gd name="connsiteX94" fmla="*/ 2199126 w 2330315"/>
                <a:gd name="connsiteY94" fmla="*/ 1064735 h 1192655"/>
                <a:gd name="connsiteX95" fmla="*/ 2216400 w 2330315"/>
                <a:gd name="connsiteY95" fmla="*/ 1064735 h 1192655"/>
                <a:gd name="connsiteX96" fmla="*/ 2216400 w 2330315"/>
                <a:gd name="connsiteY96" fmla="*/ 1050915 h 1192655"/>
                <a:gd name="connsiteX97" fmla="*/ 2206035 w 2330315"/>
                <a:gd name="connsiteY97" fmla="*/ 1044006 h 1192655"/>
                <a:gd name="connsiteX98" fmla="*/ 2206035 w 2330315"/>
                <a:gd name="connsiteY98" fmla="*/ 1030186 h 1192655"/>
                <a:gd name="connsiteX99" fmla="*/ 2192216 w 2330315"/>
                <a:gd name="connsiteY99" fmla="*/ 1030186 h 1192655"/>
                <a:gd name="connsiteX100" fmla="*/ 2185307 w 2330315"/>
                <a:gd name="connsiteY100" fmla="*/ 1044006 h 1192655"/>
                <a:gd name="connsiteX101" fmla="*/ 2178397 w 2330315"/>
                <a:gd name="connsiteY101" fmla="*/ 1057825 h 1192655"/>
                <a:gd name="connsiteX102" fmla="*/ 2164578 w 2330315"/>
                <a:gd name="connsiteY102" fmla="*/ 1061280 h 1192655"/>
                <a:gd name="connsiteX103" fmla="*/ 2133578 w 2330315"/>
                <a:gd name="connsiteY103" fmla="*/ 1061280 h 1192655"/>
                <a:gd name="connsiteX104" fmla="*/ 2109394 w 2330315"/>
                <a:gd name="connsiteY104" fmla="*/ 1054370 h 1192655"/>
                <a:gd name="connsiteX105" fmla="*/ 2088665 w 2330315"/>
                <a:gd name="connsiteY105" fmla="*/ 1040551 h 1192655"/>
                <a:gd name="connsiteX106" fmla="*/ 2081756 w 2330315"/>
                <a:gd name="connsiteY106" fmla="*/ 1026732 h 1192655"/>
                <a:gd name="connsiteX107" fmla="*/ 2078301 w 2330315"/>
                <a:gd name="connsiteY107" fmla="*/ 1016367 h 1192655"/>
                <a:gd name="connsiteX108" fmla="*/ 2085210 w 2330315"/>
                <a:gd name="connsiteY108" fmla="*/ 1002548 h 1192655"/>
                <a:gd name="connsiteX109" fmla="*/ 2078301 w 2330315"/>
                <a:gd name="connsiteY109" fmla="*/ 985274 h 1192655"/>
                <a:gd name="connsiteX110" fmla="*/ 2095575 w 2330315"/>
                <a:gd name="connsiteY110" fmla="*/ 981819 h 1192655"/>
                <a:gd name="connsiteX111" fmla="*/ 2102485 w 2330315"/>
                <a:gd name="connsiteY111" fmla="*/ 971361 h 1192655"/>
                <a:gd name="connsiteX112" fmla="*/ 2095575 w 2330315"/>
                <a:gd name="connsiteY112" fmla="*/ 954087 h 1192655"/>
                <a:gd name="connsiteX113" fmla="*/ 2074846 w 2330315"/>
                <a:gd name="connsiteY113" fmla="*/ 947178 h 1192655"/>
                <a:gd name="connsiteX114" fmla="*/ 2043753 w 2330315"/>
                <a:gd name="connsiteY114" fmla="*/ 943723 h 1192655"/>
                <a:gd name="connsiteX115" fmla="*/ 2026479 w 2330315"/>
                <a:gd name="connsiteY115" fmla="*/ 950633 h 1192655"/>
                <a:gd name="connsiteX116" fmla="*/ 2016207 w 2330315"/>
                <a:gd name="connsiteY116" fmla="*/ 957542 h 1192655"/>
                <a:gd name="connsiteX117" fmla="*/ 1985114 w 2330315"/>
                <a:gd name="connsiteY117" fmla="*/ 971361 h 1192655"/>
                <a:gd name="connsiteX118" fmla="*/ 1957476 w 2330315"/>
                <a:gd name="connsiteY118" fmla="*/ 988729 h 1192655"/>
                <a:gd name="connsiteX119" fmla="*/ 1933292 w 2330315"/>
                <a:gd name="connsiteY119" fmla="*/ 1016367 h 1192655"/>
                <a:gd name="connsiteX120" fmla="*/ 1926383 w 2330315"/>
                <a:gd name="connsiteY120" fmla="*/ 1019822 h 1192655"/>
                <a:gd name="connsiteX121" fmla="*/ 1916018 w 2330315"/>
                <a:gd name="connsiteY121" fmla="*/ 1026732 h 1192655"/>
                <a:gd name="connsiteX122" fmla="*/ 1916018 w 2330315"/>
                <a:gd name="connsiteY122" fmla="*/ 1023277 h 1192655"/>
                <a:gd name="connsiteX123" fmla="*/ 1919473 w 2330315"/>
                <a:gd name="connsiteY123" fmla="*/ 1019822 h 1192655"/>
                <a:gd name="connsiteX124" fmla="*/ 1922928 w 2330315"/>
                <a:gd name="connsiteY124" fmla="*/ 1012913 h 1192655"/>
                <a:gd name="connsiteX125" fmla="*/ 1947111 w 2330315"/>
                <a:gd name="connsiteY125" fmla="*/ 985274 h 1192655"/>
                <a:gd name="connsiteX126" fmla="*/ 1964385 w 2330315"/>
                <a:gd name="connsiteY126" fmla="*/ 967907 h 1192655"/>
                <a:gd name="connsiteX127" fmla="*/ 1988569 w 2330315"/>
                <a:gd name="connsiteY127" fmla="*/ 947178 h 1192655"/>
                <a:gd name="connsiteX128" fmla="*/ 2012753 w 2330315"/>
                <a:gd name="connsiteY128" fmla="*/ 940268 h 1192655"/>
                <a:gd name="connsiteX129" fmla="*/ 2026479 w 2330315"/>
                <a:gd name="connsiteY129" fmla="*/ 919539 h 1192655"/>
                <a:gd name="connsiteX130" fmla="*/ 2054117 w 2330315"/>
                <a:gd name="connsiteY130" fmla="*/ 909175 h 1192655"/>
                <a:gd name="connsiteX131" fmla="*/ 2102485 w 2330315"/>
                <a:gd name="connsiteY131" fmla="*/ 905720 h 1192655"/>
                <a:gd name="connsiteX132" fmla="*/ 2137033 w 2330315"/>
                <a:gd name="connsiteY132" fmla="*/ 905720 h 1192655"/>
                <a:gd name="connsiteX133" fmla="*/ 2181852 w 2330315"/>
                <a:gd name="connsiteY133" fmla="*/ 912630 h 1192655"/>
                <a:gd name="connsiteX134" fmla="*/ 2219855 w 2330315"/>
                <a:gd name="connsiteY134" fmla="*/ 905720 h 1192655"/>
                <a:gd name="connsiteX135" fmla="*/ 2247493 w 2330315"/>
                <a:gd name="connsiteY135" fmla="*/ 884991 h 1192655"/>
                <a:gd name="connsiteX136" fmla="*/ 2261312 w 2330315"/>
                <a:gd name="connsiteY136" fmla="*/ 867717 h 1192655"/>
                <a:gd name="connsiteX137" fmla="*/ 2295767 w 2330315"/>
                <a:gd name="connsiteY137" fmla="*/ 867717 h 1192655"/>
                <a:gd name="connsiteX138" fmla="*/ 2313041 w 2330315"/>
                <a:gd name="connsiteY138" fmla="*/ 857353 h 1192655"/>
                <a:gd name="connsiteX139" fmla="*/ 2326860 w 2330315"/>
                <a:gd name="connsiteY139" fmla="*/ 843534 h 1192655"/>
                <a:gd name="connsiteX140" fmla="*/ 2330315 w 2330315"/>
                <a:gd name="connsiteY140" fmla="*/ 819256 h 1192655"/>
                <a:gd name="connsiteX141" fmla="*/ 2326860 w 2330315"/>
                <a:gd name="connsiteY141" fmla="*/ 791618 h 1192655"/>
                <a:gd name="connsiteX142" fmla="*/ 2306132 w 2330315"/>
                <a:gd name="connsiteY142" fmla="*/ 781254 h 1192655"/>
                <a:gd name="connsiteX143" fmla="*/ 2295767 w 2330315"/>
                <a:gd name="connsiteY143" fmla="*/ 781254 h 1192655"/>
                <a:gd name="connsiteX144" fmla="*/ 2292312 w 2330315"/>
                <a:gd name="connsiteY144" fmla="*/ 781254 h 1192655"/>
                <a:gd name="connsiteX145" fmla="*/ 2285403 w 2330315"/>
                <a:gd name="connsiteY145" fmla="*/ 763980 h 1192655"/>
                <a:gd name="connsiteX146" fmla="*/ 2268222 w 2330315"/>
                <a:gd name="connsiteY146" fmla="*/ 767434 h 1192655"/>
                <a:gd name="connsiteX147" fmla="*/ 2244038 w 2330315"/>
                <a:gd name="connsiteY147" fmla="*/ 777799 h 1192655"/>
                <a:gd name="connsiteX148" fmla="*/ 2216400 w 2330315"/>
                <a:gd name="connsiteY148" fmla="*/ 791618 h 1192655"/>
                <a:gd name="connsiteX149" fmla="*/ 2212945 w 2330315"/>
                <a:gd name="connsiteY149" fmla="*/ 791618 h 1192655"/>
                <a:gd name="connsiteX150" fmla="*/ 2212945 w 2330315"/>
                <a:gd name="connsiteY150" fmla="*/ 788163 h 1192655"/>
                <a:gd name="connsiteX151" fmla="*/ 2209490 w 2330315"/>
                <a:gd name="connsiteY151" fmla="*/ 784708 h 1192655"/>
                <a:gd name="connsiteX152" fmla="*/ 2230219 w 2330315"/>
                <a:gd name="connsiteY152" fmla="*/ 774344 h 1192655"/>
                <a:gd name="connsiteX153" fmla="*/ 2244038 w 2330315"/>
                <a:gd name="connsiteY153" fmla="*/ 767434 h 1192655"/>
                <a:gd name="connsiteX154" fmla="*/ 2268222 w 2330315"/>
                <a:gd name="connsiteY154" fmla="*/ 757070 h 1192655"/>
                <a:gd name="connsiteX155" fmla="*/ 2275132 w 2330315"/>
                <a:gd name="connsiteY155" fmla="*/ 743251 h 1192655"/>
                <a:gd name="connsiteX156" fmla="*/ 2261312 w 2330315"/>
                <a:gd name="connsiteY156" fmla="*/ 743251 h 1192655"/>
                <a:gd name="connsiteX157" fmla="*/ 2240583 w 2330315"/>
                <a:gd name="connsiteY157" fmla="*/ 736341 h 1192655"/>
                <a:gd name="connsiteX158" fmla="*/ 2216400 w 2330315"/>
                <a:gd name="connsiteY158" fmla="*/ 729431 h 1192655"/>
                <a:gd name="connsiteX159" fmla="*/ 2199126 w 2330315"/>
                <a:gd name="connsiteY159" fmla="*/ 722522 h 1192655"/>
                <a:gd name="connsiteX160" fmla="*/ 2199126 w 2330315"/>
                <a:gd name="connsiteY160" fmla="*/ 712157 h 1192655"/>
                <a:gd name="connsiteX161" fmla="*/ 2195671 w 2330315"/>
                <a:gd name="connsiteY161" fmla="*/ 705248 h 1192655"/>
                <a:gd name="connsiteX162" fmla="*/ 2168032 w 2330315"/>
                <a:gd name="connsiteY162" fmla="*/ 687974 h 1192655"/>
                <a:gd name="connsiteX163" fmla="*/ 2164578 w 2330315"/>
                <a:gd name="connsiteY163" fmla="*/ 674155 h 1192655"/>
                <a:gd name="connsiteX164" fmla="*/ 2174942 w 2330315"/>
                <a:gd name="connsiteY164" fmla="*/ 663790 h 1192655"/>
                <a:gd name="connsiteX165" fmla="*/ 2168032 w 2330315"/>
                <a:gd name="connsiteY165" fmla="*/ 642968 h 1192655"/>
                <a:gd name="connsiteX166" fmla="*/ 2164578 w 2330315"/>
                <a:gd name="connsiteY166" fmla="*/ 622239 h 1192655"/>
                <a:gd name="connsiteX167" fmla="*/ 2147304 w 2330315"/>
                <a:gd name="connsiteY167" fmla="*/ 611875 h 1192655"/>
                <a:gd name="connsiteX168" fmla="*/ 2143849 w 2330315"/>
                <a:gd name="connsiteY168" fmla="*/ 598055 h 1192655"/>
                <a:gd name="connsiteX169" fmla="*/ 2119759 w 2330315"/>
                <a:gd name="connsiteY169" fmla="*/ 566962 h 1192655"/>
                <a:gd name="connsiteX170" fmla="*/ 2102485 w 2330315"/>
                <a:gd name="connsiteY170" fmla="*/ 539324 h 1192655"/>
                <a:gd name="connsiteX171" fmla="*/ 2088665 w 2330315"/>
                <a:gd name="connsiteY171" fmla="*/ 518595 h 1192655"/>
                <a:gd name="connsiteX172" fmla="*/ 2078301 w 2330315"/>
                <a:gd name="connsiteY172" fmla="*/ 528959 h 1192655"/>
                <a:gd name="connsiteX173" fmla="*/ 2064482 w 2330315"/>
                <a:gd name="connsiteY173" fmla="*/ 546233 h 1192655"/>
                <a:gd name="connsiteX174" fmla="*/ 2064482 w 2330315"/>
                <a:gd name="connsiteY174" fmla="*/ 566962 h 1192655"/>
                <a:gd name="connsiteX175" fmla="*/ 2040298 w 2330315"/>
                <a:gd name="connsiteY175" fmla="*/ 587691 h 1192655"/>
                <a:gd name="connsiteX176" fmla="*/ 2016207 w 2330315"/>
                <a:gd name="connsiteY176" fmla="*/ 608420 h 1192655"/>
                <a:gd name="connsiteX177" fmla="*/ 1995479 w 2330315"/>
                <a:gd name="connsiteY177" fmla="*/ 598055 h 1192655"/>
                <a:gd name="connsiteX178" fmla="*/ 1981660 w 2330315"/>
                <a:gd name="connsiteY178" fmla="*/ 584236 h 1192655"/>
                <a:gd name="connsiteX179" fmla="*/ 1960931 w 2330315"/>
                <a:gd name="connsiteY179" fmla="*/ 580781 h 1192655"/>
                <a:gd name="connsiteX180" fmla="*/ 1960931 w 2330315"/>
                <a:gd name="connsiteY180" fmla="*/ 566962 h 1192655"/>
                <a:gd name="connsiteX181" fmla="*/ 1950566 w 2330315"/>
                <a:gd name="connsiteY181" fmla="*/ 542778 h 1192655"/>
                <a:gd name="connsiteX182" fmla="*/ 1950566 w 2330315"/>
                <a:gd name="connsiteY182" fmla="*/ 518595 h 1192655"/>
                <a:gd name="connsiteX183" fmla="*/ 1957476 w 2330315"/>
                <a:gd name="connsiteY183" fmla="*/ 501227 h 1192655"/>
                <a:gd name="connsiteX184" fmla="*/ 1919473 w 2330315"/>
                <a:gd name="connsiteY184" fmla="*/ 494318 h 1192655"/>
                <a:gd name="connsiteX185" fmla="*/ 1895289 w 2330315"/>
                <a:gd name="connsiteY185" fmla="*/ 480498 h 1192655"/>
                <a:gd name="connsiteX186" fmla="*/ 1881563 w 2330315"/>
                <a:gd name="connsiteY186" fmla="*/ 459770 h 1192655"/>
                <a:gd name="connsiteX187" fmla="*/ 1857380 w 2330315"/>
                <a:gd name="connsiteY187" fmla="*/ 442496 h 1192655"/>
                <a:gd name="connsiteX188" fmla="*/ 1836651 w 2330315"/>
                <a:gd name="connsiteY188" fmla="*/ 428676 h 1192655"/>
                <a:gd name="connsiteX189" fmla="*/ 1826286 w 2330315"/>
                <a:gd name="connsiteY189" fmla="*/ 442496 h 1192655"/>
                <a:gd name="connsiteX190" fmla="*/ 1802103 w 2330315"/>
                <a:gd name="connsiteY190" fmla="*/ 445950 h 1192655"/>
                <a:gd name="connsiteX191" fmla="*/ 1784829 w 2330315"/>
                <a:gd name="connsiteY191" fmla="*/ 442496 h 1192655"/>
                <a:gd name="connsiteX192" fmla="*/ 1757190 w 2330315"/>
                <a:gd name="connsiteY192" fmla="*/ 432131 h 1192655"/>
                <a:gd name="connsiteX193" fmla="*/ 1726190 w 2330315"/>
                <a:gd name="connsiteY193" fmla="*/ 432131 h 1192655"/>
                <a:gd name="connsiteX194" fmla="*/ 1719281 w 2330315"/>
                <a:gd name="connsiteY194" fmla="*/ 456315 h 1192655"/>
                <a:gd name="connsiteX195" fmla="*/ 1736555 w 2330315"/>
                <a:gd name="connsiteY195" fmla="*/ 473589 h 1192655"/>
                <a:gd name="connsiteX196" fmla="*/ 1729645 w 2330315"/>
                <a:gd name="connsiteY196" fmla="*/ 504682 h 1192655"/>
                <a:gd name="connsiteX197" fmla="*/ 1733100 w 2330315"/>
                <a:gd name="connsiteY197" fmla="*/ 525504 h 1192655"/>
                <a:gd name="connsiteX198" fmla="*/ 1736555 w 2330315"/>
                <a:gd name="connsiteY198" fmla="*/ 546233 h 1192655"/>
                <a:gd name="connsiteX199" fmla="*/ 1719281 w 2330315"/>
                <a:gd name="connsiteY199" fmla="*/ 566962 h 1192655"/>
                <a:gd name="connsiteX200" fmla="*/ 1708917 w 2330315"/>
                <a:gd name="connsiteY200" fmla="*/ 577326 h 1192655"/>
                <a:gd name="connsiteX201" fmla="*/ 1705461 w 2330315"/>
                <a:gd name="connsiteY201" fmla="*/ 587691 h 1192655"/>
                <a:gd name="connsiteX202" fmla="*/ 1722736 w 2330315"/>
                <a:gd name="connsiteY202" fmla="*/ 598055 h 1192655"/>
                <a:gd name="connsiteX203" fmla="*/ 1743464 w 2330315"/>
                <a:gd name="connsiteY203" fmla="*/ 611875 h 1192655"/>
                <a:gd name="connsiteX204" fmla="*/ 1760645 w 2330315"/>
                <a:gd name="connsiteY204" fmla="*/ 642968 h 1192655"/>
                <a:gd name="connsiteX205" fmla="*/ 1764100 w 2330315"/>
                <a:gd name="connsiteY205" fmla="*/ 681064 h 1192655"/>
                <a:gd name="connsiteX206" fmla="*/ 1746919 w 2330315"/>
                <a:gd name="connsiteY206" fmla="*/ 701793 h 1192655"/>
                <a:gd name="connsiteX207" fmla="*/ 1729645 w 2330315"/>
                <a:gd name="connsiteY207" fmla="*/ 722522 h 1192655"/>
                <a:gd name="connsiteX208" fmla="*/ 1691642 w 2330315"/>
                <a:gd name="connsiteY208" fmla="*/ 732886 h 1192655"/>
                <a:gd name="connsiteX209" fmla="*/ 1677823 w 2330315"/>
                <a:gd name="connsiteY209" fmla="*/ 739796 h 1192655"/>
                <a:gd name="connsiteX210" fmla="*/ 1691642 w 2330315"/>
                <a:gd name="connsiteY210" fmla="*/ 774344 h 1192655"/>
                <a:gd name="connsiteX211" fmla="*/ 1698552 w 2330315"/>
                <a:gd name="connsiteY211" fmla="*/ 798528 h 1192655"/>
                <a:gd name="connsiteX212" fmla="*/ 1708917 w 2330315"/>
                <a:gd name="connsiteY212" fmla="*/ 833169 h 1192655"/>
                <a:gd name="connsiteX213" fmla="*/ 1705461 w 2330315"/>
                <a:gd name="connsiteY213" fmla="*/ 846988 h 1192655"/>
                <a:gd name="connsiteX214" fmla="*/ 1698552 w 2330315"/>
                <a:gd name="connsiteY214" fmla="*/ 860807 h 1192655"/>
                <a:gd name="connsiteX215" fmla="*/ 1674368 w 2330315"/>
                <a:gd name="connsiteY215" fmla="*/ 874627 h 1192655"/>
                <a:gd name="connsiteX216" fmla="*/ 1660549 w 2330315"/>
                <a:gd name="connsiteY216" fmla="*/ 867717 h 1192655"/>
                <a:gd name="connsiteX217" fmla="*/ 1650185 w 2330315"/>
                <a:gd name="connsiteY217" fmla="*/ 860807 h 1192655"/>
                <a:gd name="connsiteX218" fmla="*/ 1629456 w 2330315"/>
                <a:gd name="connsiteY218" fmla="*/ 836624 h 1192655"/>
                <a:gd name="connsiteX219" fmla="*/ 1608820 w 2330315"/>
                <a:gd name="connsiteY219" fmla="*/ 812347 h 1192655"/>
                <a:gd name="connsiteX220" fmla="*/ 1608820 w 2330315"/>
                <a:gd name="connsiteY220" fmla="*/ 798528 h 1192655"/>
                <a:gd name="connsiteX221" fmla="*/ 1608820 w 2330315"/>
                <a:gd name="connsiteY221" fmla="*/ 788163 h 1192655"/>
                <a:gd name="connsiteX222" fmla="*/ 1608820 w 2330315"/>
                <a:gd name="connsiteY222" fmla="*/ 763980 h 1192655"/>
                <a:gd name="connsiteX223" fmla="*/ 1601911 w 2330315"/>
                <a:gd name="connsiteY223" fmla="*/ 725977 h 1192655"/>
                <a:gd name="connsiteX224" fmla="*/ 1581182 w 2330315"/>
                <a:gd name="connsiteY224" fmla="*/ 725977 h 1192655"/>
                <a:gd name="connsiteX225" fmla="*/ 1560453 w 2330315"/>
                <a:gd name="connsiteY225" fmla="*/ 722522 h 1192655"/>
                <a:gd name="connsiteX226" fmla="*/ 1546634 w 2330315"/>
                <a:gd name="connsiteY226" fmla="*/ 719067 h 1192655"/>
                <a:gd name="connsiteX227" fmla="*/ 1529360 w 2330315"/>
                <a:gd name="connsiteY227" fmla="*/ 719067 h 1192655"/>
                <a:gd name="connsiteX228" fmla="*/ 1491357 w 2330315"/>
                <a:gd name="connsiteY228" fmla="*/ 705248 h 1192655"/>
                <a:gd name="connsiteX229" fmla="*/ 1460357 w 2330315"/>
                <a:gd name="connsiteY229" fmla="*/ 687974 h 1192655"/>
                <a:gd name="connsiteX230" fmla="*/ 1432718 w 2330315"/>
                <a:gd name="connsiteY230" fmla="*/ 660335 h 1192655"/>
                <a:gd name="connsiteX231" fmla="*/ 1405080 w 2330315"/>
                <a:gd name="connsiteY231" fmla="*/ 656787 h 1192655"/>
                <a:gd name="connsiteX232" fmla="*/ 1380896 w 2330315"/>
                <a:gd name="connsiteY232" fmla="*/ 646423 h 1192655"/>
                <a:gd name="connsiteX233" fmla="*/ 1349803 w 2330315"/>
                <a:gd name="connsiteY233" fmla="*/ 646423 h 1192655"/>
                <a:gd name="connsiteX234" fmla="*/ 1325713 w 2330315"/>
                <a:gd name="connsiteY234" fmla="*/ 653332 h 1192655"/>
                <a:gd name="connsiteX235" fmla="*/ 1311893 w 2330315"/>
                <a:gd name="connsiteY235" fmla="*/ 608420 h 1192655"/>
                <a:gd name="connsiteX236" fmla="*/ 1304984 w 2330315"/>
                <a:gd name="connsiteY236" fmla="*/ 594601 h 1192655"/>
                <a:gd name="connsiteX237" fmla="*/ 1291165 w 2330315"/>
                <a:gd name="connsiteY237" fmla="*/ 591146 h 1192655"/>
                <a:gd name="connsiteX238" fmla="*/ 1273891 w 2330315"/>
                <a:gd name="connsiteY238" fmla="*/ 591146 h 1192655"/>
                <a:gd name="connsiteX239" fmla="*/ 1270436 w 2330315"/>
                <a:gd name="connsiteY239" fmla="*/ 580781 h 1192655"/>
                <a:gd name="connsiteX240" fmla="*/ 1266981 w 2330315"/>
                <a:gd name="connsiteY240" fmla="*/ 573872 h 1192655"/>
                <a:gd name="connsiteX241" fmla="*/ 1277345 w 2330315"/>
                <a:gd name="connsiteY241" fmla="*/ 501227 h 1192655"/>
                <a:gd name="connsiteX242" fmla="*/ 1308439 w 2330315"/>
                <a:gd name="connsiteY242" fmla="*/ 449405 h 1192655"/>
                <a:gd name="connsiteX243" fmla="*/ 1342987 w 2330315"/>
                <a:gd name="connsiteY243" fmla="*/ 418312 h 1192655"/>
                <a:gd name="connsiteX244" fmla="*/ 1373987 w 2330315"/>
                <a:gd name="connsiteY244" fmla="*/ 411402 h 1192655"/>
                <a:gd name="connsiteX245" fmla="*/ 1370532 w 2330315"/>
                <a:gd name="connsiteY245" fmla="*/ 394128 h 1192655"/>
                <a:gd name="connsiteX246" fmla="*/ 1342987 w 2330315"/>
                <a:gd name="connsiteY246" fmla="*/ 383764 h 1192655"/>
                <a:gd name="connsiteX247" fmla="*/ 1332622 w 2330315"/>
                <a:gd name="connsiteY247" fmla="*/ 373399 h 1192655"/>
                <a:gd name="connsiteX248" fmla="*/ 1353258 w 2330315"/>
                <a:gd name="connsiteY248" fmla="*/ 380309 h 1192655"/>
                <a:gd name="connsiteX249" fmla="*/ 1387806 w 2330315"/>
                <a:gd name="connsiteY249" fmla="*/ 376854 h 1192655"/>
                <a:gd name="connsiteX250" fmla="*/ 1387806 w 2330315"/>
                <a:gd name="connsiteY250" fmla="*/ 359580 h 1192655"/>
                <a:gd name="connsiteX251" fmla="*/ 1401625 w 2330315"/>
                <a:gd name="connsiteY251" fmla="*/ 366490 h 1192655"/>
                <a:gd name="connsiteX252" fmla="*/ 1415444 w 2330315"/>
                <a:gd name="connsiteY252" fmla="*/ 366490 h 1192655"/>
                <a:gd name="connsiteX253" fmla="*/ 1432718 w 2330315"/>
                <a:gd name="connsiteY253" fmla="*/ 363035 h 1192655"/>
                <a:gd name="connsiteX254" fmla="*/ 1449993 w 2330315"/>
                <a:gd name="connsiteY254" fmla="*/ 352671 h 1192655"/>
                <a:gd name="connsiteX255" fmla="*/ 1463812 w 2330315"/>
                <a:gd name="connsiteY255" fmla="*/ 331848 h 1192655"/>
                <a:gd name="connsiteX256" fmla="*/ 1474176 w 2330315"/>
                <a:gd name="connsiteY256" fmla="*/ 314574 h 1192655"/>
                <a:gd name="connsiteX257" fmla="*/ 1453447 w 2330315"/>
                <a:gd name="connsiteY257" fmla="*/ 314574 h 1192655"/>
                <a:gd name="connsiteX258" fmla="*/ 1439628 w 2330315"/>
                <a:gd name="connsiteY258" fmla="*/ 311120 h 1192655"/>
                <a:gd name="connsiteX259" fmla="*/ 1418899 w 2330315"/>
                <a:gd name="connsiteY259" fmla="*/ 307665 h 1192655"/>
                <a:gd name="connsiteX260" fmla="*/ 1408535 w 2330315"/>
                <a:gd name="connsiteY260" fmla="*/ 297300 h 1192655"/>
                <a:gd name="connsiteX261" fmla="*/ 1401625 w 2330315"/>
                <a:gd name="connsiteY261" fmla="*/ 283481 h 1192655"/>
                <a:gd name="connsiteX262" fmla="*/ 1418899 w 2330315"/>
                <a:gd name="connsiteY262" fmla="*/ 286936 h 1192655"/>
                <a:gd name="connsiteX263" fmla="*/ 1439628 w 2330315"/>
                <a:gd name="connsiteY263" fmla="*/ 300755 h 1192655"/>
                <a:gd name="connsiteX264" fmla="*/ 1460357 w 2330315"/>
                <a:gd name="connsiteY264" fmla="*/ 304210 h 1192655"/>
                <a:gd name="connsiteX265" fmla="*/ 1477631 w 2330315"/>
                <a:gd name="connsiteY265" fmla="*/ 300755 h 1192655"/>
                <a:gd name="connsiteX266" fmla="*/ 1491357 w 2330315"/>
                <a:gd name="connsiteY266" fmla="*/ 286936 h 1192655"/>
                <a:gd name="connsiteX267" fmla="*/ 1501721 w 2330315"/>
                <a:gd name="connsiteY267" fmla="*/ 269662 h 1192655"/>
                <a:gd name="connsiteX268" fmla="*/ 1491357 w 2330315"/>
                <a:gd name="connsiteY268" fmla="*/ 259297 h 1192655"/>
                <a:gd name="connsiteX269" fmla="*/ 1498266 w 2330315"/>
                <a:gd name="connsiteY269" fmla="*/ 248933 h 1192655"/>
                <a:gd name="connsiteX270" fmla="*/ 1515541 w 2330315"/>
                <a:gd name="connsiteY270" fmla="*/ 248933 h 1192655"/>
                <a:gd name="connsiteX271" fmla="*/ 1536269 w 2330315"/>
                <a:gd name="connsiteY271" fmla="*/ 269662 h 1192655"/>
                <a:gd name="connsiteX272" fmla="*/ 1550089 w 2330315"/>
                <a:gd name="connsiteY272" fmla="*/ 262752 h 1192655"/>
                <a:gd name="connsiteX273" fmla="*/ 1556998 w 2330315"/>
                <a:gd name="connsiteY273" fmla="*/ 248933 h 1192655"/>
                <a:gd name="connsiteX274" fmla="*/ 1581182 w 2330315"/>
                <a:gd name="connsiteY274" fmla="*/ 262752 h 1192655"/>
                <a:gd name="connsiteX275" fmla="*/ 1598456 w 2330315"/>
                <a:gd name="connsiteY275" fmla="*/ 252388 h 1192655"/>
                <a:gd name="connsiteX276" fmla="*/ 1619091 w 2330315"/>
                <a:gd name="connsiteY276" fmla="*/ 235114 h 1192655"/>
                <a:gd name="connsiteX277" fmla="*/ 1632911 w 2330315"/>
                <a:gd name="connsiteY277" fmla="*/ 217840 h 1192655"/>
                <a:gd name="connsiteX278" fmla="*/ 1622546 w 2330315"/>
                <a:gd name="connsiteY278" fmla="*/ 197111 h 1192655"/>
                <a:gd name="connsiteX279" fmla="*/ 1612275 w 2330315"/>
                <a:gd name="connsiteY279" fmla="*/ 183198 h 1192655"/>
                <a:gd name="connsiteX280" fmla="*/ 1608820 w 2330315"/>
                <a:gd name="connsiteY280" fmla="*/ 165924 h 1192655"/>
                <a:gd name="connsiteX281" fmla="*/ 1622546 w 2330315"/>
                <a:gd name="connsiteY281" fmla="*/ 162469 h 1192655"/>
                <a:gd name="connsiteX282" fmla="*/ 1632911 w 2330315"/>
                <a:gd name="connsiteY282" fmla="*/ 155560 h 1192655"/>
                <a:gd name="connsiteX283" fmla="*/ 1615637 w 2330315"/>
                <a:gd name="connsiteY283" fmla="*/ 131376 h 1192655"/>
                <a:gd name="connsiteX284" fmla="*/ 1591546 w 2330315"/>
                <a:gd name="connsiteY284" fmla="*/ 114102 h 1192655"/>
                <a:gd name="connsiteX285" fmla="*/ 1553543 w 2330315"/>
                <a:gd name="connsiteY285" fmla="*/ 100283 h 1192655"/>
                <a:gd name="connsiteX286" fmla="*/ 1522450 w 2330315"/>
                <a:gd name="connsiteY286" fmla="*/ 96828 h 1192655"/>
                <a:gd name="connsiteX287" fmla="*/ 1518995 w 2330315"/>
                <a:gd name="connsiteY287" fmla="*/ 107192 h 1192655"/>
                <a:gd name="connsiteX288" fmla="*/ 1529360 w 2330315"/>
                <a:gd name="connsiteY288" fmla="*/ 127921 h 1192655"/>
                <a:gd name="connsiteX289" fmla="*/ 1532815 w 2330315"/>
                <a:gd name="connsiteY289" fmla="*/ 141741 h 1192655"/>
                <a:gd name="connsiteX290" fmla="*/ 1512086 w 2330315"/>
                <a:gd name="connsiteY290" fmla="*/ 155560 h 1192655"/>
                <a:gd name="connsiteX291" fmla="*/ 1508631 w 2330315"/>
                <a:gd name="connsiteY291" fmla="*/ 183198 h 1192655"/>
                <a:gd name="connsiteX292" fmla="*/ 1494812 w 2330315"/>
                <a:gd name="connsiteY292" fmla="*/ 207475 h 1192655"/>
                <a:gd name="connsiteX293" fmla="*/ 1480992 w 2330315"/>
                <a:gd name="connsiteY293" fmla="*/ 217840 h 1192655"/>
                <a:gd name="connsiteX294" fmla="*/ 1456902 w 2330315"/>
                <a:gd name="connsiteY294" fmla="*/ 207475 h 1192655"/>
                <a:gd name="connsiteX295" fmla="*/ 1439628 w 2330315"/>
                <a:gd name="connsiteY295" fmla="*/ 193656 h 1192655"/>
                <a:gd name="connsiteX296" fmla="*/ 1443083 w 2330315"/>
                <a:gd name="connsiteY296" fmla="*/ 172834 h 1192655"/>
                <a:gd name="connsiteX297" fmla="*/ 1453447 w 2330315"/>
                <a:gd name="connsiteY297" fmla="*/ 155560 h 1192655"/>
                <a:gd name="connsiteX298" fmla="*/ 1436173 w 2330315"/>
                <a:gd name="connsiteY298" fmla="*/ 134831 h 1192655"/>
                <a:gd name="connsiteX299" fmla="*/ 1415444 w 2330315"/>
                <a:gd name="connsiteY299" fmla="*/ 127921 h 1192655"/>
                <a:gd name="connsiteX300" fmla="*/ 1405080 w 2330315"/>
                <a:gd name="connsiteY300" fmla="*/ 141741 h 1192655"/>
                <a:gd name="connsiteX301" fmla="*/ 1415444 w 2330315"/>
                <a:gd name="connsiteY301" fmla="*/ 159015 h 1192655"/>
                <a:gd name="connsiteX302" fmla="*/ 1401625 w 2330315"/>
                <a:gd name="connsiteY302" fmla="*/ 169379 h 1192655"/>
                <a:gd name="connsiteX303" fmla="*/ 1384351 w 2330315"/>
                <a:gd name="connsiteY303" fmla="*/ 162469 h 1192655"/>
                <a:gd name="connsiteX304" fmla="*/ 1373987 w 2330315"/>
                <a:gd name="connsiteY304" fmla="*/ 138286 h 1192655"/>
                <a:gd name="connsiteX305" fmla="*/ 1370532 w 2330315"/>
                <a:gd name="connsiteY305" fmla="*/ 110647 h 1192655"/>
                <a:gd name="connsiteX306" fmla="*/ 1356713 w 2330315"/>
                <a:gd name="connsiteY306" fmla="*/ 107192 h 1192655"/>
                <a:gd name="connsiteX307" fmla="*/ 1336077 w 2330315"/>
                <a:gd name="connsiteY307" fmla="*/ 110647 h 1192655"/>
                <a:gd name="connsiteX308" fmla="*/ 1329168 w 2330315"/>
                <a:gd name="connsiteY308" fmla="*/ 93373 h 1192655"/>
                <a:gd name="connsiteX309" fmla="*/ 1339532 w 2330315"/>
                <a:gd name="connsiteY309" fmla="*/ 83009 h 1192655"/>
                <a:gd name="connsiteX310" fmla="*/ 1336077 w 2330315"/>
                <a:gd name="connsiteY310" fmla="*/ 69190 h 1192655"/>
                <a:gd name="connsiteX311" fmla="*/ 1318803 w 2330315"/>
                <a:gd name="connsiteY311" fmla="*/ 45006 h 1192655"/>
                <a:gd name="connsiteX312" fmla="*/ 1315348 w 2330315"/>
                <a:gd name="connsiteY312" fmla="*/ 34641 h 1192655"/>
                <a:gd name="connsiteX313" fmla="*/ 1294620 w 2330315"/>
                <a:gd name="connsiteY313" fmla="*/ 6910 h 1192655"/>
                <a:gd name="connsiteX314" fmla="*/ 1263526 w 2330315"/>
                <a:gd name="connsiteY314" fmla="*/ 0 h 1192655"/>
                <a:gd name="connsiteX315" fmla="*/ 1246252 w 2330315"/>
                <a:gd name="connsiteY315" fmla="*/ 6910 h 1192655"/>
                <a:gd name="connsiteX316" fmla="*/ 1239343 w 2330315"/>
                <a:gd name="connsiteY316" fmla="*/ 20729 h 1192655"/>
                <a:gd name="connsiteX317" fmla="*/ 1222069 w 2330315"/>
                <a:gd name="connsiteY317" fmla="*/ 20729 h 1192655"/>
                <a:gd name="connsiteX318" fmla="*/ 1215159 w 2330315"/>
                <a:gd name="connsiteY318" fmla="*/ 45006 h 1192655"/>
                <a:gd name="connsiteX319" fmla="*/ 1228978 w 2330315"/>
                <a:gd name="connsiteY319" fmla="*/ 55370 h 1192655"/>
                <a:gd name="connsiteX320" fmla="*/ 1215159 w 2330315"/>
                <a:gd name="connsiteY320" fmla="*/ 76099 h 1192655"/>
                <a:gd name="connsiteX321" fmla="*/ 1222069 w 2330315"/>
                <a:gd name="connsiteY321" fmla="*/ 89918 h 1192655"/>
                <a:gd name="connsiteX322" fmla="*/ 1246252 w 2330315"/>
                <a:gd name="connsiteY322" fmla="*/ 103738 h 1192655"/>
                <a:gd name="connsiteX323" fmla="*/ 1277345 w 2330315"/>
                <a:gd name="connsiteY323" fmla="*/ 110647 h 1192655"/>
                <a:gd name="connsiteX324" fmla="*/ 1294620 w 2330315"/>
                <a:gd name="connsiteY324" fmla="*/ 134831 h 1192655"/>
                <a:gd name="connsiteX325" fmla="*/ 1298074 w 2330315"/>
                <a:gd name="connsiteY325" fmla="*/ 155560 h 1192655"/>
                <a:gd name="connsiteX326" fmla="*/ 1280800 w 2330315"/>
                <a:gd name="connsiteY326" fmla="*/ 176289 h 1192655"/>
                <a:gd name="connsiteX327" fmla="*/ 1246252 w 2330315"/>
                <a:gd name="connsiteY327" fmla="*/ 186746 h 1192655"/>
                <a:gd name="connsiteX328" fmla="*/ 1249707 w 2330315"/>
                <a:gd name="connsiteY328" fmla="*/ 207475 h 1192655"/>
                <a:gd name="connsiteX329" fmla="*/ 1249707 w 2330315"/>
                <a:gd name="connsiteY329" fmla="*/ 231659 h 1192655"/>
                <a:gd name="connsiteX330" fmla="*/ 1235888 w 2330315"/>
                <a:gd name="connsiteY330" fmla="*/ 231659 h 1192655"/>
                <a:gd name="connsiteX331" fmla="*/ 1225523 w 2330315"/>
                <a:gd name="connsiteY331" fmla="*/ 217840 h 1192655"/>
                <a:gd name="connsiteX332" fmla="*/ 1215159 w 2330315"/>
                <a:gd name="connsiteY332" fmla="*/ 200566 h 1192655"/>
                <a:gd name="connsiteX333" fmla="*/ 1222069 w 2330315"/>
                <a:gd name="connsiteY333" fmla="*/ 193656 h 1192655"/>
                <a:gd name="connsiteX334" fmla="*/ 1201433 w 2330315"/>
                <a:gd name="connsiteY334" fmla="*/ 172834 h 1192655"/>
                <a:gd name="connsiteX335" fmla="*/ 1180704 w 2330315"/>
                <a:gd name="connsiteY335" fmla="*/ 165924 h 1192655"/>
                <a:gd name="connsiteX336" fmla="*/ 1170340 w 2330315"/>
                <a:gd name="connsiteY336" fmla="*/ 169379 h 1192655"/>
                <a:gd name="connsiteX337" fmla="*/ 1166885 w 2330315"/>
                <a:gd name="connsiteY337" fmla="*/ 183198 h 1192655"/>
                <a:gd name="connsiteX338" fmla="*/ 1187614 w 2330315"/>
                <a:gd name="connsiteY338" fmla="*/ 186746 h 1192655"/>
                <a:gd name="connsiteX339" fmla="*/ 1197978 w 2330315"/>
                <a:gd name="connsiteY339" fmla="*/ 193656 h 1192655"/>
                <a:gd name="connsiteX340" fmla="*/ 1187614 w 2330315"/>
                <a:gd name="connsiteY340" fmla="*/ 204020 h 1192655"/>
                <a:gd name="connsiteX341" fmla="*/ 1153066 w 2330315"/>
                <a:gd name="connsiteY341" fmla="*/ 200566 h 1192655"/>
                <a:gd name="connsiteX342" fmla="*/ 1115063 w 2330315"/>
                <a:gd name="connsiteY342" fmla="*/ 200566 h 1192655"/>
                <a:gd name="connsiteX343" fmla="*/ 1073699 w 2330315"/>
                <a:gd name="connsiteY343" fmla="*/ 200566 h 1192655"/>
                <a:gd name="connsiteX344" fmla="*/ 1035696 w 2330315"/>
                <a:gd name="connsiteY344" fmla="*/ 193656 h 1192655"/>
                <a:gd name="connsiteX345" fmla="*/ 997693 w 2330315"/>
                <a:gd name="connsiteY345" fmla="*/ 179743 h 1192655"/>
                <a:gd name="connsiteX346" fmla="*/ 966599 w 2330315"/>
                <a:gd name="connsiteY346" fmla="*/ 162469 h 1192655"/>
                <a:gd name="connsiteX347" fmla="*/ 925235 w 2330315"/>
                <a:gd name="connsiteY347" fmla="*/ 179743 h 1192655"/>
                <a:gd name="connsiteX348" fmla="*/ 907961 w 2330315"/>
                <a:gd name="connsiteY348" fmla="*/ 190201 h 1192655"/>
                <a:gd name="connsiteX349" fmla="*/ 914871 w 2330315"/>
                <a:gd name="connsiteY349" fmla="*/ 207475 h 1192655"/>
                <a:gd name="connsiteX350" fmla="*/ 921780 w 2330315"/>
                <a:gd name="connsiteY350" fmla="*/ 238568 h 1192655"/>
                <a:gd name="connsiteX351" fmla="*/ 911416 w 2330315"/>
                <a:gd name="connsiteY351" fmla="*/ 245478 h 1192655"/>
                <a:gd name="connsiteX352" fmla="*/ 897597 w 2330315"/>
                <a:gd name="connsiteY352" fmla="*/ 224749 h 1192655"/>
                <a:gd name="connsiteX353" fmla="*/ 869958 w 2330315"/>
                <a:gd name="connsiteY353" fmla="*/ 207475 h 1192655"/>
                <a:gd name="connsiteX354" fmla="*/ 838865 w 2330315"/>
                <a:gd name="connsiteY354" fmla="*/ 190201 h 1192655"/>
                <a:gd name="connsiteX355" fmla="*/ 825046 w 2330315"/>
                <a:gd name="connsiteY355" fmla="*/ 197111 h 1192655"/>
                <a:gd name="connsiteX356" fmla="*/ 787136 w 2330315"/>
                <a:gd name="connsiteY356" fmla="*/ 200566 h 1192655"/>
                <a:gd name="connsiteX357" fmla="*/ 735314 w 2330315"/>
                <a:gd name="connsiteY357" fmla="*/ 204020 h 1192655"/>
                <a:gd name="connsiteX358" fmla="*/ 707676 w 2330315"/>
                <a:gd name="connsiteY358" fmla="*/ 190201 h 1192655"/>
                <a:gd name="connsiteX359" fmla="*/ 711130 w 2330315"/>
                <a:gd name="connsiteY359" fmla="*/ 176289 h 1192655"/>
                <a:gd name="connsiteX360" fmla="*/ 731859 w 2330315"/>
                <a:gd name="connsiteY360" fmla="*/ 172834 h 1192655"/>
                <a:gd name="connsiteX361" fmla="*/ 728404 w 2330315"/>
                <a:gd name="connsiteY361" fmla="*/ 159015 h 1192655"/>
                <a:gd name="connsiteX362" fmla="*/ 697311 w 2330315"/>
                <a:gd name="connsiteY362" fmla="*/ 145195 h 1192655"/>
                <a:gd name="connsiteX363" fmla="*/ 659402 w 2330315"/>
                <a:gd name="connsiteY363" fmla="*/ 141741 h 1192655"/>
                <a:gd name="connsiteX364" fmla="*/ 607579 w 2330315"/>
                <a:gd name="connsiteY364" fmla="*/ 124466 h 1192655"/>
                <a:gd name="connsiteX365" fmla="*/ 566122 w 2330315"/>
                <a:gd name="connsiteY365" fmla="*/ 114102 h 1192655"/>
                <a:gd name="connsiteX366" fmla="*/ 521303 w 2330315"/>
                <a:gd name="connsiteY366" fmla="*/ 96828 h 1192655"/>
                <a:gd name="connsiteX367" fmla="*/ 486754 w 2330315"/>
                <a:gd name="connsiteY367" fmla="*/ 107192 h 1192655"/>
                <a:gd name="connsiteX368" fmla="*/ 466026 w 2330315"/>
                <a:gd name="connsiteY368" fmla="*/ 121012 h 1192655"/>
                <a:gd name="connsiteX369" fmla="*/ 452206 w 2330315"/>
                <a:gd name="connsiteY369" fmla="*/ 89918 h 1192655"/>
                <a:gd name="connsiteX370" fmla="*/ 441842 w 2330315"/>
                <a:gd name="connsiteY370" fmla="*/ 86464 h 1192655"/>
                <a:gd name="connsiteX371" fmla="*/ 421113 w 2330315"/>
                <a:gd name="connsiteY371" fmla="*/ 114102 h 1192655"/>
                <a:gd name="connsiteX372" fmla="*/ 397023 w 2330315"/>
                <a:gd name="connsiteY372" fmla="*/ 110647 h 1192655"/>
                <a:gd name="connsiteX373" fmla="*/ 376294 w 2330315"/>
                <a:gd name="connsiteY373" fmla="*/ 79554 h 1192655"/>
                <a:gd name="connsiteX374" fmla="*/ 359020 w 2330315"/>
                <a:gd name="connsiteY374" fmla="*/ 65735 h 1192655"/>
                <a:gd name="connsiteX375" fmla="*/ 331381 w 2330315"/>
                <a:gd name="connsiteY375" fmla="*/ 100283 h 1192655"/>
                <a:gd name="connsiteX376" fmla="*/ 310653 w 2330315"/>
                <a:gd name="connsiteY376" fmla="*/ 96828 h 1192655"/>
                <a:gd name="connsiteX377" fmla="*/ 307198 w 2330315"/>
                <a:gd name="connsiteY377" fmla="*/ 83009 h 1192655"/>
                <a:gd name="connsiteX378" fmla="*/ 279559 w 2330315"/>
                <a:gd name="connsiteY378" fmla="*/ 83009 h 1192655"/>
                <a:gd name="connsiteX379" fmla="*/ 238195 w 2330315"/>
                <a:gd name="connsiteY379" fmla="*/ 103738 h 1192655"/>
                <a:gd name="connsiteX380" fmla="*/ 200192 w 2330315"/>
                <a:gd name="connsiteY380" fmla="*/ 124466 h 1192655"/>
                <a:gd name="connsiteX381" fmla="*/ 189828 w 2330315"/>
                <a:gd name="connsiteY381" fmla="*/ 117557 h 1192655"/>
                <a:gd name="connsiteX382" fmla="*/ 172554 w 2330315"/>
                <a:gd name="connsiteY382" fmla="*/ 107192 h 1192655"/>
                <a:gd name="connsiteX383" fmla="*/ 141460 w 2330315"/>
                <a:gd name="connsiteY383" fmla="*/ 124466 h 1192655"/>
                <a:gd name="connsiteX384" fmla="*/ 144915 w 2330315"/>
                <a:gd name="connsiteY384" fmla="*/ 148650 h 1192655"/>
                <a:gd name="connsiteX385" fmla="*/ 82822 w 2330315"/>
                <a:gd name="connsiteY385" fmla="*/ 131376 h 1192655"/>
                <a:gd name="connsiteX386" fmla="*/ 31000 w 2330315"/>
                <a:gd name="connsiteY386" fmla="*/ 110647 h 1192655"/>
                <a:gd name="connsiteX387" fmla="*/ 0 w 2330315"/>
                <a:gd name="connsiteY387" fmla="*/ 107192 h 1192655"/>
                <a:gd name="connsiteX388" fmla="*/ 0 w 2330315"/>
                <a:gd name="connsiteY388" fmla="*/ 522050 h 1192655"/>
                <a:gd name="connsiteX389" fmla="*/ 17181 w 2330315"/>
                <a:gd name="connsiteY389" fmla="*/ 528959 h 1192655"/>
                <a:gd name="connsiteX390" fmla="*/ 31000 w 2330315"/>
                <a:gd name="connsiteY390" fmla="*/ 522050 h 1192655"/>
                <a:gd name="connsiteX391" fmla="*/ 44819 w 2330315"/>
                <a:gd name="connsiteY391" fmla="*/ 518595 h 1192655"/>
                <a:gd name="connsiteX392" fmla="*/ 58638 w 2330315"/>
                <a:gd name="connsiteY392" fmla="*/ 535869 h 1192655"/>
                <a:gd name="connsiteX393" fmla="*/ 86277 w 2330315"/>
                <a:gd name="connsiteY393" fmla="*/ 556598 h 1192655"/>
                <a:gd name="connsiteX394" fmla="*/ 100096 w 2330315"/>
                <a:gd name="connsiteY394" fmla="*/ 570417 h 1192655"/>
                <a:gd name="connsiteX395" fmla="*/ 117370 w 2330315"/>
                <a:gd name="connsiteY395" fmla="*/ 566962 h 1192655"/>
                <a:gd name="connsiteX396" fmla="*/ 120825 w 2330315"/>
                <a:gd name="connsiteY396" fmla="*/ 556598 h 1192655"/>
                <a:gd name="connsiteX397" fmla="*/ 134644 w 2330315"/>
                <a:gd name="connsiteY397" fmla="*/ 549688 h 1192655"/>
                <a:gd name="connsiteX398" fmla="*/ 151825 w 2330315"/>
                <a:gd name="connsiteY398" fmla="*/ 542778 h 1192655"/>
                <a:gd name="connsiteX399" fmla="*/ 172554 w 2330315"/>
                <a:gd name="connsiteY399" fmla="*/ 563507 h 1192655"/>
                <a:gd name="connsiteX400" fmla="*/ 189828 w 2330315"/>
                <a:gd name="connsiteY400" fmla="*/ 580781 h 1192655"/>
                <a:gd name="connsiteX401" fmla="*/ 217466 w 2330315"/>
                <a:gd name="connsiteY401" fmla="*/ 608420 h 1192655"/>
                <a:gd name="connsiteX402" fmla="*/ 234740 w 2330315"/>
                <a:gd name="connsiteY402" fmla="*/ 642968 h 1192655"/>
                <a:gd name="connsiteX403" fmla="*/ 252014 w 2330315"/>
                <a:gd name="connsiteY403" fmla="*/ 663790 h 1192655"/>
                <a:gd name="connsiteX404" fmla="*/ 258924 w 2330315"/>
                <a:gd name="connsiteY404" fmla="*/ 667245 h 1192655"/>
                <a:gd name="connsiteX405" fmla="*/ 272743 w 2330315"/>
                <a:gd name="connsiteY405" fmla="*/ 677609 h 1192655"/>
                <a:gd name="connsiteX406" fmla="*/ 296833 w 2330315"/>
                <a:gd name="connsiteY406" fmla="*/ 691429 h 1192655"/>
                <a:gd name="connsiteX407" fmla="*/ 300288 w 2330315"/>
                <a:gd name="connsiteY407" fmla="*/ 705248 h 1192655"/>
                <a:gd name="connsiteX408" fmla="*/ 307198 w 2330315"/>
                <a:gd name="connsiteY408" fmla="*/ 708703 h 1192655"/>
                <a:gd name="connsiteX409" fmla="*/ 310653 w 2330315"/>
                <a:gd name="connsiteY409" fmla="*/ 725977 h 1192655"/>
                <a:gd name="connsiteX410" fmla="*/ 300288 w 2330315"/>
                <a:gd name="connsiteY410" fmla="*/ 746705 h 1192655"/>
                <a:gd name="connsiteX411" fmla="*/ 300288 w 2330315"/>
                <a:gd name="connsiteY411" fmla="*/ 757070 h 1192655"/>
                <a:gd name="connsiteX412" fmla="*/ 296833 w 2330315"/>
                <a:gd name="connsiteY412" fmla="*/ 770889 h 1192655"/>
                <a:gd name="connsiteX413" fmla="*/ 296833 w 2330315"/>
                <a:gd name="connsiteY413" fmla="*/ 791618 h 1192655"/>
                <a:gd name="connsiteX414" fmla="*/ 310653 w 2330315"/>
                <a:gd name="connsiteY414" fmla="*/ 791618 h 1192655"/>
                <a:gd name="connsiteX415" fmla="*/ 324472 w 2330315"/>
                <a:gd name="connsiteY415" fmla="*/ 781254 h 1192655"/>
                <a:gd name="connsiteX416" fmla="*/ 334836 w 2330315"/>
                <a:gd name="connsiteY416" fmla="*/ 774344 h 1192655"/>
                <a:gd name="connsiteX417" fmla="*/ 338291 w 2330315"/>
                <a:gd name="connsiteY417" fmla="*/ 788163 h 1192655"/>
                <a:gd name="connsiteX418" fmla="*/ 327927 w 2330315"/>
                <a:gd name="connsiteY418" fmla="*/ 805437 h 1192655"/>
                <a:gd name="connsiteX419" fmla="*/ 324472 w 2330315"/>
                <a:gd name="connsiteY419" fmla="*/ 819256 h 1192655"/>
                <a:gd name="connsiteX420" fmla="*/ 338291 w 2330315"/>
                <a:gd name="connsiteY420" fmla="*/ 812347 h 1192655"/>
                <a:gd name="connsiteX421" fmla="*/ 348656 w 2330315"/>
                <a:gd name="connsiteY421" fmla="*/ 815802 h 1192655"/>
                <a:gd name="connsiteX422" fmla="*/ 355565 w 2330315"/>
                <a:gd name="connsiteY422" fmla="*/ 826166 h 1192655"/>
                <a:gd name="connsiteX423" fmla="*/ 359020 w 2330315"/>
                <a:gd name="connsiteY423" fmla="*/ 840079 h 1192655"/>
                <a:gd name="connsiteX424" fmla="*/ 359020 w 2330315"/>
                <a:gd name="connsiteY424" fmla="*/ 853898 h 1192655"/>
                <a:gd name="connsiteX425" fmla="*/ 372839 w 2330315"/>
                <a:gd name="connsiteY425" fmla="*/ 853898 h 1192655"/>
                <a:gd name="connsiteX426" fmla="*/ 376294 w 2330315"/>
                <a:gd name="connsiteY426" fmla="*/ 864262 h 1192655"/>
                <a:gd name="connsiteX427" fmla="*/ 369384 w 2330315"/>
                <a:gd name="connsiteY427" fmla="*/ 881536 h 1192655"/>
                <a:gd name="connsiteX428" fmla="*/ 400478 w 2330315"/>
                <a:gd name="connsiteY428" fmla="*/ 884991 h 1192655"/>
                <a:gd name="connsiteX429" fmla="*/ 421113 w 2330315"/>
                <a:gd name="connsiteY429" fmla="*/ 898810 h 1192655"/>
                <a:gd name="connsiteX430" fmla="*/ 431478 w 2330315"/>
                <a:gd name="connsiteY430" fmla="*/ 891901 h 1192655"/>
                <a:gd name="connsiteX431" fmla="*/ 441842 w 2330315"/>
                <a:gd name="connsiteY431" fmla="*/ 909175 h 1192655"/>
                <a:gd name="connsiteX432" fmla="*/ 459116 w 2330315"/>
                <a:gd name="connsiteY432" fmla="*/ 926449 h 1192655"/>
                <a:gd name="connsiteX433" fmla="*/ 469480 w 2330315"/>
                <a:gd name="connsiteY433" fmla="*/ 919539 h 1192655"/>
                <a:gd name="connsiteX434" fmla="*/ 486754 w 2330315"/>
                <a:gd name="connsiteY434" fmla="*/ 936813 h 1192655"/>
                <a:gd name="connsiteX435" fmla="*/ 500574 w 2330315"/>
                <a:gd name="connsiteY435" fmla="*/ 954087 h 1192655"/>
                <a:gd name="connsiteX436" fmla="*/ 1242797 w 2330315"/>
                <a:gd name="connsiteY436" fmla="*/ 954087 h 1192655"/>
                <a:gd name="connsiteX437" fmla="*/ 1246252 w 2330315"/>
                <a:gd name="connsiteY437" fmla="*/ 940268 h 11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Lst>
              <a:rect l="l" t="t" r="r" b="b"/>
              <a:pathLst>
                <a:path w="2330315" h="1192655">
                  <a:moveTo>
                    <a:pt x="1246252" y="940268"/>
                  </a:moveTo>
                  <a:lnTo>
                    <a:pt x="1260071" y="940268"/>
                  </a:lnTo>
                  <a:lnTo>
                    <a:pt x="1263526" y="954087"/>
                  </a:lnTo>
                  <a:lnTo>
                    <a:pt x="1270436" y="960997"/>
                  </a:lnTo>
                  <a:lnTo>
                    <a:pt x="1291165" y="967907"/>
                  </a:lnTo>
                  <a:lnTo>
                    <a:pt x="1332622" y="974816"/>
                  </a:lnTo>
                  <a:lnTo>
                    <a:pt x="1356713" y="981819"/>
                  </a:lnTo>
                  <a:lnTo>
                    <a:pt x="1377442" y="985274"/>
                  </a:lnTo>
                  <a:lnTo>
                    <a:pt x="1387806" y="985274"/>
                  </a:lnTo>
                  <a:lnTo>
                    <a:pt x="1398170" y="988729"/>
                  </a:lnTo>
                  <a:lnTo>
                    <a:pt x="1411990" y="978271"/>
                  </a:lnTo>
                  <a:lnTo>
                    <a:pt x="1429264" y="967907"/>
                  </a:lnTo>
                  <a:lnTo>
                    <a:pt x="1443083" y="957542"/>
                  </a:lnTo>
                  <a:lnTo>
                    <a:pt x="1456902" y="957542"/>
                  </a:lnTo>
                  <a:lnTo>
                    <a:pt x="1474176" y="964452"/>
                  </a:lnTo>
                  <a:lnTo>
                    <a:pt x="1491357" y="964452"/>
                  </a:lnTo>
                  <a:lnTo>
                    <a:pt x="1501721" y="978271"/>
                  </a:lnTo>
                  <a:lnTo>
                    <a:pt x="1508631" y="992184"/>
                  </a:lnTo>
                  <a:lnTo>
                    <a:pt x="1529360" y="992184"/>
                  </a:lnTo>
                  <a:lnTo>
                    <a:pt x="1532815" y="999093"/>
                  </a:lnTo>
                  <a:lnTo>
                    <a:pt x="1539724" y="1019822"/>
                  </a:lnTo>
                  <a:lnTo>
                    <a:pt x="1546634" y="1037096"/>
                  </a:lnTo>
                  <a:lnTo>
                    <a:pt x="1556998" y="1047461"/>
                  </a:lnTo>
                  <a:lnTo>
                    <a:pt x="1577727" y="1050915"/>
                  </a:lnTo>
                  <a:lnTo>
                    <a:pt x="1605366" y="1050915"/>
                  </a:lnTo>
                  <a:lnTo>
                    <a:pt x="1626001" y="1054370"/>
                  </a:lnTo>
                  <a:lnTo>
                    <a:pt x="1646730" y="1061280"/>
                  </a:lnTo>
                  <a:lnTo>
                    <a:pt x="1660549" y="1075099"/>
                  </a:lnTo>
                  <a:lnTo>
                    <a:pt x="1670914" y="1092373"/>
                  </a:lnTo>
                  <a:lnTo>
                    <a:pt x="1667459" y="1106192"/>
                  </a:lnTo>
                  <a:lnTo>
                    <a:pt x="1653639" y="1109647"/>
                  </a:lnTo>
                  <a:lnTo>
                    <a:pt x="1643275" y="1099283"/>
                  </a:lnTo>
                  <a:lnTo>
                    <a:pt x="1636365" y="1099283"/>
                  </a:lnTo>
                  <a:lnTo>
                    <a:pt x="1632911" y="1109647"/>
                  </a:lnTo>
                  <a:lnTo>
                    <a:pt x="1622546" y="1120012"/>
                  </a:lnTo>
                  <a:lnTo>
                    <a:pt x="1619091" y="1133831"/>
                  </a:lnTo>
                  <a:lnTo>
                    <a:pt x="1615637" y="1151198"/>
                  </a:lnTo>
                  <a:lnTo>
                    <a:pt x="1601911" y="1154653"/>
                  </a:lnTo>
                  <a:lnTo>
                    <a:pt x="1591546" y="1158108"/>
                  </a:lnTo>
                  <a:lnTo>
                    <a:pt x="1591546" y="1171927"/>
                  </a:lnTo>
                  <a:lnTo>
                    <a:pt x="1588091" y="1175382"/>
                  </a:lnTo>
                  <a:lnTo>
                    <a:pt x="1588091" y="1189201"/>
                  </a:lnTo>
                  <a:lnTo>
                    <a:pt x="1595001" y="1192656"/>
                  </a:lnTo>
                  <a:lnTo>
                    <a:pt x="1608820" y="1185746"/>
                  </a:lnTo>
                  <a:lnTo>
                    <a:pt x="1622546" y="1175382"/>
                  </a:lnTo>
                  <a:lnTo>
                    <a:pt x="1636365" y="1171927"/>
                  </a:lnTo>
                  <a:lnTo>
                    <a:pt x="1664004" y="1165017"/>
                  </a:lnTo>
                  <a:lnTo>
                    <a:pt x="1693977" y="1161656"/>
                  </a:lnTo>
                  <a:lnTo>
                    <a:pt x="1691642" y="1154653"/>
                  </a:lnTo>
                  <a:lnTo>
                    <a:pt x="1695097" y="1147650"/>
                  </a:lnTo>
                  <a:lnTo>
                    <a:pt x="1681278" y="1147650"/>
                  </a:lnTo>
                  <a:lnTo>
                    <a:pt x="1677823" y="1140740"/>
                  </a:lnTo>
                  <a:lnTo>
                    <a:pt x="1691642" y="1133831"/>
                  </a:lnTo>
                  <a:lnTo>
                    <a:pt x="1702007" y="1126921"/>
                  </a:lnTo>
                  <a:lnTo>
                    <a:pt x="1729645" y="1126921"/>
                  </a:lnTo>
                  <a:lnTo>
                    <a:pt x="1750281" y="1126921"/>
                  </a:lnTo>
                  <a:lnTo>
                    <a:pt x="1760645" y="1120012"/>
                  </a:lnTo>
                  <a:lnTo>
                    <a:pt x="1771010" y="1113102"/>
                  </a:lnTo>
                  <a:lnTo>
                    <a:pt x="1784829" y="1102738"/>
                  </a:lnTo>
                  <a:lnTo>
                    <a:pt x="1798648" y="1092373"/>
                  </a:lnTo>
                  <a:lnTo>
                    <a:pt x="1898744" y="1092373"/>
                  </a:lnTo>
                  <a:lnTo>
                    <a:pt x="1919473" y="1082009"/>
                  </a:lnTo>
                  <a:lnTo>
                    <a:pt x="1929837" y="1068189"/>
                  </a:lnTo>
                  <a:lnTo>
                    <a:pt x="1929837" y="1057825"/>
                  </a:lnTo>
                  <a:lnTo>
                    <a:pt x="1936747" y="1040551"/>
                  </a:lnTo>
                  <a:lnTo>
                    <a:pt x="1950566" y="1016367"/>
                  </a:lnTo>
                  <a:lnTo>
                    <a:pt x="1964385" y="1002548"/>
                  </a:lnTo>
                  <a:lnTo>
                    <a:pt x="1978205" y="1009458"/>
                  </a:lnTo>
                  <a:lnTo>
                    <a:pt x="2002388" y="1016367"/>
                  </a:lnTo>
                  <a:lnTo>
                    <a:pt x="2005843" y="1030186"/>
                  </a:lnTo>
                  <a:lnTo>
                    <a:pt x="2002388" y="1057825"/>
                  </a:lnTo>
                  <a:lnTo>
                    <a:pt x="2005843" y="1071644"/>
                  </a:lnTo>
                  <a:lnTo>
                    <a:pt x="2016207" y="1082009"/>
                  </a:lnTo>
                  <a:lnTo>
                    <a:pt x="2023024" y="1092373"/>
                  </a:lnTo>
                  <a:lnTo>
                    <a:pt x="2050662" y="1085463"/>
                  </a:lnTo>
                  <a:lnTo>
                    <a:pt x="2067936" y="1078554"/>
                  </a:lnTo>
                  <a:lnTo>
                    <a:pt x="2088665" y="1068189"/>
                  </a:lnTo>
                  <a:lnTo>
                    <a:pt x="2095575" y="1071644"/>
                  </a:lnTo>
                  <a:lnTo>
                    <a:pt x="2099030" y="1078554"/>
                  </a:lnTo>
                  <a:lnTo>
                    <a:pt x="2099030" y="1082009"/>
                  </a:lnTo>
                  <a:lnTo>
                    <a:pt x="2095575" y="1085463"/>
                  </a:lnTo>
                  <a:lnTo>
                    <a:pt x="2074846" y="1092373"/>
                  </a:lnTo>
                  <a:lnTo>
                    <a:pt x="2054117" y="1106192"/>
                  </a:lnTo>
                  <a:lnTo>
                    <a:pt x="2047207" y="1120012"/>
                  </a:lnTo>
                  <a:lnTo>
                    <a:pt x="2050662" y="1133831"/>
                  </a:lnTo>
                  <a:lnTo>
                    <a:pt x="2067936" y="1144289"/>
                  </a:lnTo>
                  <a:lnTo>
                    <a:pt x="2078301" y="1133831"/>
                  </a:lnTo>
                  <a:lnTo>
                    <a:pt x="2092120" y="1120012"/>
                  </a:lnTo>
                  <a:lnTo>
                    <a:pt x="2105939" y="1106192"/>
                  </a:lnTo>
                  <a:lnTo>
                    <a:pt x="2123213" y="1106192"/>
                  </a:lnTo>
                  <a:lnTo>
                    <a:pt x="2150852" y="1095828"/>
                  </a:lnTo>
                  <a:lnTo>
                    <a:pt x="2171487" y="1088918"/>
                  </a:lnTo>
                  <a:lnTo>
                    <a:pt x="2178397" y="1082009"/>
                  </a:lnTo>
                  <a:lnTo>
                    <a:pt x="2188761" y="1064735"/>
                  </a:lnTo>
                  <a:lnTo>
                    <a:pt x="2199126" y="1064735"/>
                  </a:lnTo>
                  <a:lnTo>
                    <a:pt x="2216400" y="1064735"/>
                  </a:lnTo>
                  <a:lnTo>
                    <a:pt x="2216400" y="1050915"/>
                  </a:lnTo>
                  <a:lnTo>
                    <a:pt x="2206035" y="1044006"/>
                  </a:lnTo>
                  <a:lnTo>
                    <a:pt x="2206035" y="1030186"/>
                  </a:lnTo>
                  <a:lnTo>
                    <a:pt x="2192216" y="1030186"/>
                  </a:lnTo>
                  <a:lnTo>
                    <a:pt x="2185307" y="1044006"/>
                  </a:lnTo>
                  <a:lnTo>
                    <a:pt x="2178397" y="1057825"/>
                  </a:lnTo>
                  <a:lnTo>
                    <a:pt x="2164578" y="1061280"/>
                  </a:lnTo>
                  <a:lnTo>
                    <a:pt x="2133578" y="1061280"/>
                  </a:lnTo>
                  <a:lnTo>
                    <a:pt x="2109394" y="1054370"/>
                  </a:lnTo>
                  <a:lnTo>
                    <a:pt x="2088665" y="1040551"/>
                  </a:lnTo>
                  <a:lnTo>
                    <a:pt x="2081756" y="1026732"/>
                  </a:lnTo>
                  <a:lnTo>
                    <a:pt x="2078301" y="1016367"/>
                  </a:lnTo>
                  <a:lnTo>
                    <a:pt x="2085210" y="1002548"/>
                  </a:lnTo>
                  <a:lnTo>
                    <a:pt x="2078301" y="985274"/>
                  </a:lnTo>
                  <a:lnTo>
                    <a:pt x="2095575" y="981819"/>
                  </a:lnTo>
                  <a:lnTo>
                    <a:pt x="2102485" y="971361"/>
                  </a:lnTo>
                  <a:lnTo>
                    <a:pt x="2095575" y="954087"/>
                  </a:lnTo>
                  <a:lnTo>
                    <a:pt x="2074846" y="947178"/>
                  </a:lnTo>
                  <a:lnTo>
                    <a:pt x="2043753" y="943723"/>
                  </a:lnTo>
                  <a:lnTo>
                    <a:pt x="2026479" y="950633"/>
                  </a:lnTo>
                  <a:lnTo>
                    <a:pt x="2016207" y="957542"/>
                  </a:lnTo>
                  <a:lnTo>
                    <a:pt x="1985114" y="971361"/>
                  </a:lnTo>
                  <a:lnTo>
                    <a:pt x="1957476" y="988729"/>
                  </a:lnTo>
                  <a:lnTo>
                    <a:pt x="1933292" y="1016367"/>
                  </a:lnTo>
                  <a:lnTo>
                    <a:pt x="1926383" y="1019822"/>
                  </a:lnTo>
                  <a:lnTo>
                    <a:pt x="1916018" y="1026732"/>
                  </a:lnTo>
                  <a:lnTo>
                    <a:pt x="1916018" y="1023277"/>
                  </a:lnTo>
                  <a:lnTo>
                    <a:pt x="1919473" y="1019822"/>
                  </a:lnTo>
                  <a:lnTo>
                    <a:pt x="1922928" y="1012913"/>
                  </a:lnTo>
                  <a:lnTo>
                    <a:pt x="1947111" y="985274"/>
                  </a:lnTo>
                  <a:lnTo>
                    <a:pt x="1964385" y="967907"/>
                  </a:lnTo>
                  <a:lnTo>
                    <a:pt x="1988569" y="947178"/>
                  </a:lnTo>
                  <a:lnTo>
                    <a:pt x="2012753" y="940268"/>
                  </a:lnTo>
                  <a:lnTo>
                    <a:pt x="2026479" y="919539"/>
                  </a:lnTo>
                  <a:lnTo>
                    <a:pt x="2054117" y="909175"/>
                  </a:lnTo>
                  <a:lnTo>
                    <a:pt x="2102485" y="905720"/>
                  </a:lnTo>
                  <a:lnTo>
                    <a:pt x="2137033" y="905720"/>
                  </a:lnTo>
                  <a:lnTo>
                    <a:pt x="2181852" y="912630"/>
                  </a:lnTo>
                  <a:lnTo>
                    <a:pt x="2219855" y="905720"/>
                  </a:lnTo>
                  <a:lnTo>
                    <a:pt x="2247493" y="884991"/>
                  </a:lnTo>
                  <a:lnTo>
                    <a:pt x="2261312" y="867717"/>
                  </a:lnTo>
                  <a:lnTo>
                    <a:pt x="2295767" y="867717"/>
                  </a:lnTo>
                  <a:lnTo>
                    <a:pt x="2313041" y="857353"/>
                  </a:lnTo>
                  <a:lnTo>
                    <a:pt x="2326860" y="843534"/>
                  </a:lnTo>
                  <a:lnTo>
                    <a:pt x="2330315" y="819256"/>
                  </a:lnTo>
                  <a:lnTo>
                    <a:pt x="2326860" y="791618"/>
                  </a:lnTo>
                  <a:lnTo>
                    <a:pt x="2306132" y="781254"/>
                  </a:lnTo>
                  <a:lnTo>
                    <a:pt x="2295767" y="781254"/>
                  </a:lnTo>
                  <a:lnTo>
                    <a:pt x="2292312" y="781254"/>
                  </a:lnTo>
                  <a:lnTo>
                    <a:pt x="2285403" y="763980"/>
                  </a:lnTo>
                  <a:lnTo>
                    <a:pt x="2268222" y="767434"/>
                  </a:lnTo>
                  <a:lnTo>
                    <a:pt x="2244038" y="777799"/>
                  </a:lnTo>
                  <a:lnTo>
                    <a:pt x="2216400" y="791618"/>
                  </a:lnTo>
                  <a:lnTo>
                    <a:pt x="2212945" y="791618"/>
                  </a:lnTo>
                  <a:lnTo>
                    <a:pt x="2212945" y="788163"/>
                  </a:lnTo>
                  <a:lnTo>
                    <a:pt x="2209490" y="784708"/>
                  </a:lnTo>
                  <a:lnTo>
                    <a:pt x="2230219" y="774344"/>
                  </a:lnTo>
                  <a:lnTo>
                    <a:pt x="2244038" y="767434"/>
                  </a:lnTo>
                  <a:lnTo>
                    <a:pt x="2268222" y="757070"/>
                  </a:lnTo>
                  <a:lnTo>
                    <a:pt x="2275132" y="743251"/>
                  </a:lnTo>
                  <a:lnTo>
                    <a:pt x="2261312" y="743251"/>
                  </a:lnTo>
                  <a:lnTo>
                    <a:pt x="2240583" y="736341"/>
                  </a:lnTo>
                  <a:lnTo>
                    <a:pt x="2216400" y="729431"/>
                  </a:lnTo>
                  <a:lnTo>
                    <a:pt x="2199126" y="722522"/>
                  </a:lnTo>
                  <a:lnTo>
                    <a:pt x="2199126" y="712157"/>
                  </a:lnTo>
                  <a:lnTo>
                    <a:pt x="2195671" y="705248"/>
                  </a:lnTo>
                  <a:lnTo>
                    <a:pt x="2168032" y="687974"/>
                  </a:lnTo>
                  <a:lnTo>
                    <a:pt x="2164578" y="674155"/>
                  </a:lnTo>
                  <a:lnTo>
                    <a:pt x="2174942" y="663790"/>
                  </a:lnTo>
                  <a:lnTo>
                    <a:pt x="2168032" y="642968"/>
                  </a:lnTo>
                  <a:lnTo>
                    <a:pt x="2164578" y="622239"/>
                  </a:lnTo>
                  <a:lnTo>
                    <a:pt x="2147304" y="611875"/>
                  </a:lnTo>
                  <a:lnTo>
                    <a:pt x="2143849" y="598055"/>
                  </a:lnTo>
                  <a:lnTo>
                    <a:pt x="2119759" y="566962"/>
                  </a:lnTo>
                  <a:lnTo>
                    <a:pt x="2102485" y="539324"/>
                  </a:lnTo>
                  <a:lnTo>
                    <a:pt x="2088665" y="518595"/>
                  </a:lnTo>
                  <a:lnTo>
                    <a:pt x="2078301" y="528959"/>
                  </a:lnTo>
                  <a:lnTo>
                    <a:pt x="2064482" y="546233"/>
                  </a:lnTo>
                  <a:lnTo>
                    <a:pt x="2064482" y="566962"/>
                  </a:lnTo>
                  <a:lnTo>
                    <a:pt x="2040298" y="587691"/>
                  </a:lnTo>
                  <a:lnTo>
                    <a:pt x="2016207" y="608420"/>
                  </a:lnTo>
                  <a:lnTo>
                    <a:pt x="1995479" y="598055"/>
                  </a:lnTo>
                  <a:lnTo>
                    <a:pt x="1981660" y="584236"/>
                  </a:lnTo>
                  <a:lnTo>
                    <a:pt x="1960931" y="580781"/>
                  </a:lnTo>
                  <a:lnTo>
                    <a:pt x="1960931" y="566962"/>
                  </a:lnTo>
                  <a:lnTo>
                    <a:pt x="1950566" y="542778"/>
                  </a:lnTo>
                  <a:lnTo>
                    <a:pt x="1950566" y="518595"/>
                  </a:lnTo>
                  <a:lnTo>
                    <a:pt x="1957476" y="501227"/>
                  </a:lnTo>
                  <a:lnTo>
                    <a:pt x="1919473" y="494318"/>
                  </a:lnTo>
                  <a:lnTo>
                    <a:pt x="1895289" y="480498"/>
                  </a:lnTo>
                  <a:lnTo>
                    <a:pt x="1881563" y="459770"/>
                  </a:lnTo>
                  <a:lnTo>
                    <a:pt x="1857380" y="442496"/>
                  </a:lnTo>
                  <a:lnTo>
                    <a:pt x="1836651" y="428676"/>
                  </a:lnTo>
                  <a:lnTo>
                    <a:pt x="1826286" y="442496"/>
                  </a:lnTo>
                  <a:lnTo>
                    <a:pt x="1802103" y="445950"/>
                  </a:lnTo>
                  <a:lnTo>
                    <a:pt x="1784829" y="442496"/>
                  </a:lnTo>
                  <a:lnTo>
                    <a:pt x="1757190" y="432131"/>
                  </a:lnTo>
                  <a:lnTo>
                    <a:pt x="1726190" y="432131"/>
                  </a:lnTo>
                  <a:lnTo>
                    <a:pt x="1719281" y="456315"/>
                  </a:lnTo>
                  <a:lnTo>
                    <a:pt x="1736555" y="473589"/>
                  </a:lnTo>
                  <a:lnTo>
                    <a:pt x="1729645" y="504682"/>
                  </a:lnTo>
                  <a:lnTo>
                    <a:pt x="1733100" y="525504"/>
                  </a:lnTo>
                  <a:lnTo>
                    <a:pt x="1736555" y="546233"/>
                  </a:lnTo>
                  <a:lnTo>
                    <a:pt x="1719281" y="566962"/>
                  </a:lnTo>
                  <a:lnTo>
                    <a:pt x="1708917" y="577326"/>
                  </a:lnTo>
                  <a:lnTo>
                    <a:pt x="1705461" y="587691"/>
                  </a:lnTo>
                  <a:lnTo>
                    <a:pt x="1722736" y="598055"/>
                  </a:lnTo>
                  <a:lnTo>
                    <a:pt x="1743464" y="611875"/>
                  </a:lnTo>
                  <a:lnTo>
                    <a:pt x="1760645" y="642968"/>
                  </a:lnTo>
                  <a:lnTo>
                    <a:pt x="1764100" y="681064"/>
                  </a:lnTo>
                  <a:lnTo>
                    <a:pt x="1746919" y="701793"/>
                  </a:lnTo>
                  <a:lnTo>
                    <a:pt x="1729645" y="722522"/>
                  </a:lnTo>
                  <a:lnTo>
                    <a:pt x="1691642" y="732886"/>
                  </a:lnTo>
                  <a:lnTo>
                    <a:pt x="1677823" y="739796"/>
                  </a:lnTo>
                  <a:lnTo>
                    <a:pt x="1691642" y="774344"/>
                  </a:lnTo>
                  <a:lnTo>
                    <a:pt x="1698552" y="798528"/>
                  </a:lnTo>
                  <a:lnTo>
                    <a:pt x="1708917" y="833169"/>
                  </a:lnTo>
                  <a:lnTo>
                    <a:pt x="1705461" y="846988"/>
                  </a:lnTo>
                  <a:lnTo>
                    <a:pt x="1698552" y="860807"/>
                  </a:lnTo>
                  <a:lnTo>
                    <a:pt x="1674368" y="874627"/>
                  </a:lnTo>
                  <a:lnTo>
                    <a:pt x="1660549" y="867717"/>
                  </a:lnTo>
                  <a:lnTo>
                    <a:pt x="1650185" y="860807"/>
                  </a:lnTo>
                  <a:lnTo>
                    <a:pt x="1629456" y="836624"/>
                  </a:lnTo>
                  <a:lnTo>
                    <a:pt x="1608820" y="812347"/>
                  </a:lnTo>
                  <a:lnTo>
                    <a:pt x="1608820" y="798528"/>
                  </a:lnTo>
                  <a:lnTo>
                    <a:pt x="1608820" y="788163"/>
                  </a:lnTo>
                  <a:lnTo>
                    <a:pt x="1608820" y="763980"/>
                  </a:lnTo>
                  <a:lnTo>
                    <a:pt x="1601911" y="725977"/>
                  </a:lnTo>
                  <a:lnTo>
                    <a:pt x="1581182" y="725977"/>
                  </a:lnTo>
                  <a:lnTo>
                    <a:pt x="1560453" y="722522"/>
                  </a:lnTo>
                  <a:lnTo>
                    <a:pt x="1546634" y="719067"/>
                  </a:lnTo>
                  <a:lnTo>
                    <a:pt x="1529360" y="719067"/>
                  </a:lnTo>
                  <a:lnTo>
                    <a:pt x="1491357" y="705248"/>
                  </a:lnTo>
                  <a:lnTo>
                    <a:pt x="1460357" y="687974"/>
                  </a:lnTo>
                  <a:lnTo>
                    <a:pt x="1432718" y="660335"/>
                  </a:lnTo>
                  <a:lnTo>
                    <a:pt x="1405080" y="656787"/>
                  </a:lnTo>
                  <a:lnTo>
                    <a:pt x="1380896" y="646423"/>
                  </a:lnTo>
                  <a:lnTo>
                    <a:pt x="1349803" y="646423"/>
                  </a:lnTo>
                  <a:lnTo>
                    <a:pt x="1325713" y="653332"/>
                  </a:lnTo>
                  <a:lnTo>
                    <a:pt x="1311893" y="608420"/>
                  </a:lnTo>
                  <a:lnTo>
                    <a:pt x="1304984" y="594601"/>
                  </a:lnTo>
                  <a:lnTo>
                    <a:pt x="1291165" y="591146"/>
                  </a:lnTo>
                  <a:lnTo>
                    <a:pt x="1273891" y="591146"/>
                  </a:lnTo>
                  <a:lnTo>
                    <a:pt x="1270436" y="580781"/>
                  </a:lnTo>
                  <a:lnTo>
                    <a:pt x="1266981" y="573872"/>
                  </a:lnTo>
                  <a:lnTo>
                    <a:pt x="1277345" y="501227"/>
                  </a:lnTo>
                  <a:lnTo>
                    <a:pt x="1308439" y="449405"/>
                  </a:lnTo>
                  <a:lnTo>
                    <a:pt x="1342987" y="418312"/>
                  </a:lnTo>
                  <a:lnTo>
                    <a:pt x="1373987" y="411402"/>
                  </a:lnTo>
                  <a:lnTo>
                    <a:pt x="1370532" y="394128"/>
                  </a:lnTo>
                  <a:lnTo>
                    <a:pt x="1342987" y="383764"/>
                  </a:lnTo>
                  <a:lnTo>
                    <a:pt x="1332622" y="373399"/>
                  </a:lnTo>
                  <a:lnTo>
                    <a:pt x="1353258" y="380309"/>
                  </a:lnTo>
                  <a:lnTo>
                    <a:pt x="1387806" y="376854"/>
                  </a:lnTo>
                  <a:lnTo>
                    <a:pt x="1387806" y="359580"/>
                  </a:lnTo>
                  <a:lnTo>
                    <a:pt x="1401625" y="366490"/>
                  </a:lnTo>
                  <a:lnTo>
                    <a:pt x="1415444" y="366490"/>
                  </a:lnTo>
                  <a:lnTo>
                    <a:pt x="1432718" y="363035"/>
                  </a:lnTo>
                  <a:lnTo>
                    <a:pt x="1449993" y="352671"/>
                  </a:lnTo>
                  <a:lnTo>
                    <a:pt x="1463812" y="331848"/>
                  </a:lnTo>
                  <a:lnTo>
                    <a:pt x="1474176" y="314574"/>
                  </a:lnTo>
                  <a:lnTo>
                    <a:pt x="1453447" y="314574"/>
                  </a:lnTo>
                  <a:lnTo>
                    <a:pt x="1439628" y="311120"/>
                  </a:lnTo>
                  <a:lnTo>
                    <a:pt x="1418899" y="307665"/>
                  </a:lnTo>
                  <a:lnTo>
                    <a:pt x="1408535" y="297300"/>
                  </a:lnTo>
                  <a:lnTo>
                    <a:pt x="1401625" y="283481"/>
                  </a:lnTo>
                  <a:lnTo>
                    <a:pt x="1418899" y="286936"/>
                  </a:lnTo>
                  <a:lnTo>
                    <a:pt x="1439628" y="300755"/>
                  </a:lnTo>
                  <a:lnTo>
                    <a:pt x="1460357" y="304210"/>
                  </a:lnTo>
                  <a:lnTo>
                    <a:pt x="1477631" y="300755"/>
                  </a:lnTo>
                  <a:lnTo>
                    <a:pt x="1491357" y="286936"/>
                  </a:lnTo>
                  <a:lnTo>
                    <a:pt x="1501721" y="269662"/>
                  </a:lnTo>
                  <a:lnTo>
                    <a:pt x="1491357" y="259297"/>
                  </a:lnTo>
                  <a:lnTo>
                    <a:pt x="1498266" y="248933"/>
                  </a:lnTo>
                  <a:lnTo>
                    <a:pt x="1515541" y="248933"/>
                  </a:lnTo>
                  <a:lnTo>
                    <a:pt x="1536269" y="269662"/>
                  </a:lnTo>
                  <a:lnTo>
                    <a:pt x="1550089" y="262752"/>
                  </a:lnTo>
                  <a:lnTo>
                    <a:pt x="1556998" y="248933"/>
                  </a:lnTo>
                  <a:lnTo>
                    <a:pt x="1581182" y="262752"/>
                  </a:lnTo>
                  <a:lnTo>
                    <a:pt x="1598456" y="252388"/>
                  </a:lnTo>
                  <a:lnTo>
                    <a:pt x="1619091" y="235114"/>
                  </a:lnTo>
                  <a:lnTo>
                    <a:pt x="1632911" y="217840"/>
                  </a:lnTo>
                  <a:lnTo>
                    <a:pt x="1622546" y="197111"/>
                  </a:lnTo>
                  <a:lnTo>
                    <a:pt x="1612275" y="183198"/>
                  </a:lnTo>
                  <a:lnTo>
                    <a:pt x="1608820" y="165924"/>
                  </a:lnTo>
                  <a:lnTo>
                    <a:pt x="1622546" y="162469"/>
                  </a:lnTo>
                  <a:lnTo>
                    <a:pt x="1632911" y="155560"/>
                  </a:lnTo>
                  <a:lnTo>
                    <a:pt x="1615637" y="131376"/>
                  </a:lnTo>
                  <a:lnTo>
                    <a:pt x="1591546" y="114102"/>
                  </a:lnTo>
                  <a:lnTo>
                    <a:pt x="1553543" y="100283"/>
                  </a:lnTo>
                  <a:lnTo>
                    <a:pt x="1522450" y="96828"/>
                  </a:lnTo>
                  <a:lnTo>
                    <a:pt x="1518995" y="107192"/>
                  </a:lnTo>
                  <a:lnTo>
                    <a:pt x="1529360" y="127921"/>
                  </a:lnTo>
                  <a:lnTo>
                    <a:pt x="1532815" y="141741"/>
                  </a:lnTo>
                  <a:lnTo>
                    <a:pt x="1512086" y="155560"/>
                  </a:lnTo>
                  <a:lnTo>
                    <a:pt x="1508631" y="183198"/>
                  </a:lnTo>
                  <a:lnTo>
                    <a:pt x="1494812" y="207475"/>
                  </a:lnTo>
                  <a:lnTo>
                    <a:pt x="1480992" y="217840"/>
                  </a:lnTo>
                  <a:lnTo>
                    <a:pt x="1456902" y="207475"/>
                  </a:lnTo>
                  <a:lnTo>
                    <a:pt x="1439628" y="193656"/>
                  </a:lnTo>
                  <a:lnTo>
                    <a:pt x="1443083" y="172834"/>
                  </a:lnTo>
                  <a:lnTo>
                    <a:pt x="1453447" y="155560"/>
                  </a:lnTo>
                  <a:lnTo>
                    <a:pt x="1436173" y="134831"/>
                  </a:lnTo>
                  <a:lnTo>
                    <a:pt x="1415444" y="127921"/>
                  </a:lnTo>
                  <a:lnTo>
                    <a:pt x="1405080" y="141741"/>
                  </a:lnTo>
                  <a:lnTo>
                    <a:pt x="1415444" y="159015"/>
                  </a:lnTo>
                  <a:lnTo>
                    <a:pt x="1401625" y="169379"/>
                  </a:lnTo>
                  <a:lnTo>
                    <a:pt x="1384351" y="162469"/>
                  </a:lnTo>
                  <a:lnTo>
                    <a:pt x="1373987" y="138286"/>
                  </a:lnTo>
                  <a:lnTo>
                    <a:pt x="1370532" y="110647"/>
                  </a:lnTo>
                  <a:lnTo>
                    <a:pt x="1356713" y="107192"/>
                  </a:lnTo>
                  <a:lnTo>
                    <a:pt x="1336077" y="110647"/>
                  </a:lnTo>
                  <a:lnTo>
                    <a:pt x="1329168" y="93373"/>
                  </a:lnTo>
                  <a:lnTo>
                    <a:pt x="1339532" y="83009"/>
                  </a:lnTo>
                  <a:lnTo>
                    <a:pt x="1336077" y="69190"/>
                  </a:lnTo>
                  <a:lnTo>
                    <a:pt x="1318803" y="45006"/>
                  </a:lnTo>
                  <a:lnTo>
                    <a:pt x="1315348" y="34641"/>
                  </a:lnTo>
                  <a:lnTo>
                    <a:pt x="1294620" y="6910"/>
                  </a:lnTo>
                  <a:lnTo>
                    <a:pt x="1263526" y="0"/>
                  </a:lnTo>
                  <a:lnTo>
                    <a:pt x="1246252" y="6910"/>
                  </a:lnTo>
                  <a:lnTo>
                    <a:pt x="1239343" y="20729"/>
                  </a:lnTo>
                  <a:lnTo>
                    <a:pt x="1222069" y="20729"/>
                  </a:lnTo>
                  <a:lnTo>
                    <a:pt x="1215159" y="45006"/>
                  </a:lnTo>
                  <a:lnTo>
                    <a:pt x="1228978" y="55370"/>
                  </a:lnTo>
                  <a:lnTo>
                    <a:pt x="1215159" y="76099"/>
                  </a:lnTo>
                  <a:lnTo>
                    <a:pt x="1222069" y="89918"/>
                  </a:lnTo>
                  <a:lnTo>
                    <a:pt x="1246252" y="103738"/>
                  </a:lnTo>
                  <a:lnTo>
                    <a:pt x="1277345" y="110647"/>
                  </a:lnTo>
                  <a:lnTo>
                    <a:pt x="1294620" y="134831"/>
                  </a:lnTo>
                  <a:lnTo>
                    <a:pt x="1298074" y="155560"/>
                  </a:lnTo>
                  <a:lnTo>
                    <a:pt x="1280800" y="176289"/>
                  </a:lnTo>
                  <a:lnTo>
                    <a:pt x="1246252" y="186746"/>
                  </a:lnTo>
                  <a:lnTo>
                    <a:pt x="1249707" y="207475"/>
                  </a:lnTo>
                  <a:lnTo>
                    <a:pt x="1249707" y="231659"/>
                  </a:lnTo>
                  <a:lnTo>
                    <a:pt x="1235888" y="231659"/>
                  </a:lnTo>
                  <a:lnTo>
                    <a:pt x="1225523" y="217840"/>
                  </a:lnTo>
                  <a:lnTo>
                    <a:pt x="1215159" y="200566"/>
                  </a:lnTo>
                  <a:lnTo>
                    <a:pt x="1222069" y="193656"/>
                  </a:lnTo>
                  <a:lnTo>
                    <a:pt x="1201433" y="172834"/>
                  </a:lnTo>
                  <a:lnTo>
                    <a:pt x="1180704" y="165924"/>
                  </a:lnTo>
                  <a:lnTo>
                    <a:pt x="1170340" y="169379"/>
                  </a:lnTo>
                  <a:lnTo>
                    <a:pt x="1166885" y="183198"/>
                  </a:lnTo>
                  <a:lnTo>
                    <a:pt x="1187614" y="186746"/>
                  </a:lnTo>
                  <a:lnTo>
                    <a:pt x="1197978" y="193656"/>
                  </a:lnTo>
                  <a:lnTo>
                    <a:pt x="1187614" y="204020"/>
                  </a:lnTo>
                  <a:lnTo>
                    <a:pt x="1153066" y="200566"/>
                  </a:lnTo>
                  <a:lnTo>
                    <a:pt x="1115063" y="200566"/>
                  </a:lnTo>
                  <a:lnTo>
                    <a:pt x="1073699" y="200566"/>
                  </a:lnTo>
                  <a:lnTo>
                    <a:pt x="1035696" y="193656"/>
                  </a:lnTo>
                  <a:lnTo>
                    <a:pt x="997693" y="179743"/>
                  </a:lnTo>
                  <a:lnTo>
                    <a:pt x="966599" y="162469"/>
                  </a:lnTo>
                  <a:lnTo>
                    <a:pt x="925235" y="179743"/>
                  </a:lnTo>
                  <a:lnTo>
                    <a:pt x="907961" y="190201"/>
                  </a:lnTo>
                  <a:lnTo>
                    <a:pt x="914871" y="207475"/>
                  </a:lnTo>
                  <a:lnTo>
                    <a:pt x="921780" y="238568"/>
                  </a:lnTo>
                  <a:lnTo>
                    <a:pt x="911416" y="245478"/>
                  </a:lnTo>
                  <a:lnTo>
                    <a:pt x="897597" y="224749"/>
                  </a:lnTo>
                  <a:lnTo>
                    <a:pt x="869958" y="207475"/>
                  </a:lnTo>
                  <a:lnTo>
                    <a:pt x="838865" y="190201"/>
                  </a:lnTo>
                  <a:lnTo>
                    <a:pt x="825046" y="197111"/>
                  </a:lnTo>
                  <a:lnTo>
                    <a:pt x="787136" y="200566"/>
                  </a:lnTo>
                  <a:lnTo>
                    <a:pt x="735314" y="204020"/>
                  </a:lnTo>
                  <a:lnTo>
                    <a:pt x="707676" y="190201"/>
                  </a:lnTo>
                  <a:lnTo>
                    <a:pt x="711130" y="176289"/>
                  </a:lnTo>
                  <a:lnTo>
                    <a:pt x="731859" y="172834"/>
                  </a:lnTo>
                  <a:lnTo>
                    <a:pt x="728404" y="159015"/>
                  </a:lnTo>
                  <a:lnTo>
                    <a:pt x="697311" y="145195"/>
                  </a:lnTo>
                  <a:lnTo>
                    <a:pt x="659402" y="141741"/>
                  </a:lnTo>
                  <a:lnTo>
                    <a:pt x="607579" y="124466"/>
                  </a:lnTo>
                  <a:lnTo>
                    <a:pt x="566122" y="114102"/>
                  </a:lnTo>
                  <a:lnTo>
                    <a:pt x="521303" y="96828"/>
                  </a:lnTo>
                  <a:lnTo>
                    <a:pt x="486754" y="107192"/>
                  </a:lnTo>
                  <a:lnTo>
                    <a:pt x="466026" y="121012"/>
                  </a:lnTo>
                  <a:lnTo>
                    <a:pt x="452206" y="89918"/>
                  </a:lnTo>
                  <a:lnTo>
                    <a:pt x="441842" y="86464"/>
                  </a:lnTo>
                  <a:lnTo>
                    <a:pt x="421113" y="114102"/>
                  </a:lnTo>
                  <a:lnTo>
                    <a:pt x="397023" y="110647"/>
                  </a:lnTo>
                  <a:lnTo>
                    <a:pt x="376294" y="79554"/>
                  </a:lnTo>
                  <a:lnTo>
                    <a:pt x="359020" y="65735"/>
                  </a:lnTo>
                  <a:lnTo>
                    <a:pt x="331381" y="100283"/>
                  </a:lnTo>
                  <a:lnTo>
                    <a:pt x="310653" y="96828"/>
                  </a:lnTo>
                  <a:lnTo>
                    <a:pt x="307198" y="83009"/>
                  </a:lnTo>
                  <a:lnTo>
                    <a:pt x="279559" y="83009"/>
                  </a:lnTo>
                  <a:lnTo>
                    <a:pt x="238195" y="103738"/>
                  </a:lnTo>
                  <a:lnTo>
                    <a:pt x="200192" y="124466"/>
                  </a:lnTo>
                  <a:lnTo>
                    <a:pt x="189828" y="117557"/>
                  </a:lnTo>
                  <a:lnTo>
                    <a:pt x="172554" y="107192"/>
                  </a:lnTo>
                  <a:lnTo>
                    <a:pt x="141460" y="124466"/>
                  </a:lnTo>
                  <a:lnTo>
                    <a:pt x="144915" y="148650"/>
                  </a:lnTo>
                  <a:lnTo>
                    <a:pt x="82822" y="131376"/>
                  </a:lnTo>
                  <a:lnTo>
                    <a:pt x="31000" y="110647"/>
                  </a:lnTo>
                  <a:lnTo>
                    <a:pt x="0" y="107192"/>
                  </a:lnTo>
                  <a:lnTo>
                    <a:pt x="0" y="522050"/>
                  </a:lnTo>
                  <a:lnTo>
                    <a:pt x="17181" y="528959"/>
                  </a:lnTo>
                  <a:lnTo>
                    <a:pt x="31000" y="522050"/>
                  </a:lnTo>
                  <a:lnTo>
                    <a:pt x="44819" y="518595"/>
                  </a:lnTo>
                  <a:lnTo>
                    <a:pt x="58638" y="535869"/>
                  </a:lnTo>
                  <a:lnTo>
                    <a:pt x="86277" y="556598"/>
                  </a:lnTo>
                  <a:lnTo>
                    <a:pt x="100096" y="570417"/>
                  </a:lnTo>
                  <a:lnTo>
                    <a:pt x="117370" y="566962"/>
                  </a:lnTo>
                  <a:lnTo>
                    <a:pt x="120825" y="556598"/>
                  </a:lnTo>
                  <a:lnTo>
                    <a:pt x="134644" y="549688"/>
                  </a:lnTo>
                  <a:lnTo>
                    <a:pt x="151825" y="542778"/>
                  </a:lnTo>
                  <a:lnTo>
                    <a:pt x="172554" y="563507"/>
                  </a:lnTo>
                  <a:lnTo>
                    <a:pt x="189828" y="580781"/>
                  </a:lnTo>
                  <a:lnTo>
                    <a:pt x="217466" y="608420"/>
                  </a:lnTo>
                  <a:lnTo>
                    <a:pt x="234740" y="642968"/>
                  </a:lnTo>
                  <a:lnTo>
                    <a:pt x="252014" y="663790"/>
                  </a:lnTo>
                  <a:lnTo>
                    <a:pt x="258924" y="667245"/>
                  </a:lnTo>
                  <a:lnTo>
                    <a:pt x="272743" y="677609"/>
                  </a:lnTo>
                  <a:lnTo>
                    <a:pt x="296833" y="691429"/>
                  </a:lnTo>
                  <a:lnTo>
                    <a:pt x="300288" y="705248"/>
                  </a:lnTo>
                  <a:lnTo>
                    <a:pt x="307198" y="708703"/>
                  </a:lnTo>
                  <a:lnTo>
                    <a:pt x="310653" y="725977"/>
                  </a:lnTo>
                  <a:lnTo>
                    <a:pt x="300288" y="746705"/>
                  </a:lnTo>
                  <a:lnTo>
                    <a:pt x="300288" y="757070"/>
                  </a:lnTo>
                  <a:lnTo>
                    <a:pt x="296833" y="770889"/>
                  </a:lnTo>
                  <a:lnTo>
                    <a:pt x="296833" y="791618"/>
                  </a:lnTo>
                  <a:lnTo>
                    <a:pt x="310653" y="791618"/>
                  </a:lnTo>
                  <a:lnTo>
                    <a:pt x="324472" y="781254"/>
                  </a:lnTo>
                  <a:lnTo>
                    <a:pt x="334836" y="774344"/>
                  </a:lnTo>
                  <a:lnTo>
                    <a:pt x="338291" y="788163"/>
                  </a:lnTo>
                  <a:lnTo>
                    <a:pt x="327927" y="805437"/>
                  </a:lnTo>
                  <a:lnTo>
                    <a:pt x="324472" y="819256"/>
                  </a:lnTo>
                  <a:lnTo>
                    <a:pt x="338291" y="812347"/>
                  </a:lnTo>
                  <a:lnTo>
                    <a:pt x="348656" y="815802"/>
                  </a:lnTo>
                  <a:lnTo>
                    <a:pt x="355565" y="826166"/>
                  </a:lnTo>
                  <a:lnTo>
                    <a:pt x="359020" y="840079"/>
                  </a:lnTo>
                  <a:lnTo>
                    <a:pt x="359020" y="853898"/>
                  </a:lnTo>
                  <a:lnTo>
                    <a:pt x="372839" y="853898"/>
                  </a:lnTo>
                  <a:lnTo>
                    <a:pt x="376294" y="864262"/>
                  </a:lnTo>
                  <a:lnTo>
                    <a:pt x="369384" y="881536"/>
                  </a:lnTo>
                  <a:lnTo>
                    <a:pt x="400478" y="884991"/>
                  </a:lnTo>
                  <a:lnTo>
                    <a:pt x="421113" y="898810"/>
                  </a:lnTo>
                  <a:lnTo>
                    <a:pt x="431478" y="891901"/>
                  </a:lnTo>
                  <a:lnTo>
                    <a:pt x="441842" y="909175"/>
                  </a:lnTo>
                  <a:lnTo>
                    <a:pt x="459116" y="926449"/>
                  </a:lnTo>
                  <a:lnTo>
                    <a:pt x="469480" y="919539"/>
                  </a:lnTo>
                  <a:lnTo>
                    <a:pt x="486754" y="936813"/>
                  </a:lnTo>
                  <a:lnTo>
                    <a:pt x="500574" y="954087"/>
                  </a:lnTo>
                  <a:lnTo>
                    <a:pt x="1242797" y="954087"/>
                  </a:lnTo>
                  <a:lnTo>
                    <a:pt x="1246252" y="940268"/>
                  </a:lnTo>
                  <a:close/>
                </a:path>
              </a:pathLst>
            </a:custGeom>
            <a:solidFill>
              <a:srgbClr val="CEE3BF"/>
            </a:solidFill>
            <a:ln w="9334" cap="flat">
              <a:noFill/>
              <a:prstDash val="solid"/>
              <a:miter/>
            </a:ln>
          </p:spPr>
          <p:txBody>
            <a:bodyPr rtlCol="0" anchor="ctr"/>
            <a:lstStyle/>
            <a:p>
              <a:endParaRPr lang="en-GB" dirty="0"/>
            </a:p>
          </p:txBody>
        </p:sp>
        <p:sp>
          <p:nvSpPr>
            <p:cNvPr id="1303" name="Freeform: Shape 1302">
              <a:extLst>
                <a:ext uri="{FF2B5EF4-FFF2-40B4-BE49-F238E27FC236}">
                  <a16:creationId xmlns:a16="http://schemas.microsoft.com/office/drawing/2014/main" id="{C4AABE42-3248-4A5C-80C8-E74335B01DB9}"/>
                </a:ext>
              </a:extLst>
            </p:cNvPr>
            <p:cNvSpPr/>
            <p:nvPr/>
          </p:nvSpPr>
          <p:spPr>
            <a:xfrm>
              <a:off x="2425709" y="3050164"/>
              <a:ext cx="1574272" cy="774343"/>
            </a:xfrm>
            <a:custGeom>
              <a:avLst/>
              <a:gdLst>
                <a:gd name="connsiteX0" fmla="*/ 1373146 w 1574272"/>
                <a:gd name="connsiteY0" fmla="*/ 301782 h 774343"/>
                <a:gd name="connsiteX1" fmla="*/ 1387899 w 1574272"/>
                <a:gd name="connsiteY1" fmla="*/ 286936 h 774343"/>
                <a:gd name="connsiteX2" fmla="*/ 1418993 w 1574272"/>
                <a:gd name="connsiteY2" fmla="*/ 280026 h 774343"/>
                <a:gd name="connsiteX3" fmla="*/ 1446538 w 1574272"/>
                <a:gd name="connsiteY3" fmla="*/ 273117 h 774343"/>
                <a:gd name="connsiteX4" fmla="*/ 1463812 w 1574272"/>
                <a:gd name="connsiteY4" fmla="*/ 266207 h 774343"/>
                <a:gd name="connsiteX5" fmla="*/ 1474176 w 1574272"/>
                <a:gd name="connsiteY5" fmla="*/ 266207 h 774343"/>
                <a:gd name="connsiteX6" fmla="*/ 1487996 w 1574272"/>
                <a:gd name="connsiteY6" fmla="*/ 255843 h 774343"/>
                <a:gd name="connsiteX7" fmla="*/ 1474176 w 1574272"/>
                <a:gd name="connsiteY7" fmla="*/ 252388 h 774343"/>
                <a:gd name="connsiteX8" fmla="*/ 1467267 w 1574272"/>
                <a:gd name="connsiteY8" fmla="*/ 245478 h 774343"/>
                <a:gd name="connsiteX9" fmla="*/ 1467267 w 1574272"/>
                <a:gd name="connsiteY9" fmla="*/ 231659 h 774343"/>
                <a:gd name="connsiteX10" fmla="*/ 1481086 w 1574272"/>
                <a:gd name="connsiteY10" fmla="*/ 214385 h 774343"/>
                <a:gd name="connsiteX11" fmla="*/ 1491450 w 1574272"/>
                <a:gd name="connsiteY11" fmla="*/ 190108 h 774343"/>
                <a:gd name="connsiteX12" fmla="*/ 1508724 w 1574272"/>
                <a:gd name="connsiteY12" fmla="*/ 179743 h 774343"/>
                <a:gd name="connsiteX13" fmla="*/ 1525998 w 1574272"/>
                <a:gd name="connsiteY13" fmla="*/ 169379 h 774343"/>
                <a:gd name="connsiteX14" fmla="*/ 1546727 w 1574272"/>
                <a:gd name="connsiteY14" fmla="*/ 165924 h 774343"/>
                <a:gd name="connsiteX15" fmla="*/ 1567456 w 1574272"/>
                <a:gd name="connsiteY15" fmla="*/ 165924 h 774343"/>
                <a:gd name="connsiteX16" fmla="*/ 1574272 w 1574272"/>
                <a:gd name="connsiteY16" fmla="*/ 155560 h 774343"/>
                <a:gd name="connsiteX17" fmla="*/ 1567456 w 1574272"/>
                <a:gd name="connsiteY17" fmla="*/ 141740 h 774343"/>
                <a:gd name="connsiteX18" fmla="*/ 1557092 w 1574272"/>
                <a:gd name="connsiteY18" fmla="*/ 131376 h 774343"/>
                <a:gd name="connsiteX19" fmla="*/ 1553637 w 1574272"/>
                <a:gd name="connsiteY19" fmla="*/ 117557 h 774343"/>
                <a:gd name="connsiteX20" fmla="*/ 1557092 w 1574272"/>
                <a:gd name="connsiteY20" fmla="*/ 89918 h 774343"/>
                <a:gd name="connsiteX21" fmla="*/ 1553637 w 1574272"/>
                <a:gd name="connsiteY21" fmla="*/ 76099 h 774343"/>
                <a:gd name="connsiteX22" fmla="*/ 1529453 w 1574272"/>
                <a:gd name="connsiteY22" fmla="*/ 69189 h 774343"/>
                <a:gd name="connsiteX23" fmla="*/ 1515634 w 1574272"/>
                <a:gd name="connsiteY23" fmla="*/ 62280 h 774343"/>
                <a:gd name="connsiteX24" fmla="*/ 1501815 w 1574272"/>
                <a:gd name="connsiteY24" fmla="*/ 76099 h 774343"/>
                <a:gd name="connsiteX25" fmla="*/ 1487996 w 1574272"/>
                <a:gd name="connsiteY25" fmla="*/ 100283 h 774343"/>
                <a:gd name="connsiteX26" fmla="*/ 1481086 w 1574272"/>
                <a:gd name="connsiteY26" fmla="*/ 127921 h 774343"/>
                <a:gd name="connsiteX27" fmla="*/ 1470721 w 1574272"/>
                <a:gd name="connsiteY27" fmla="*/ 141740 h 774343"/>
                <a:gd name="connsiteX28" fmla="*/ 1449993 w 1574272"/>
                <a:gd name="connsiteY28" fmla="*/ 152105 h 774343"/>
                <a:gd name="connsiteX29" fmla="*/ 1349896 w 1574272"/>
                <a:gd name="connsiteY29" fmla="*/ 152105 h 774343"/>
                <a:gd name="connsiteX30" fmla="*/ 1322258 w 1574272"/>
                <a:gd name="connsiteY30" fmla="*/ 172834 h 774343"/>
                <a:gd name="connsiteX31" fmla="*/ 1322258 w 1574272"/>
                <a:gd name="connsiteY31" fmla="*/ 193563 h 774343"/>
                <a:gd name="connsiteX32" fmla="*/ 1304984 w 1574272"/>
                <a:gd name="connsiteY32" fmla="*/ 207382 h 774343"/>
                <a:gd name="connsiteX33" fmla="*/ 1284349 w 1574272"/>
                <a:gd name="connsiteY33" fmla="*/ 210930 h 774343"/>
                <a:gd name="connsiteX34" fmla="*/ 1246346 w 1574272"/>
                <a:gd name="connsiteY34" fmla="*/ 207382 h 774343"/>
                <a:gd name="connsiteX35" fmla="*/ 1242891 w 1574272"/>
                <a:gd name="connsiteY35" fmla="*/ 214385 h 774343"/>
                <a:gd name="connsiteX36" fmla="*/ 1246346 w 1574272"/>
                <a:gd name="connsiteY36" fmla="*/ 221294 h 774343"/>
                <a:gd name="connsiteX37" fmla="*/ 1245225 w 1574272"/>
                <a:gd name="connsiteY37" fmla="*/ 221388 h 774343"/>
                <a:gd name="connsiteX38" fmla="*/ 1246346 w 1574272"/>
                <a:gd name="connsiteY38" fmla="*/ 224749 h 774343"/>
                <a:gd name="connsiteX39" fmla="*/ 1242891 w 1574272"/>
                <a:gd name="connsiteY39" fmla="*/ 235114 h 774343"/>
                <a:gd name="connsiteX40" fmla="*/ 1232526 w 1574272"/>
                <a:gd name="connsiteY40" fmla="*/ 238568 h 774343"/>
                <a:gd name="connsiteX41" fmla="*/ 1211798 w 1574272"/>
                <a:gd name="connsiteY41" fmla="*/ 248933 h 774343"/>
                <a:gd name="connsiteX42" fmla="*/ 1191069 w 1574272"/>
                <a:gd name="connsiteY42" fmla="*/ 255843 h 774343"/>
                <a:gd name="connsiteX43" fmla="*/ 1170340 w 1574272"/>
                <a:gd name="connsiteY43" fmla="*/ 266207 h 774343"/>
                <a:gd name="connsiteX44" fmla="*/ 1139340 w 1574272"/>
                <a:gd name="connsiteY44" fmla="*/ 266207 h 774343"/>
                <a:gd name="connsiteX45" fmla="*/ 1125521 w 1574272"/>
                <a:gd name="connsiteY45" fmla="*/ 255843 h 774343"/>
                <a:gd name="connsiteX46" fmla="*/ 1132430 w 1574272"/>
                <a:gd name="connsiteY46" fmla="*/ 242023 h 774343"/>
                <a:gd name="connsiteX47" fmla="*/ 1139340 w 1574272"/>
                <a:gd name="connsiteY47" fmla="*/ 235114 h 774343"/>
                <a:gd name="connsiteX48" fmla="*/ 1139340 w 1574272"/>
                <a:gd name="connsiteY48" fmla="*/ 235114 h 774343"/>
                <a:gd name="connsiteX49" fmla="*/ 1142795 w 1574272"/>
                <a:gd name="connsiteY49" fmla="*/ 231659 h 774343"/>
                <a:gd name="connsiteX50" fmla="*/ 1142795 w 1574272"/>
                <a:gd name="connsiteY50" fmla="*/ 217840 h 774343"/>
                <a:gd name="connsiteX51" fmla="*/ 1146250 w 1574272"/>
                <a:gd name="connsiteY51" fmla="*/ 207382 h 774343"/>
                <a:gd name="connsiteX52" fmla="*/ 1146250 w 1574272"/>
                <a:gd name="connsiteY52" fmla="*/ 190108 h 774343"/>
                <a:gd name="connsiteX53" fmla="*/ 1135885 w 1574272"/>
                <a:gd name="connsiteY53" fmla="*/ 186653 h 774343"/>
                <a:gd name="connsiteX54" fmla="*/ 1125521 w 1574272"/>
                <a:gd name="connsiteY54" fmla="*/ 193563 h 774343"/>
                <a:gd name="connsiteX55" fmla="*/ 1115156 w 1574272"/>
                <a:gd name="connsiteY55" fmla="*/ 200472 h 774343"/>
                <a:gd name="connsiteX56" fmla="*/ 1111701 w 1574272"/>
                <a:gd name="connsiteY56" fmla="*/ 193563 h 774343"/>
                <a:gd name="connsiteX57" fmla="*/ 1118611 w 1574272"/>
                <a:gd name="connsiteY57" fmla="*/ 186653 h 774343"/>
                <a:gd name="connsiteX58" fmla="*/ 1125521 w 1574272"/>
                <a:gd name="connsiteY58" fmla="*/ 172834 h 774343"/>
                <a:gd name="connsiteX59" fmla="*/ 1128975 w 1574272"/>
                <a:gd name="connsiteY59" fmla="*/ 155560 h 774343"/>
                <a:gd name="connsiteX60" fmla="*/ 1122066 w 1574272"/>
                <a:gd name="connsiteY60" fmla="*/ 141740 h 774343"/>
                <a:gd name="connsiteX61" fmla="*/ 1104792 w 1574272"/>
                <a:gd name="connsiteY61" fmla="*/ 138286 h 774343"/>
                <a:gd name="connsiteX62" fmla="*/ 1090973 w 1574272"/>
                <a:gd name="connsiteY62" fmla="*/ 131376 h 774343"/>
                <a:gd name="connsiteX63" fmla="*/ 1077153 w 1574272"/>
                <a:gd name="connsiteY63" fmla="*/ 134831 h 774343"/>
                <a:gd name="connsiteX64" fmla="*/ 1070244 w 1574272"/>
                <a:gd name="connsiteY64" fmla="*/ 145195 h 774343"/>
                <a:gd name="connsiteX65" fmla="*/ 1063334 w 1574272"/>
                <a:gd name="connsiteY65" fmla="*/ 152105 h 774343"/>
                <a:gd name="connsiteX66" fmla="*/ 1052970 w 1574272"/>
                <a:gd name="connsiteY66" fmla="*/ 152105 h 774343"/>
                <a:gd name="connsiteX67" fmla="*/ 1049515 w 1574272"/>
                <a:gd name="connsiteY67" fmla="*/ 159015 h 774343"/>
                <a:gd name="connsiteX68" fmla="*/ 1049515 w 1574272"/>
                <a:gd name="connsiteY68" fmla="*/ 172834 h 774343"/>
                <a:gd name="connsiteX69" fmla="*/ 1049515 w 1574272"/>
                <a:gd name="connsiteY69" fmla="*/ 193563 h 774343"/>
                <a:gd name="connsiteX70" fmla="*/ 1049515 w 1574272"/>
                <a:gd name="connsiteY70" fmla="*/ 210930 h 774343"/>
                <a:gd name="connsiteX71" fmla="*/ 1049515 w 1574272"/>
                <a:gd name="connsiteY71" fmla="*/ 231659 h 774343"/>
                <a:gd name="connsiteX72" fmla="*/ 1042605 w 1574272"/>
                <a:gd name="connsiteY72" fmla="*/ 248933 h 774343"/>
                <a:gd name="connsiteX73" fmla="*/ 1025425 w 1574272"/>
                <a:gd name="connsiteY73" fmla="*/ 262752 h 774343"/>
                <a:gd name="connsiteX74" fmla="*/ 1008150 w 1574272"/>
                <a:gd name="connsiteY74" fmla="*/ 266207 h 774343"/>
                <a:gd name="connsiteX75" fmla="*/ 1001241 w 1574272"/>
                <a:gd name="connsiteY75" fmla="*/ 242023 h 774343"/>
                <a:gd name="connsiteX76" fmla="*/ 1001241 w 1574272"/>
                <a:gd name="connsiteY76" fmla="*/ 221294 h 774343"/>
                <a:gd name="connsiteX77" fmla="*/ 1008150 w 1574272"/>
                <a:gd name="connsiteY77" fmla="*/ 179743 h 774343"/>
                <a:gd name="connsiteX78" fmla="*/ 1021970 w 1574272"/>
                <a:gd name="connsiteY78" fmla="*/ 148650 h 774343"/>
                <a:gd name="connsiteX79" fmla="*/ 1015060 w 1574272"/>
                <a:gd name="connsiteY79" fmla="*/ 162469 h 774343"/>
                <a:gd name="connsiteX80" fmla="*/ 1001241 w 1574272"/>
                <a:gd name="connsiteY80" fmla="*/ 165924 h 774343"/>
                <a:gd name="connsiteX81" fmla="*/ 997786 w 1574272"/>
                <a:gd name="connsiteY81" fmla="*/ 152105 h 774343"/>
                <a:gd name="connsiteX82" fmla="*/ 1015060 w 1574272"/>
                <a:gd name="connsiteY82" fmla="*/ 138286 h 774343"/>
                <a:gd name="connsiteX83" fmla="*/ 1028879 w 1574272"/>
                <a:gd name="connsiteY83" fmla="*/ 124466 h 774343"/>
                <a:gd name="connsiteX84" fmla="*/ 1035696 w 1574272"/>
                <a:gd name="connsiteY84" fmla="*/ 117557 h 774343"/>
                <a:gd name="connsiteX85" fmla="*/ 1042605 w 1574272"/>
                <a:gd name="connsiteY85" fmla="*/ 124466 h 774343"/>
                <a:gd name="connsiteX86" fmla="*/ 1052970 w 1574272"/>
                <a:gd name="connsiteY86" fmla="*/ 121012 h 774343"/>
                <a:gd name="connsiteX87" fmla="*/ 1066789 w 1574272"/>
                <a:gd name="connsiteY87" fmla="*/ 110647 h 774343"/>
                <a:gd name="connsiteX88" fmla="*/ 1084063 w 1574272"/>
                <a:gd name="connsiteY88" fmla="*/ 110647 h 774343"/>
                <a:gd name="connsiteX89" fmla="*/ 1097882 w 1574272"/>
                <a:gd name="connsiteY89" fmla="*/ 117557 h 774343"/>
                <a:gd name="connsiteX90" fmla="*/ 1097882 w 1574272"/>
                <a:gd name="connsiteY90" fmla="*/ 110647 h 774343"/>
                <a:gd name="connsiteX91" fmla="*/ 1084063 w 1574272"/>
                <a:gd name="connsiteY91" fmla="*/ 100283 h 774343"/>
                <a:gd name="connsiteX92" fmla="*/ 1073699 w 1574272"/>
                <a:gd name="connsiteY92" fmla="*/ 93373 h 774343"/>
                <a:gd name="connsiteX93" fmla="*/ 1056425 w 1574272"/>
                <a:gd name="connsiteY93" fmla="*/ 96828 h 774343"/>
                <a:gd name="connsiteX94" fmla="*/ 1042605 w 1574272"/>
                <a:gd name="connsiteY94" fmla="*/ 96828 h 774343"/>
                <a:gd name="connsiteX95" fmla="*/ 1025425 w 1574272"/>
                <a:gd name="connsiteY95" fmla="*/ 100283 h 774343"/>
                <a:gd name="connsiteX96" fmla="*/ 1008150 w 1574272"/>
                <a:gd name="connsiteY96" fmla="*/ 93373 h 774343"/>
                <a:gd name="connsiteX97" fmla="*/ 990876 w 1574272"/>
                <a:gd name="connsiteY97" fmla="*/ 83009 h 774343"/>
                <a:gd name="connsiteX98" fmla="*/ 983967 w 1574272"/>
                <a:gd name="connsiteY98" fmla="*/ 72644 h 774343"/>
                <a:gd name="connsiteX99" fmla="*/ 970148 w 1574272"/>
                <a:gd name="connsiteY99" fmla="*/ 83009 h 774343"/>
                <a:gd name="connsiteX100" fmla="*/ 963238 w 1574272"/>
                <a:gd name="connsiteY100" fmla="*/ 89918 h 774343"/>
                <a:gd name="connsiteX101" fmla="*/ 952874 w 1574272"/>
                <a:gd name="connsiteY101" fmla="*/ 96828 h 774343"/>
                <a:gd name="connsiteX102" fmla="*/ 932145 w 1574272"/>
                <a:gd name="connsiteY102" fmla="*/ 96828 h 774343"/>
                <a:gd name="connsiteX103" fmla="*/ 907961 w 1574272"/>
                <a:gd name="connsiteY103" fmla="*/ 96828 h 774343"/>
                <a:gd name="connsiteX104" fmla="*/ 890780 w 1574272"/>
                <a:gd name="connsiteY104" fmla="*/ 89918 h 774343"/>
                <a:gd name="connsiteX105" fmla="*/ 897597 w 1574272"/>
                <a:gd name="connsiteY105" fmla="*/ 83009 h 774343"/>
                <a:gd name="connsiteX106" fmla="*/ 911416 w 1574272"/>
                <a:gd name="connsiteY106" fmla="*/ 69189 h 774343"/>
                <a:gd name="connsiteX107" fmla="*/ 925235 w 1574272"/>
                <a:gd name="connsiteY107" fmla="*/ 62280 h 774343"/>
                <a:gd name="connsiteX108" fmla="*/ 945964 w 1574272"/>
                <a:gd name="connsiteY108" fmla="*/ 55370 h 774343"/>
                <a:gd name="connsiteX109" fmla="*/ 949419 w 1574272"/>
                <a:gd name="connsiteY109" fmla="*/ 48461 h 774343"/>
                <a:gd name="connsiteX110" fmla="*/ 928690 w 1574272"/>
                <a:gd name="connsiteY110" fmla="*/ 45006 h 774343"/>
                <a:gd name="connsiteX111" fmla="*/ 921780 w 1574272"/>
                <a:gd name="connsiteY111" fmla="*/ 45006 h 774343"/>
                <a:gd name="connsiteX112" fmla="*/ 907961 w 1574272"/>
                <a:gd name="connsiteY112" fmla="*/ 41551 h 774343"/>
                <a:gd name="connsiteX113" fmla="*/ 901052 w 1574272"/>
                <a:gd name="connsiteY113" fmla="*/ 41551 h 774343"/>
                <a:gd name="connsiteX114" fmla="*/ 883871 w 1574272"/>
                <a:gd name="connsiteY114" fmla="*/ 34548 h 774343"/>
                <a:gd name="connsiteX115" fmla="*/ 842413 w 1574272"/>
                <a:gd name="connsiteY115" fmla="*/ 27638 h 774343"/>
                <a:gd name="connsiteX116" fmla="*/ 821684 w 1574272"/>
                <a:gd name="connsiteY116" fmla="*/ 20729 h 774343"/>
                <a:gd name="connsiteX117" fmla="*/ 814775 w 1574272"/>
                <a:gd name="connsiteY117" fmla="*/ 13819 h 774343"/>
                <a:gd name="connsiteX118" fmla="*/ 811320 w 1574272"/>
                <a:gd name="connsiteY118" fmla="*/ 0 h 774343"/>
                <a:gd name="connsiteX119" fmla="*/ 797501 w 1574272"/>
                <a:gd name="connsiteY119" fmla="*/ 0 h 774343"/>
                <a:gd name="connsiteX120" fmla="*/ 794046 w 1574272"/>
                <a:gd name="connsiteY120" fmla="*/ 13819 h 774343"/>
                <a:gd name="connsiteX121" fmla="*/ 51822 w 1574272"/>
                <a:gd name="connsiteY121" fmla="*/ 13819 h 774343"/>
                <a:gd name="connsiteX122" fmla="*/ 51822 w 1574272"/>
                <a:gd name="connsiteY122" fmla="*/ 34548 h 774343"/>
                <a:gd name="connsiteX123" fmla="*/ 62187 w 1574272"/>
                <a:gd name="connsiteY123" fmla="*/ 48461 h 774343"/>
                <a:gd name="connsiteX124" fmla="*/ 58732 w 1574272"/>
                <a:gd name="connsiteY124" fmla="*/ 65735 h 774343"/>
                <a:gd name="connsiteX125" fmla="*/ 48367 w 1574272"/>
                <a:gd name="connsiteY125" fmla="*/ 76099 h 774343"/>
                <a:gd name="connsiteX126" fmla="*/ 44913 w 1574272"/>
                <a:gd name="connsiteY126" fmla="*/ 65735 h 774343"/>
                <a:gd name="connsiteX127" fmla="*/ 41458 w 1574272"/>
                <a:gd name="connsiteY127" fmla="*/ 51915 h 774343"/>
                <a:gd name="connsiteX128" fmla="*/ 31093 w 1574272"/>
                <a:gd name="connsiteY128" fmla="*/ 48461 h 774343"/>
                <a:gd name="connsiteX129" fmla="*/ 13819 w 1574272"/>
                <a:gd name="connsiteY129" fmla="*/ 41551 h 774343"/>
                <a:gd name="connsiteX130" fmla="*/ 0 w 1574272"/>
                <a:gd name="connsiteY130" fmla="*/ 48461 h 774343"/>
                <a:gd name="connsiteX131" fmla="*/ 6910 w 1574272"/>
                <a:gd name="connsiteY131" fmla="*/ 65735 h 774343"/>
                <a:gd name="connsiteX132" fmla="*/ 13819 w 1574272"/>
                <a:gd name="connsiteY132" fmla="*/ 72644 h 774343"/>
                <a:gd name="connsiteX133" fmla="*/ 10364 w 1574272"/>
                <a:gd name="connsiteY133" fmla="*/ 83009 h 774343"/>
                <a:gd name="connsiteX134" fmla="*/ 17274 w 1574272"/>
                <a:gd name="connsiteY134" fmla="*/ 93373 h 774343"/>
                <a:gd name="connsiteX135" fmla="*/ 27638 w 1574272"/>
                <a:gd name="connsiteY135" fmla="*/ 110647 h 774343"/>
                <a:gd name="connsiteX136" fmla="*/ 17274 w 1574272"/>
                <a:gd name="connsiteY136" fmla="*/ 110647 h 774343"/>
                <a:gd name="connsiteX137" fmla="*/ 10364 w 1574272"/>
                <a:gd name="connsiteY137" fmla="*/ 193563 h 774343"/>
                <a:gd name="connsiteX138" fmla="*/ 3455 w 1574272"/>
                <a:gd name="connsiteY138" fmla="*/ 210930 h 774343"/>
                <a:gd name="connsiteX139" fmla="*/ 10364 w 1574272"/>
                <a:gd name="connsiteY139" fmla="*/ 255843 h 774343"/>
                <a:gd name="connsiteX140" fmla="*/ 3455 w 1574272"/>
                <a:gd name="connsiteY140" fmla="*/ 293845 h 774343"/>
                <a:gd name="connsiteX141" fmla="*/ 3455 w 1574272"/>
                <a:gd name="connsiteY141" fmla="*/ 307665 h 774343"/>
                <a:gd name="connsiteX142" fmla="*/ 17274 w 1574272"/>
                <a:gd name="connsiteY142" fmla="*/ 321484 h 774343"/>
                <a:gd name="connsiteX143" fmla="*/ 17274 w 1574272"/>
                <a:gd name="connsiteY143" fmla="*/ 342213 h 774343"/>
                <a:gd name="connsiteX144" fmla="*/ 31093 w 1574272"/>
                <a:gd name="connsiteY144" fmla="*/ 362942 h 774343"/>
                <a:gd name="connsiteX145" fmla="*/ 44913 w 1574272"/>
                <a:gd name="connsiteY145" fmla="*/ 376854 h 774343"/>
                <a:gd name="connsiteX146" fmla="*/ 65641 w 1574272"/>
                <a:gd name="connsiteY146" fmla="*/ 376854 h 774343"/>
                <a:gd name="connsiteX147" fmla="*/ 55277 w 1574272"/>
                <a:gd name="connsiteY147" fmla="*/ 394128 h 774343"/>
                <a:gd name="connsiteX148" fmla="*/ 62187 w 1574272"/>
                <a:gd name="connsiteY148" fmla="*/ 411402 h 774343"/>
                <a:gd name="connsiteX149" fmla="*/ 72551 w 1574272"/>
                <a:gd name="connsiteY149" fmla="*/ 418312 h 774343"/>
                <a:gd name="connsiteX150" fmla="*/ 65641 w 1574272"/>
                <a:gd name="connsiteY150" fmla="*/ 428676 h 774343"/>
                <a:gd name="connsiteX151" fmla="*/ 82915 w 1574272"/>
                <a:gd name="connsiteY151" fmla="*/ 445950 h 774343"/>
                <a:gd name="connsiteX152" fmla="*/ 100096 w 1574272"/>
                <a:gd name="connsiteY152" fmla="*/ 470134 h 774343"/>
                <a:gd name="connsiteX153" fmla="*/ 103551 w 1574272"/>
                <a:gd name="connsiteY153" fmla="*/ 494318 h 774343"/>
                <a:gd name="connsiteX154" fmla="*/ 127735 w 1574272"/>
                <a:gd name="connsiteY154" fmla="*/ 487408 h 774343"/>
                <a:gd name="connsiteX155" fmla="*/ 145009 w 1574272"/>
                <a:gd name="connsiteY155" fmla="*/ 501227 h 774343"/>
                <a:gd name="connsiteX156" fmla="*/ 169192 w 1574272"/>
                <a:gd name="connsiteY156" fmla="*/ 508137 h 774343"/>
                <a:gd name="connsiteX157" fmla="*/ 179557 w 1574272"/>
                <a:gd name="connsiteY157" fmla="*/ 515046 h 774343"/>
                <a:gd name="connsiteX158" fmla="*/ 193376 w 1574272"/>
                <a:gd name="connsiteY158" fmla="*/ 528959 h 774343"/>
                <a:gd name="connsiteX159" fmla="*/ 200286 w 1574272"/>
                <a:gd name="connsiteY159" fmla="*/ 549688 h 774343"/>
                <a:gd name="connsiteX160" fmla="*/ 255469 w 1574272"/>
                <a:gd name="connsiteY160" fmla="*/ 546233 h 774343"/>
                <a:gd name="connsiteX161" fmla="*/ 286562 w 1574272"/>
                <a:gd name="connsiteY161" fmla="*/ 556598 h 774343"/>
                <a:gd name="connsiteX162" fmla="*/ 331475 w 1574272"/>
                <a:gd name="connsiteY162" fmla="*/ 577326 h 774343"/>
                <a:gd name="connsiteX163" fmla="*/ 359020 w 1574272"/>
                <a:gd name="connsiteY163" fmla="*/ 587691 h 774343"/>
                <a:gd name="connsiteX164" fmla="*/ 438481 w 1574272"/>
                <a:gd name="connsiteY164" fmla="*/ 587691 h 774343"/>
                <a:gd name="connsiteX165" fmla="*/ 452300 w 1574272"/>
                <a:gd name="connsiteY165" fmla="*/ 577326 h 774343"/>
                <a:gd name="connsiteX166" fmla="*/ 486848 w 1574272"/>
                <a:gd name="connsiteY166" fmla="*/ 570417 h 774343"/>
                <a:gd name="connsiteX167" fmla="*/ 521303 w 1574272"/>
                <a:gd name="connsiteY167" fmla="*/ 598055 h 774343"/>
                <a:gd name="connsiteX168" fmla="*/ 538577 w 1574272"/>
                <a:gd name="connsiteY168" fmla="*/ 611875 h 774343"/>
                <a:gd name="connsiteX169" fmla="*/ 542031 w 1574272"/>
                <a:gd name="connsiteY169" fmla="*/ 639513 h 774343"/>
                <a:gd name="connsiteX170" fmla="*/ 569670 w 1574272"/>
                <a:gd name="connsiteY170" fmla="*/ 656787 h 774343"/>
                <a:gd name="connsiteX171" fmla="*/ 590399 w 1574272"/>
                <a:gd name="connsiteY171" fmla="*/ 653332 h 774343"/>
                <a:gd name="connsiteX172" fmla="*/ 593854 w 1574272"/>
                <a:gd name="connsiteY172" fmla="*/ 636058 h 774343"/>
                <a:gd name="connsiteX173" fmla="*/ 607673 w 1574272"/>
                <a:gd name="connsiteY173" fmla="*/ 629149 h 774343"/>
                <a:gd name="connsiteX174" fmla="*/ 607673 w 1574272"/>
                <a:gd name="connsiteY174" fmla="*/ 629149 h 774343"/>
                <a:gd name="connsiteX175" fmla="*/ 607673 w 1574272"/>
                <a:gd name="connsiteY175" fmla="*/ 629149 h 774343"/>
                <a:gd name="connsiteX176" fmla="*/ 645582 w 1574272"/>
                <a:gd name="connsiteY176" fmla="*/ 646423 h 774343"/>
                <a:gd name="connsiteX177" fmla="*/ 655947 w 1574272"/>
                <a:gd name="connsiteY177" fmla="*/ 670606 h 774343"/>
                <a:gd name="connsiteX178" fmla="*/ 673221 w 1574272"/>
                <a:gd name="connsiteY178" fmla="*/ 691335 h 774343"/>
                <a:gd name="connsiteX179" fmla="*/ 687040 w 1574272"/>
                <a:gd name="connsiteY179" fmla="*/ 712157 h 774343"/>
                <a:gd name="connsiteX180" fmla="*/ 700859 w 1574272"/>
                <a:gd name="connsiteY180" fmla="*/ 732886 h 774343"/>
                <a:gd name="connsiteX181" fmla="*/ 728498 w 1574272"/>
                <a:gd name="connsiteY181" fmla="*/ 743251 h 774343"/>
                <a:gd name="connsiteX182" fmla="*/ 749227 w 1574272"/>
                <a:gd name="connsiteY182" fmla="*/ 746706 h 774343"/>
                <a:gd name="connsiteX183" fmla="*/ 742317 w 1574272"/>
                <a:gd name="connsiteY183" fmla="*/ 725977 h 774343"/>
                <a:gd name="connsiteX184" fmla="*/ 738862 w 1574272"/>
                <a:gd name="connsiteY184" fmla="*/ 705248 h 774343"/>
                <a:gd name="connsiteX185" fmla="*/ 745772 w 1574272"/>
                <a:gd name="connsiteY185" fmla="*/ 691335 h 774343"/>
                <a:gd name="connsiteX186" fmla="*/ 756136 w 1574272"/>
                <a:gd name="connsiteY186" fmla="*/ 680971 h 774343"/>
                <a:gd name="connsiteX187" fmla="*/ 762952 w 1574272"/>
                <a:gd name="connsiteY187" fmla="*/ 670606 h 774343"/>
                <a:gd name="connsiteX188" fmla="*/ 783681 w 1574272"/>
                <a:gd name="connsiteY188" fmla="*/ 670606 h 774343"/>
                <a:gd name="connsiteX189" fmla="*/ 794046 w 1574272"/>
                <a:gd name="connsiteY189" fmla="*/ 663697 h 774343"/>
                <a:gd name="connsiteX190" fmla="*/ 804410 w 1574272"/>
                <a:gd name="connsiteY190" fmla="*/ 653332 h 774343"/>
                <a:gd name="connsiteX191" fmla="*/ 811320 w 1574272"/>
                <a:gd name="connsiteY191" fmla="*/ 639513 h 774343"/>
                <a:gd name="connsiteX192" fmla="*/ 821684 w 1574272"/>
                <a:gd name="connsiteY192" fmla="*/ 646423 h 774343"/>
                <a:gd name="connsiteX193" fmla="*/ 835503 w 1574272"/>
                <a:gd name="connsiteY193" fmla="*/ 642968 h 774343"/>
                <a:gd name="connsiteX194" fmla="*/ 842413 w 1574272"/>
                <a:gd name="connsiteY194" fmla="*/ 632603 h 774343"/>
                <a:gd name="connsiteX195" fmla="*/ 859687 w 1574272"/>
                <a:gd name="connsiteY195" fmla="*/ 632603 h 774343"/>
                <a:gd name="connsiteX196" fmla="*/ 876961 w 1574272"/>
                <a:gd name="connsiteY196" fmla="*/ 642968 h 774343"/>
                <a:gd name="connsiteX197" fmla="*/ 883871 w 1574272"/>
                <a:gd name="connsiteY197" fmla="*/ 639513 h 774343"/>
                <a:gd name="connsiteX198" fmla="*/ 890780 w 1574272"/>
                <a:gd name="connsiteY198" fmla="*/ 636058 h 774343"/>
                <a:gd name="connsiteX199" fmla="*/ 907961 w 1574272"/>
                <a:gd name="connsiteY199" fmla="*/ 642968 h 774343"/>
                <a:gd name="connsiteX200" fmla="*/ 921780 w 1574272"/>
                <a:gd name="connsiteY200" fmla="*/ 653332 h 774343"/>
                <a:gd name="connsiteX201" fmla="*/ 939054 w 1574272"/>
                <a:gd name="connsiteY201" fmla="*/ 649877 h 774343"/>
                <a:gd name="connsiteX202" fmla="*/ 952874 w 1574272"/>
                <a:gd name="connsiteY202" fmla="*/ 649877 h 774343"/>
                <a:gd name="connsiteX203" fmla="*/ 966693 w 1574272"/>
                <a:gd name="connsiteY203" fmla="*/ 646423 h 774343"/>
                <a:gd name="connsiteX204" fmla="*/ 956328 w 1574272"/>
                <a:gd name="connsiteY204" fmla="*/ 636058 h 774343"/>
                <a:gd name="connsiteX205" fmla="*/ 945964 w 1574272"/>
                <a:gd name="connsiteY205" fmla="*/ 629149 h 774343"/>
                <a:gd name="connsiteX206" fmla="*/ 935600 w 1574272"/>
                <a:gd name="connsiteY206" fmla="*/ 618784 h 774343"/>
                <a:gd name="connsiteX207" fmla="*/ 952874 w 1574272"/>
                <a:gd name="connsiteY207" fmla="*/ 615329 h 774343"/>
                <a:gd name="connsiteX208" fmla="*/ 977057 w 1574272"/>
                <a:gd name="connsiteY208" fmla="*/ 611875 h 774343"/>
                <a:gd name="connsiteX209" fmla="*/ 1004696 w 1574272"/>
                <a:gd name="connsiteY209" fmla="*/ 611875 h 774343"/>
                <a:gd name="connsiteX210" fmla="*/ 1021970 w 1574272"/>
                <a:gd name="connsiteY210" fmla="*/ 618784 h 774343"/>
                <a:gd name="connsiteX211" fmla="*/ 1046060 w 1574272"/>
                <a:gd name="connsiteY211" fmla="*/ 622239 h 774343"/>
                <a:gd name="connsiteX212" fmla="*/ 1066789 w 1574272"/>
                <a:gd name="connsiteY212" fmla="*/ 625694 h 774343"/>
                <a:gd name="connsiteX213" fmla="*/ 1080608 w 1574272"/>
                <a:gd name="connsiteY213" fmla="*/ 642968 h 774343"/>
                <a:gd name="connsiteX214" fmla="*/ 1094427 w 1574272"/>
                <a:gd name="connsiteY214" fmla="*/ 629149 h 774343"/>
                <a:gd name="connsiteX215" fmla="*/ 1104792 w 1574272"/>
                <a:gd name="connsiteY215" fmla="*/ 625694 h 774343"/>
                <a:gd name="connsiteX216" fmla="*/ 1122066 w 1574272"/>
                <a:gd name="connsiteY216" fmla="*/ 632603 h 774343"/>
                <a:gd name="connsiteX217" fmla="*/ 1132430 w 1574272"/>
                <a:gd name="connsiteY217" fmla="*/ 646423 h 774343"/>
                <a:gd name="connsiteX218" fmla="*/ 1146250 w 1574272"/>
                <a:gd name="connsiteY218" fmla="*/ 660242 h 774343"/>
                <a:gd name="connsiteX219" fmla="*/ 1142795 w 1574272"/>
                <a:gd name="connsiteY219" fmla="*/ 677516 h 774343"/>
                <a:gd name="connsiteX220" fmla="*/ 1142795 w 1574272"/>
                <a:gd name="connsiteY220" fmla="*/ 698245 h 774343"/>
                <a:gd name="connsiteX221" fmla="*/ 1146250 w 1574272"/>
                <a:gd name="connsiteY221" fmla="*/ 719067 h 774343"/>
                <a:gd name="connsiteX222" fmla="*/ 1160069 w 1574272"/>
                <a:gd name="connsiteY222" fmla="*/ 729431 h 774343"/>
                <a:gd name="connsiteX223" fmla="*/ 1173795 w 1574272"/>
                <a:gd name="connsiteY223" fmla="*/ 739796 h 774343"/>
                <a:gd name="connsiteX224" fmla="*/ 1184159 w 1574272"/>
                <a:gd name="connsiteY224" fmla="*/ 760525 h 774343"/>
                <a:gd name="connsiteX225" fmla="*/ 1197978 w 1574272"/>
                <a:gd name="connsiteY225" fmla="*/ 774344 h 774343"/>
                <a:gd name="connsiteX226" fmla="*/ 1211798 w 1574272"/>
                <a:gd name="connsiteY226" fmla="*/ 774344 h 774343"/>
                <a:gd name="connsiteX227" fmla="*/ 1215252 w 1574272"/>
                <a:gd name="connsiteY227" fmla="*/ 760525 h 774343"/>
                <a:gd name="connsiteX228" fmla="*/ 1215252 w 1574272"/>
                <a:gd name="connsiteY228" fmla="*/ 732886 h 774343"/>
                <a:gd name="connsiteX229" fmla="*/ 1211798 w 1574272"/>
                <a:gd name="connsiteY229" fmla="*/ 701793 h 774343"/>
                <a:gd name="connsiteX230" fmla="*/ 1201433 w 1574272"/>
                <a:gd name="connsiteY230" fmla="*/ 677516 h 774343"/>
                <a:gd name="connsiteX231" fmla="*/ 1194523 w 1574272"/>
                <a:gd name="connsiteY231" fmla="*/ 653332 h 774343"/>
                <a:gd name="connsiteX232" fmla="*/ 1184159 w 1574272"/>
                <a:gd name="connsiteY232" fmla="*/ 629149 h 774343"/>
                <a:gd name="connsiteX233" fmla="*/ 1177249 w 1574272"/>
                <a:gd name="connsiteY233" fmla="*/ 604965 h 774343"/>
                <a:gd name="connsiteX234" fmla="*/ 1184159 w 1574272"/>
                <a:gd name="connsiteY234" fmla="*/ 584236 h 774343"/>
                <a:gd name="connsiteX235" fmla="*/ 1201433 w 1574272"/>
                <a:gd name="connsiteY235" fmla="*/ 563507 h 774343"/>
                <a:gd name="connsiteX236" fmla="*/ 1211798 w 1574272"/>
                <a:gd name="connsiteY236" fmla="*/ 549688 h 774343"/>
                <a:gd name="connsiteX237" fmla="*/ 1232526 w 1574272"/>
                <a:gd name="connsiteY237" fmla="*/ 542778 h 774343"/>
                <a:gd name="connsiteX238" fmla="*/ 1249800 w 1574272"/>
                <a:gd name="connsiteY238" fmla="*/ 515046 h 774343"/>
                <a:gd name="connsiteX239" fmla="*/ 1267074 w 1574272"/>
                <a:gd name="connsiteY239" fmla="*/ 511592 h 774343"/>
                <a:gd name="connsiteX240" fmla="*/ 1273984 w 1574272"/>
                <a:gd name="connsiteY240" fmla="*/ 504682 h 774343"/>
                <a:gd name="connsiteX241" fmla="*/ 1298168 w 1574272"/>
                <a:gd name="connsiteY241" fmla="*/ 483953 h 774343"/>
                <a:gd name="connsiteX242" fmla="*/ 1315348 w 1574272"/>
                <a:gd name="connsiteY242" fmla="*/ 480498 h 774343"/>
                <a:gd name="connsiteX243" fmla="*/ 1315348 w 1574272"/>
                <a:gd name="connsiteY243" fmla="*/ 466679 h 774343"/>
                <a:gd name="connsiteX244" fmla="*/ 1329168 w 1574272"/>
                <a:gd name="connsiteY244" fmla="*/ 456315 h 774343"/>
                <a:gd name="connsiteX245" fmla="*/ 1336077 w 1574272"/>
                <a:gd name="connsiteY245" fmla="*/ 442496 h 774343"/>
                <a:gd name="connsiteX246" fmla="*/ 1329168 w 1574272"/>
                <a:gd name="connsiteY246" fmla="*/ 425221 h 774343"/>
                <a:gd name="connsiteX247" fmla="*/ 1318803 w 1574272"/>
                <a:gd name="connsiteY247" fmla="*/ 421767 h 774343"/>
                <a:gd name="connsiteX248" fmla="*/ 1315348 w 1574272"/>
                <a:gd name="connsiteY248" fmla="*/ 404493 h 774343"/>
                <a:gd name="connsiteX249" fmla="*/ 1318803 w 1574272"/>
                <a:gd name="connsiteY249" fmla="*/ 394128 h 774343"/>
                <a:gd name="connsiteX250" fmla="*/ 1308439 w 1574272"/>
                <a:gd name="connsiteY250" fmla="*/ 383764 h 774343"/>
                <a:gd name="connsiteX251" fmla="*/ 1294713 w 1574272"/>
                <a:gd name="connsiteY251" fmla="*/ 369851 h 774343"/>
                <a:gd name="connsiteX252" fmla="*/ 1301529 w 1574272"/>
                <a:gd name="connsiteY252" fmla="*/ 366396 h 774343"/>
                <a:gd name="connsiteX253" fmla="*/ 1311893 w 1574272"/>
                <a:gd name="connsiteY253" fmla="*/ 369851 h 774343"/>
                <a:gd name="connsiteX254" fmla="*/ 1315348 w 1574272"/>
                <a:gd name="connsiteY254" fmla="*/ 349122 h 774343"/>
                <a:gd name="connsiteX255" fmla="*/ 1318803 w 1574272"/>
                <a:gd name="connsiteY255" fmla="*/ 335303 h 774343"/>
                <a:gd name="connsiteX256" fmla="*/ 1325713 w 1574272"/>
                <a:gd name="connsiteY256" fmla="*/ 342213 h 774343"/>
                <a:gd name="connsiteX257" fmla="*/ 1322258 w 1574272"/>
                <a:gd name="connsiteY257" fmla="*/ 359487 h 774343"/>
                <a:gd name="connsiteX258" fmla="*/ 1329168 w 1574272"/>
                <a:gd name="connsiteY258" fmla="*/ 380309 h 774343"/>
                <a:gd name="connsiteX259" fmla="*/ 1329168 w 1574272"/>
                <a:gd name="connsiteY259" fmla="*/ 404493 h 774343"/>
                <a:gd name="connsiteX260" fmla="*/ 1336077 w 1574272"/>
                <a:gd name="connsiteY260" fmla="*/ 394128 h 774343"/>
                <a:gd name="connsiteX261" fmla="*/ 1349896 w 1574272"/>
                <a:gd name="connsiteY261" fmla="*/ 376854 h 774343"/>
                <a:gd name="connsiteX262" fmla="*/ 1356806 w 1574272"/>
                <a:gd name="connsiteY262" fmla="*/ 362942 h 774343"/>
                <a:gd name="connsiteX263" fmla="*/ 1349896 w 1574272"/>
                <a:gd name="connsiteY263" fmla="*/ 342213 h 774343"/>
                <a:gd name="connsiteX264" fmla="*/ 1363716 w 1574272"/>
                <a:gd name="connsiteY264" fmla="*/ 345667 h 774343"/>
                <a:gd name="connsiteX265" fmla="*/ 1374080 w 1574272"/>
                <a:gd name="connsiteY265" fmla="*/ 319523 h 774343"/>
                <a:gd name="connsiteX266" fmla="*/ 1416005 w 1574272"/>
                <a:gd name="connsiteY266" fmla="*/ 301129 h 774343"/>
                <a:gd name="connsiteX267" fmla="*/ 1420487 w 1574272"/>
                <a:gd name="connsiteY267" fmla="*/ 293939 h 774343"/>
                <a:gd name="connsiteX268" fmla="*/ 1373146 w 1574272"/>
                <a:gd name="connsiteY268" fmla="*/ 301782 h 774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Lst>
              <a:rect l="l" t="t" r="r" b="b"/>
              <a:pathLst>
                <a:path w="1574272" h="774343">
                  <a:moveTo>
                    <a:pt x="1373146" y="301782"/>
                  </a:moveTo>
                  <a:lnTo>
                    <a:pt x="1387899" y="286936"/>
                  </a:lnTo>
                  <a:lnTo>
                    <a:pt x="1418993" y="280026"/>
                  </a:lnTo>
                  <a:lnTo>
                    <a:pt x="1446538" y="273117"/>
                  </a:lnTo>
                  <a:lnTo>
                    <a:pt x="1463812" y="266207"/>
                  </a:lnTo>
                  <a:lnTo>
                    <a:pt x="1474176" y="266207"/>
                  </a:lnTo>
                  <a:lnTo>
                    <a:pt x="1487996" y="255843"/>
                  </a:lnTo>
                  <a:lnTo>
                    <a:pt x="1474176" y="252388"/>
                  </a:lnTo>
                  <a:lnTo>
                    <a:pt x="1467267" y="245478"/>
                  </a:lnTo>
                  <a:lnTo>
                    <a:pt x="1467267" y="231659"/>
                  </a:lnTo>
                  <a:lnTo>
                    <a:pt x="1481086" y="214385"/>
                  </a:lnTo>
                  <a:lnTo>
                    <a:pt x="1491450" y="190108"/>
                  </a:lnTo>
                  <a:lnTo>
                    <a:pt x="1508724" y="179743"/>
                  </a:lnTo>
                  <a:lnTo>
                    <a:pt x="1525998" y="169379"/>
                  </a:lnTo>
                  <a:lnTo>
                    <a:pt x="1546727" y="165924"/>
                  </a:lnTo>
                  <a:lnTo>
                    <a:pt x="1567456" y="165924"/>
                  </a:lnTo>
                  <a:lnTo>
                    <a:pt x="1574272" y="155560"/>
                  </a:lnTo>
                  <a:lnTo>
                    <a:pt x="1567456" y="141740"/>
                  </a:lnTo>
                  <a:lnTo>
                    <a:pt x="1557092" y="131376"/>
                  </a:lnTo>
                  <a:lnTo>
                    <a:pt x="1553637" y="117557"/>
                  </a:lnTo>
                  <a:lnTo>
                    <a:pt x="1557092" y="89918"/>
                  </a:lnTo>
                  <a:lnTo>
                    <a:pt x="1553637" y="76099"/>
                  </a:lnTo>
                  <a:lnTo>
                    <a:pt x="1529453" y="69189"/>
                  </a:lnTo>
                  <a:lnTo>
                    <a:pt x="1515634" y="62280"/>
                  </a:lnTo>
                  <a:lnTo>
                    <a:pt x="1501815" y="76099"/>
                  </a:lnTo>
                  <a:lnTo>
                    <a:pt x="1487996" y="100283"/>
                  </a:lnTo>
                  <a:lnTo>
                    <a:pt x="1481086" y="127921"/>
                  </a:lnTo>
                  <a:lnTo>
                    <a:pt x="1470721" y="141740"/>
                  </a:lnTo>
                  <a:lnTo>
                    <a:pt x="1449993" y="152105"/>
                  </a:lnTo>
                  <a:lnTo>
                    <a:pt x="1349896" y="152105"/>
                  </a:lnTo>
                  <a:lnTo>
                    <a:pt x="1322258" y="172834"/>
                  </a:lnTo>
                  <a:lnTo>
                    <a:pt x="1322258" y="193563"/>
                  </a:lnTo>
                  <a:lnTo>
                    <a:pt x="1304984" y="207382"/>
                  </a:lnTo>
                  <a:lnTo>
                    <a:pt x="1284349" y="210930"/>
                  </a:lnTo>
                  <a:lnTo>
                    <a:pt x="1246346" y="207382"/>
                  </a:lnTo>
                  <a:lnTo>
                    <a:pt x="1242891" y="214385"/>
                  </a:lnTo>
                  <a:lnTo>
                    <a:pt x="1246346" y="221294"/>
                  </a:lnTo>
                  <a:lnTo>
                    <a:pt x="1245225" y="221388"/>
                  </a:lnTo>
                  <a:lnTo>
                    <a:pt x="1246346" y="224749"/>
                  </a:lnTo>
                  <a:lnTo>
                    <a:pt x="1242891" y="235114"/>
                  </a:lnTo>
                  <a:lnTo>
                    <a:pt x="1232526" y="238568"/>
                  </a:lnTo>
                  <a:lnTo>
                    <a:pt x="1211798" y="248933"/>
                  </a:lnTo>
                  <a:lnTo>
                    <a:pt x="1191069" y="255843"/>
                  </a:lnTo>
                  <a:lnTo>
                    <a:pt x="1170340" y="266207"/>
                  </a:lnTo>
                  <a:lnTo>
                    <a:pt x="1139340" y="266207"/>
                  </a:lnTo>
                  <a:lnTo>
                    <a:pt x="1125521" y="255843"/>
                  </a:lnTo>
                  <a:lnTo>
                    <a:pt x="1132430" y="242023"/>
                  </a:lnTo>
                  <a:lnTo>
                    <a:pt x="1139340" y="235114"/>
                  </a:lnTo>
                  <a:lnTo>
                    <a:pt x="1139340" y="235114"/>
                  </a:lnTo>
                  <a:lnTo>
                    <a:pt x="1142795" y="231659"/>
                  </a:lnTo>
                  <a:lnTo>
                    <a:pt x="1142795" y="217840"/>
                  </a:lnTo>
                  <a:lnTo>
                    <a:pt x="1146250" y="207382"/>
                  </a:lnTo>
                  <a:lnTo>
                    <a:pt x="1146250" y="190108"/>
                  </a:lnTo>
                  <a:lnTo>
                    <a:pt x="1135885" y="186653"/>
                  </a:lnTo>
                  <a:lnTo>
                    <a:pt x="1125521" y="193563"/>
                  </a:lnTo>
                  <a:lnTo>
                    <a:pt x="1115156" y="200472"/>
                  </a:lnTo>
                  <a:lnTo>
                    <a:pt x="1111701" y="193563"/>
                  </a:lnTo>
                  <a:lnTo>
                    <a:pt x="1118611" y="186653"/>
                  </a:lnTo>
                  <a:lnTo>
                    <a:pt x="1125521" y="172834"/>
                  </a:lnTo>
                  <a:lnTo>
                    <a:pt x="1128975" y="155560"/>
                  </a:lnTo>
                  <a:lnTo>
                    <a:pt x="1122066" y="141740"/>
                  </a:lnTo>
                  <a:lnTo>
                    <a:pt x="1104792" y="138286"/>
                  </a:lnTo>
                  <a:lnTo>
                    <a:pt x="1090973" y="131376"/>
                  </a:lnTo>
                  <a:lnTo>
                    <a:pt x="1077153" y="134831"/>
                  </a:lnTo>
                  <a:lnTo>
                    <a:pt x="1070244" y="145195"/>
                  </a:lnTo>
                  <a:lnTo>
                    <a:pt x="1063334" y="152105"/>
                  </a:lnTo>
                  <a:lnTo>
                    <a:pt x="1052970" y="152105"/>
                  </a:lnTo>
                  <a:lnTo>
                    <a:pt x="1049515" y="159015"/>
                  </a:lnTo>
                  <a:lnTo>
                    <a:pt x="1049515" y="172834"/>
                  </a:lnTo>
                  <a:lnTo>
                    <a:pt x="1049515" y="193563"/>
                  </a:lnTo>
                  <a:lnTo>
                    <a:pt x="1049515" y="210930"/>
                  </a:lnTo>
                  <a:lnTo>
                    <a:pt x="1049515" y="231659"/>
                  </a:lnTo>
                  <a:lnTo>
                    <a:pt x="1042605" y="248933"/>
                  </a:lnTo>
                  <a:lnTo>
                    <a:pt x="1025425" y="262752"/>
                  </a:lnTo>
                  <a:lnTo>
                    <a:pt x="1008150" y="266207"/>
                  </a:lnTo>
                  <a:lnTo>
                    <a:pt x="1001241" y="242023"/>
                  </a:lnTo>
                  <a:lnTo>
                    <a:pt x="1001241" y="221294"/>
                  </a:lnTo>
                  <a:lnTo>
                    <a:pt x="1008150" y="179743"/>
                  </a:lnTo>
                  <a:lnTo>
                    <a:pt x="1021970" y="148650"/>
                  </a:lnTo>
                  <a:lnTo>
                    <a:pt x="1015060" y="162469"/>
                  </a:lnTo>
                  <a:lnTo>
                    <a:pt x="1001241" y="165924"/>
                  </a:lnTo>
                  <a:lnTo>
                    <a:pt x="997786" y="152105"/>
                  </a:lnTo>
                  <a:lnTo>
                    <a:pt x="1015060" y="138286"/>
                  </a:lnTo>
                  <a:lnTo>
                    <a:pt x="1028879" y="124466"/>
                  </a:lnTo>
                  <a:lnTo>
                    <a:pt x="1035696" y="117557"/>
                  </a:lnTo>
                  <a:lnTo>
                    <a:pt x="1042605" y="124466"/>
                  </a:lnTo>
                  <a:lnTo>
                    <a:pt x="1052970" y="121012"/>
                  </a:lnTo>
                  <a:lnTo>
                    <a:pt x="1066789" y="110647"/>
                  </a:lnTo>
                  <a:lnTo>
                    <a:pt x="1084063" y="110647"/>
                  </a:lnTo>
                  <a:lnTo>
                    <a:pt x="1097882" y="117557"/>
                  </a:lnTo>
                  <a:lnTo>
                    <a:pt x="1097882" y="110647"/>
                  </a:lnTo>
                  <a:lnTo>
                    <a:pt x="1084063" y="100283"/>
                  </a:lnTo>
                  <a:lnTo>
                    <a:pt x="1073699" y="93373"/>
                  </a:lnTo>
                  <a:lnTo>
                    <a:pt x="1056425" y="96828"/>
                  </a:lnTo>
                  <a:lnTo>
                    <a:pt x="1042605" y="96828"/>
                  </a:lnTo>
                  <a:lnTo>
                    <a:pt x="1025425" y="100283"/>
                  </a:lnTo>
                  <a:lnTo>
                    <a:pt x="1008150" y="93373"/>
                  </a:lnTo>
                  <a:lnTo>
                    <a:pt x="990876" y="83009"/>
                  </a:lnTo>
                  <a:lnTo>
                    <a:pt x="983967" y="72644"/>
                  </a:lnTo>
                  <a:lnTo>
                    <a:pt x="970148" y="83009"/>
                  </a:lnTo>
                  <a:lnTo>
                    <a:pt x="963238" y="89918"/>
                  </a:lnTo>
                  <a:lnTo>
                    <a:pt x="952874" y="96828"/>
                  </a:lnTo>
                  <a:lnTo>
                    <a:pt x="932145" y="96828"/>
                  </a:lnTo>
                  <a:lnTo>
                    <a:pt x="907961" y="96828"/>
                  </a:lnTo>
                  <a:lnTo>
                    <a:pt x="890780" y="89918"/>
                  </a:lnTo>
                  <a:lnTo>
                    <a:pt x="897597" y="83009"/>
                  </a:lnTo>
                  <a:lnTo>
                    <a:pt x="911416" y="69189"/>
                  </a:lnTo>
                  <a:lnTo>
                    <a:pt x="925235" y="62280"/>
                  </a:lnTo>
                  <a:lnTo>
                    <a:pt x="945964" y="55370"/>
                  </a:lnTo>
                  <a:lnTo>
                    <a:pt x="949419" y="48461"/>
                  </a:lnTo>
                  <a:lnTo>
                    <a:pt x="928690" y="45006"/>
                  </a:lnTo>
                  <a:lnTo>
                    <a:pt x="921780" y="45006"/>
                  </a:lnTo>
                  <a:lnTo>
                    <a:pt x="907961" y="41551"/>
                  </a:lnTo>
                  <a:lnTo>
                    <a:pt x="901052" y="41551"/>
                  </a:lnTo>
                  <a:lnTo>
                    <a:pt x="883871" y="34548"/>
                  </a:lnTo>
                  <a:lnTo>
                    <a:pt x="842413" y="27638"/>
                  </a:lnTo>
                  <a:lnTo>
                    <a:pt x="821684" y="20729"/>
                  </a:lnTo>
                  <a:lnTo>
                    <a:pt x="814775" y="13819"/>
                  </a:lnTo>
                  <a:lnTo>
                    <a:pt x="811320" y="0"/>
                  </a:lnTo>
                  <a:lnTo>
                    <a:pt x="797501" y="0"/>
                  </a:lnTo>
                  <a:lnTo>
                    <a:pt x="794046" y="13819"/>
                  </a:lnTo>
                  <a:lnTo>
                    <a:pt x="51822" y="13819"/>
                  </a:lnTo>
                  <a:lnTo>
                    <a:pt x="51822" y="34548"/>
                  </a:lnTo>
                  <a:lnTo>
                    <a:pt x="62187" y="48461"/>
                  </a:lnTo>
                  <a:lnTo>
                    <a:pt x="58732" y="65735"/>
                  </a:lnTo>
                  <a:lnTo>
                    <a:pt x="48367" y="76099"/>
                  </a:lnTo>
                  <a:lnTo>
                    <a:pt x="44913" y="65735"/>
                  </a:lnTo>
                  <a:lnTo>
                    <a:pt x="41458" y="51915"/>
                  </a:lnTo>
                  <a:lnTo>
                    <a:pt x="31093" y="48461"/>
                  </a:lnTo>
                  <a:lnTo>
                    <a:pt x="13819" y="41551"/>
                  </a:lnTo>
                  <a:lnTo>
                    <a:pt x="0" y="48461"/>
                  </a:lnTo>
                  <a:lnTo>
                    <a:pt x="6910" y="65735"/>
                  </a:lnTo>
                  <a:lnTo>
                    <a:pt x="13819" y="72644"/>
                  </a:lnTo>
                  <a:lnTo>
                    <a:pt x="10364" y="83009"/>
                  </a:lnTo>
                  <a:lnTo>
                    <a:pt x="17274" y="93373"/>
                  </a:lnTo>
                  <a:lnTo>
                    <a:pt x="27638" y="110647"/>
                  </a:lnTo>
                  <a:lnTo>
                    <a:pt x="17274" y="110647"/>
                  </a:lnTo>
                  <a:lnTo>
                    <a:pt x="10364" y="193563"/>
                  </a:lnTo>
                  <a:lnTo>
                    <a:pt x="3455" y="210930"/>
                  </a:lnTo>
                  <a:lnTo>
                    <a:pt x="10364" y="255843"/>
                  </a:lnTo>
                  <a:lnTo>
                    <a:pt x="3455" y="293845"/>
                  </a:lnTo>
                  <a:lnTo>
                    <a:pt x="3455" y="307665"/>
                  </a:lnTo>
                  <a:lnTo>
                    <a:pt x="17274" y="321484"/>
                  </a:lnTo>
                  <a:lnTo>
                    <a:pt x="17274" y="342213"/>
                  </a:lnTo>
                  <a:lnTo>
                    <a:pt x="31093" y="362942"/>
                  </a:lnTo>
                  <a:lnTo>
                    <a:pt x="44913" y="376854"/>
                  </a:lnTo>
                  <a:lnTo>
                    <a:pt x="65641" y="376854"/>
                  </a:lnTo>
                  <a:lnTo>
                    <a:pt x="55277" y="394128"/>
                  </a:lnTo>
                  <a:lnTo>
                    <a:pt x="62187" y="411402"/>
                  </a:lnTo>
                  <a:lnTo>
                    <a:pt x="72551" y="418312"/>
                  </a:lnTo>
                  <a:lnTo>
                    <a:pt x="65641" y="428676"/>
                  </a:lnTo>
                  <a:lnTo>
                    <a:pt x="82915" y="445950"/>
                  </a:lnTo>
                  <a:lnTo>
                    <a:pt x="100096" y="470134"/>
                  </a:lnTo>
                  <a:lnTo>
                    <a:pt x="103551" y="494318"/>
                  </a:lnTo>
                  <a:lnTo>
                    <a:pt x="127735" y="487408"/>
                  </a:lnTo>
                  <a:lnTo>
                    <a:pt x="145009" y="501227"/>
                  </a:lnTo>
                  <a:lnTo>
                    <a:pt x="169192" y="508137"/>
                  </a:lnTo>
                  <a:lnTo>
                    <a:pt x="179557" y="515046"/>
                  </a:lnTo>
                  <a:lnTo>
                    <a:pt x="193376" y="528959"/>
                  </a:lnTo>
                  <a:lnTo>
                    <a:pt x="200286" y="549688"/>
                  </a:lnTo>
                  <a:lnTo>
                    <a:pt x="255469" y="546233"/>
                  </a:lnTo>
                  <a:lnTo>
                    <a:pt x="286562" y="556598"/>
                  </a:lnTo>
                  <a:lnTo>
                    <a:pt x="331475" y="577326"/>
                  </a:lnTo>
                  <a:lnTo>
                    <a:pt x="359020" y="587691"/>
                  </a:lnTo>
                  <a:lnTo>
                    <a:pt x="438481" y="587691"/>
                  </a:lnTo>
                  <a:lnTo>
                    <a:pt x="452300" y="577326"/>
                  </a:lnTo>
                  <a:lnTo>
                    <a:pt x="486848" y="570417"/>
                  </a:lnTo>
                  <a:lnTo>
                    <a:pt x="521303" y="598055"/>
                  </a:lnTo>
                  <a:lnTo>
                    <a:pt x="538577" y="611875"/>
                  </a:lnTo>
                  <a:lnTo>
                    <a:pt x="542031" y="639513"/>
                  </a:lnTo>
                  <a:lnTo>
                    <a:pt x="569670" y="656787"/>
                  </a:lnTo>
                  <a:lnTo>
                    <a:pt x="590399" y="653332"/>
                  </a:lnTo>
                  <a:lnTo>
                    <a:pt x="593854" y="636058"/>
                  </a:lnTo>
                  <a:lnTo>
                    <a:pt x="607673" y="629149"/>
                  </a:lnTo>
                  <a:lnTo>
                    <a:pt x="607673" y="629149"/>
                  </a:lnTo>
                  <a:lnTo>
                    <a:pt x="607673" y="629149"/>
                  </a:lnTo>
                  <a:lnTo>
                    <a:pt x="645582" y="646423"/>
                  </a:lnTo>
                  <a:lnTo>
                    <a:pt x="655947" y="670606"/>
                  </a:lnTo>
                  <a:lnTo>
                    <a:pt x="673221" y="691335"/>
                  </a:lnTo>
                  <a:lnTo>
                    <a:pt x="687040" y="712157"/>
                  </a:lnTo>
                  <a:lnTo>
                    <a:pt x="700859" y="732886"/>
                  </a:lnTo>
                  <a:lnTo>
                    <a:pt x="728498" y="743251"/>
                  </a:lnTo>
                  <a:lnTo>
                    <a:pt x="749227" y="746706"/>
                  </a:lnTo>
                  <a:lnTo>
                    <a:pt x="742317" y="725977"/>
                  </a:lnTo>
                  <a:lnTo>
                    <a:pt x="738862" y="705248"/>
                  </a:lnTo>
                  <a:lnTo>
                    <a:pt x="745772" y="691335"/>
                  </a:lnTo>
                  <a:lnTo>
                    <a:pt x="756136" y="680971"/>
                  </a:lnTo>
                  <a:lnTo>
                    <a:pt x="762952" y="670606"/>
                  </a:lnTo>
                  <a:lnTo>
                    <a:pt x="783681" y="670606"/>
                  </a:lnTo>
                  <a:lnTo>
                    <a:pt x="794046" y="663697"/>
                  </a:lnTo>
                  <a:lnTo>
                    <a:pt x="804410" y="653332"/>
                  </a:lnTo>
                  <a:lnTo>
                    <a:pt x="811320" y="639513"/>
                  </a:lnTo>
                  <a:lnTo>
                    <a:pt x="821684" y="646423"/>
                  </a:lnTo>
                  <a:lnTo>
                    <a:pt x="835503" y="642968"/>
                  </a:lnTo>
                  <a:lnTo>
                    <a:pt x="842413" y="632603"/>
                  </a:lnTo>
                  <a:lnTo>
                    <a:pt x="859687" y="632603"/>
                  </a:lnTo>
                  <a:lnTo>
                    <a:pt x="876961" y="642968"/>
                  </a:lnTo>
                  <a:lnTo>
                    <a:pt x="883871" y="639513"/>
                  </a:lnTo>
                  <a:lnTo>
                    <a:pt x="890780" y="636058"/>
                  </a:lnTo>
                  <a:lnTo>
                    <a:pt x="907961" y="642968"/>
                  </a:lnTo>
                  <a:lnTo>
                    <a:pt x="921780" y="653332"/>
                  </a:lnTo>
                  <a:lnTo>
                    <a:pt x="939054" y="649877"/>
                  </a:lnTo>
                  <a:lnTo>
                    <a:pt x="952874" y="649877"/>
                  </a:lnTo>
                  <a:lnTo>
                    <a:pt x="966693" y="646423"/>
                  </a:lnTo>
                  <a:lnTo>
                    <a:pt x="956328" y="636058"/>
                  </a:lnTo>
                  <a:lnTo>
                    <a:pt x="945964" y="629149"/>
                  </a:lnTo>
                  <a:lnTo>
                    <a:pt x="935600" y="618784"/>
                  </a:lnTo>
                  <a:lnTo>
                    <a:pt x="952874" y="615329"/>
                  </a:lnTo>
                  <a:lnTo>
                    <a:pt x="977057" y="611875"/>
                  </a:lnTo>
                  <a:lnTo>
                    <a:pt x="1004696" y="611875"/>
                  </a:lnTo>
                  <a:lnTo>
                    <a:pt x="1021970" y="618784"/>
                  </a:lnTo>
                  <a:lnTo>
                    <a:pt x="1046060" y="622239"/>
                  </a:lnTo>
                  <a:lnTo>
                    <a:pt x="1066789" y="625694"/>
                  </a:lnTo>
                  <a:lnTo>
                    <a:pt x="1080608" y="642968"/>
                  </a:lnTo>
                  <a:lnTo>
                    <a:pt x="1094427" y="629149"/>
                  </a:lnTo>
                  <a:lnTo>
                    <a:pt x="1104792" y="625694"/>
                  </a:lnTo>
                  <a:lnTo>
                    <a:pt x="1122066" y="632603"/>
                  </a:lnTo>
                  <a:lnTo>
                    <a:pt x="1132430" y="646423"/>
                  </a:lnTo>
                  <a:lnTo>
                    <a:pt x="1146250" y="660242"/>
                  </a:lnTo>
                  <a:lnTo>
                    <a:pt x="1142795" y="677516"/>
                  </a:lnTo>
                  <a:lnTo>
                    <a:pt x="1142795" y="698245"/>
                  </a:lnTo>
                  <a:lnTo>
                    <a:pt x="1146250" y="719067"/>
                  </a:lnTo>
                  <a:lnTo>
                    <a:pt x="1160069" y="729431"/>
                  </a:lnTo>
                  <a:lnTo>
                    <a:pt x="1173795" y="739796"/>
                  </a:lnTo>
                  <a:lnTo>
                    <a:pt x="1184159" y="760525"/>
                  </a:lnTo>
                  <a:lnTo>
                    <a:pt x="1197978" y="774344"/>
                  </a:lnTo>
                  <a:lnTo>
                    <a:pt x="1211798" y="774344"/>
                  </a:lnTo>
                  <a:lnTo>
                    <a:pt x="1215252" y="760525"/>
                  </a:lnTo>
                  <a:lnTo>
                    <a:pt x="1215252" y="732886"/>
                  </a:lnTo>
                  <a:lnTo>
                    <a:pt x="1211798" y="701793"/>
                  </a:lnTo>
                  <a:lnTo>
                    <a:pt x="1201433" y="677516"/>
                  </a:lnTo>
                  <a:lnTo>
                    <a:pt x="1194523" y="653332"/>
                  </a:lnTo>
                  <a:lnTo>
                    <a:pt x="1184159" y="629149"/>
                  </a:lnTo>
                  <a:lnTo>
                    <a:pt x="1177249" y="604965"/>
                  </a:lnTo>
                  <a:lnTo>
                    <a:pt x="1184159" y="584236"/>
                  </a:lnTo>
                  <a:lnTo>
                    <a:pt x="1201433" y="563507"/>
                  </a:lnTo>
                  <a:lnTo>
                    <a:pt x="1211798" y="549688"/>
                  </a:lnTo>
                  <a:lnTo>
                    <a:pt x="1232526" y="542778"/>
                  </a:lnTo>
                  <a:lnTo>
                    <a:pt x="1249800" y="515046"/>
                  </a:lnTo>
                  <a:lnTo>
                    <a:pt x="1267074" y="511592"/>
                  </a:lnTo>
                  <a:lnTo>
                    <a:pt x="1273984" y="504682"/>
                  </a:lnTo>
                  <a:lnTo>
                    <a:pt x="1298168" y="483953"/>
                  </a:lnTo>
                  <a:lnTo>
                    <a:pt x="1315348" y="480498"/>
                  </a:lnTo>
                  <a:lnTo>
                    <a:pt x="1315348" y="466679"/>
                  </a:lnTo>
                  <a:lnTo>
                    <a:pt x="1329168" y="456315"/>
                  </a:lnTo>
                  <a:lnTo>
                    <a:pt x="1336077" y="442496"/>
                  </a:lnTo>
                  <a:lnTo>
                    <a:pt x="1329168" y="425221"/>
                  </a:lnTo>
                  <a:lnTo>
                    <a:pt x="1318803" y="421767"/>
                  </a:lnTo>
                  <a:lnTo>
                    <a:pt x="1315348" y="404493"/>
                  </a:lnTo>
                  <a:lnTo>
                    <a:pt x="1318803" y="394128"/>
                  </a:lnTo>
                  <a:lnTo>
                    <a:pt x="1308439" y="383764"/>
                  </a:lnTo>
                  <a:lnTo>
                    <a:pt x="1294713" y="369851"/>
                  </a:lnTo>
                  <a:lnTo>
                    <a:pt x="1301529" y="366396"/>
                  </a:lnTo>
                  <a:lnTo>
                    <a:pt x="1311893" y="369851"/>
                  </a:lnTo>
                  <a:lnTo>
                    <a:pt x="1315348" y="349122"/>
                  </a:lnTo>
                  <a:lnTo>
                    <a:pt x="1318803" y="335303"/>
                  </a:lnTo>
                  <a:lnTo>
                    <a:pt x="1325713" y="342213"/>
                  </a:lnTo>
                  <a:lnTo>
                    <a:pt x="1322258" y="359487"/>
                  </a:lnTo>
                  <a:lnTo>
                    <a:pt x="1329168" y="380309"/>
                  </a:lnTo>
                  <a:lnTo>
                    <a:pt x="1329168" y="404493"/>
                  </a:lnTo>
                  <a:lnTo>
                    <a:pt x="1336077" y="394128"/>
                  </a:lnTo>
                  <a:lnTo>
                    <a:pt x="1349896" y="376854"/>
                  </a:lnTo>
                  <a:lnTo>
                    <a:pt x="1356806" y="362942"/>
                  </a:lnTo>
                  <a:lnTo>
                    <a:pt x="1349896" y="342213"/>
                  </a:lnTo>
                  <a:lnTo>
                    <a:pt x="1363716" y="345667"/>
                  </a:lnTo>
                  <a:lnTo>
                    <a:pt x="1374080" y="319523"/>
                  </a:lnTo>
                  <a:lnTo>
                    <a:pt x="1416005" y="301129"/>
                  </a:lnTo>
                  <a:lnTo>
                    <a:pt x="1420487" y="293939"/>
                  </a:lnTo>
                  <a:lnTo>
                    <a:pt x="1373146" y="301782"/>
                  </a:lnTo>
                  <a:close/>
                </a:path>
              </a:pathLst>
            </a:custGeom>
            <a:solidFill>
              <a:srgbClr val="CEE3BF"/>
            </a:solidFill>
            <a:ln w="9334" cap="flat">
              <a:noFill/>
              <a:prstDash val="solid"/>
              <a:miter/>
            </a:ln>
          </p:spPr>
          <p:txBody>
            <a:bodyPr rtlCol="0" anchor="ctr"/>
            <a:lstStyle/>
            <a:p>
              <a:endParaRPr lang="en-GB" dirty="0"/>
            </a:p>
          </p:txBody>
        </p:sp>
        <p:sp>
          <p:nvSpPr>
            <p:cNvPr id="1304" name="Freeform: Shape 1303">
              <a:extLst>
                <a:ext uri="{FF2B5EF4-FFF2-40B4-BE49-F238E27FC236}">
                  <a16:creationId xmlns:a16="http://schemas.microsoft.com/office/drawing/2014/main" id="{F88175E4-082C-4B0F-B82B-8A14406FDA95}"/>
                </a:ext>
              </a:extLst>
            </p:cNvPr>
            <p:cNvSpPr/>
            <p:nvPr/>
          </p:nvSpPr>
          <p:spPr>
            <a:xfrm>
              <a:off x="3565049" y="3281823"/>
              <a:ext cx="3454" cy="3454"/>
            </a:xfrm>
            <a:custGeom>
              <a:avLst/>
              <a:gdLst>
                <a:gd name="connsiteX0" fmla="*/ 0 w 3454"/>
                <a:gd name="connsiteY0" fmla="*/ 3455 h 3454"/>
                <a:gd name="connsiteX1" fmla="*/ 0 w 3454"/>
                <a:gd name="connsiteY1" fmla="*/ 3455 h 3454"/>
                <a:gd name="connsiteX2" fmla="*/ 3455 w 3454"/>
                <a:gd name="connsiteY2" fmla="*/ 0 h 3454"/>
                <a:gd name="connsiteX3" fmla="*/ 0 w 3454"/>
                <a:gd name="connsiteY3" fmla="*/ 3455 h 3454"/>
              </a:gdLst>
              <a:ahLst/>
              <a:cxnLst>
                <a:cxn ang="0">
                  <a:pos x="connsiteX0" y="connsiteY0"/>
                </a:cxn>
                <a:cxn ang="0">
                  <a:pos x="connsiteX1" y="connsiteY1"/>
                </a:cxn>
                <a:cxn ang="0">
                  <a:pos x="connsiteX2" y="connsiteY2"/>
                </a:cxn>
                <a:cxn ang="0">
                  <a:pos x="connsiteX3" y="connsiteY3"/>
                </a:cxn>
              </a:cxnLst>
              <a:rect l="l" t="t" r="r" b="b"/>
              <a:pathLst>
                <a:path w="3454" h="3454">
                  <a:moveTo>
                    <a:pt x="0" y="3455"/>
                  </a:moveTo>
                  <a:lnTo>
                    <a:pt x="0" y="3455"/>
                  </a:lnTo>
                  <a:lnTo>
                    <a:pt x="3455" y="0"/>
                  </a:lnTo>
                  <a:lnTo>
                    <a:pt x="0" y="3455"/>
                  </a:lnTo>
                  <a:close/>
                </a:path>
              </a:pathLst>
            </a:custGeom>
            <a:solidFill>
              <a:srgbClr val="CEE3BF"/>
            </a:solidFill>
            <a:ln w="9334" cap="flat">
              <a:noFill/>
              <a:prstDash val="solid"/>
              <a:miter/>
            </a:ln>
          </p:spPr>
          <p:txBody>
            <a:bodyPr rtlCol="0" anchor="ctr"/>
            <a:lstStyle/>
            <a:p>
              <a:endParaRPr lang="en-GB" dirty="0"/>
            </a:p>
          </p:txBody>
        </p:sp>
        <p:sp>
          <p:nvSpPr>
            <p:cNvPr id="1305" name="Freeform: Shape 1304">
              <a:extLst>
                <a:ext uri="{FF2B5EF4-FFF2-40B4-BE49-F238E27FC236}">
                  <a16:creationId xmlns:a16="http://schemas.microsoft.com/office/drawing/2014/main" id="{39A9D649-1645-45E5-A4A4-0A215B6BB475}"/>
                </a:ext>
              </a:extLst>
            </p:cNvPr>
            <p:cNvSpPr/>
            <p:nvPr/>
          </p:nvSpPr>
          <p:spPr>
            <a:xfrm>
              <a:off x="3333670" y="3091715"/>
              <a:ext cx="20728" cy="3454"/>
            </a:xfrm>
            <a:custGeom>
              <a:avLst/>
              <a:gdLst>
                <a:gd name="connsiteX0" fmla="*/ 13819 w 20728"/>
                <a:gd name="connsiteY0" fmla="*/ 3455 h 3454"/>
                <a:gd name="connsiteX1" fmla="*/ 20729 w 20728"/>
                <a:gd name="connsiteY1" fmla="*/ 3455 h 3454"/>
                <a:gd name="connsiteX2" fmla="*/ 0 w 20728"/>
                <a:gd name="connsiteY2" fmla="*/ 0 h 3454"/>
                <a:gd name="connsiteX3" fmla="*/ 13819 w 20728"/>
                <a:gd name="connsiteY3" fmla="*/ 3455 h 3454"/>
              </a:gdLst>
              <a:ahLst/>
              <a:cxnLst>
                <a:cxn ang="0">
                  <a:pos x="connsiteX0" y="connsiteY0"/>
                </a:cxn>
                <a:cxn ang="0">
                  <a:pos x="connsiteX1" y="connsiteY1"/>
                </a:cxn>
                <a:cxn ang="0">
                  <a:pos x="connsiteX2" y="connsiteY2"/>
                </a:cxn>
                <a:cxn ang="0">
                  <a:pos x="connsiteX3" y="connsiteY3"/>
                </a:cxn>
              </a:cxnLst>
              <a:rect l="l" t="t" r="r" b="b"/>
              <a:pathLst>
                <a:path w="20728" h="3454">
                  <a:moveTo>
                    <a:pt x="13819" y="3455"/>
                  </a:moveTo>
                  <a:lnTo>
                    <a:pt x="20729" y="3455"/>
                  </a:lnTo>
                  <a:lnTo>
                    <a:pt x="0" y="0"/>
                  </a:lnTo>
                  <a:lnTo>
                    <a:pt x="13819" y="3455"/>
                  </a:lnTo>
                  <a:close/>
                </a:path>
              </a:pathLst>
            </a:custGeom>
            <a:solidFill>
              <a:srgbClr val="CEE3BF"/>
            </a:solidFill>
            <a:ln w="9334" cap="flat">
              <a:noFill/>
              <a:prstDash val="solid"/>
              <a:miter/>
            </a:ln>
          </p:spPr>
          <p:txBody>
            <a:bodyPr rtlCol="0" anchor="ctr"/>
            <a:lstStyle/>
            <a:p>
              <a:endParaRPr lang="en-GB" dirty="0"/>
            </a:p>
          </p:txBody>
        </p:sp>
        <p:sp>
          <p:nvSpPr>
            <p:cNvPr id="1306" name="Freeform: Shape 1305">
              <a:extLst>
                <a:ext uri="{FF2B5EF4-FFF2-40B4-BE49-F238E27FC236}">
                  <a16:creationId xmlns:a16="http://schemas.microsoft.com/office/drawing/2014/main" id="{66E73105-9A77-406A-9417-482B5A5A2133}"/>
                </a:ext>
              </a:extLst>
            </p:cNvPr>
            <p:cNvSpPr/>
            <p:nvPr/>
          </p:nvSpPr>
          <p:spPr>
            <a:xfrm>
              <a:off x="3309580" y="3084712"/>
              <a:ext cx="24090" cy="7002"/>
            </a:xfrm>
            <a:custGeom>
              <a:avLst/>
              <a:gdLst>
                <a:gd name="connsiteX0" fmla="*/ 17181 w 24090"/>
                <a:gd name="connsiteY0" fmla="*/ 7003 h 7002"/>
                <a:gd name="connsiteX1" fmla="*/ 24090 w 24090"/>
                <a:gd name="connsiteY1" fmla="*/ 7003 h 7002"/>
                <a:gd name="connsiteX2" fmla="*/ 0 w 24090"/>
                <a:gd name="connsiteY2" fmla="*/ 0 h 7002"/>
                <a:gd name="connsiteX3" fmla="*/ 17181 w 24090"/>
                <a:gd name="connsiteY3" fmla="*/ 7003 h 7002"/>
              </a:gdLst>
              <a:ahLst/>
              <a:cxnLst>
                <a:cxn ang="0">
                  <a:pos x="connsiteX0" y="connsiteY0"/>
                </a:cxn>
                <a:cxn ang="0">
                  <a:pos x="connsiteX1" y="connsiteY1"/>
                </a:cxn>
                <a:cxn ang="0">
                  <a:pos x="connsiteX2" y="connsiteY2"/>
                </a:cxn>
                <a:cxn ang="0">
                  <a:pos x="connsiteX3" y="connsiteY3"/>
                </a:cxn>
              </a:cxnLst>
              <a:rect l="l" t="t" r="r" b="b"/>
              <a:pathLst>
                <a:path w="24090" h="7002">
                  <a:moveTo>
                    <a:pt x="17181" y="7003"/>
                  </a:moveTo>
                  <a:lnTo>
                    <a:pt x="24090" y="7003"/>
                  </a:lnTo>
                  <a:lnTo>
                    <a:pt x="0" y="0"/>
                  </a:lnTo>
                  <a:lnTo>
                    <a:pt x="17181" y="7003"/>
                  </a:lnTo>
                  <a:close/>
                </a:path>
              </a:pathLst>
            </a:custGeom>
            <a:solidFill>
              <a:srgbClr val="CEE3BF"/>
            </a:solidFill>
            <a:ln w="9334" cap="flat">
              <a:noFill/>
              <a:prstDash val="solid"/>
              <a:miter/>
            </a:ln>
          </p:spPr>
          <p:txBody>
            <a:bodyPr rtlCol="0" anchor="ctr"/>
            <a:lstStyle/>
            <a:p>
              <a:endParaRPr lang="en-GB" dirty="0"/>
            </a:p>
          </p:txBody>
        </p:sp>
        <p:sp>
          <p:nvSpPr>
            <p:cNvPr id="1307" name="Freeform: Shape 1306">
              <a:extLst>
                <a:ext uri="{FF2B5EF4-FFF2-40B4-BE49-F238E27FC236}">
                  <a16:creationId xmlns:a16="http://schemas.microsoft.com/office/drawing/2014/main" id="{9098E32D-BB46-4F81-9591-B12F83E344E3}"/>
                </a:ext>
              </a:extLst>
            </p:cNvPr>
            <p:cNvSpPr/>
            <p:nvPr/>
          </p:nvSpPr>
          <p:spPr>
            <a:xfrm>
              <a:off x="3747967" y="3191905"/>
              <a:ext cx="148463" cy="31093"/>
            </a:xfrm>
            <a:custGeom>
              <a:avLst/>
              <a:gdLst>
                <a:gd name="connsiteX0" fmla="*/ 27638 w 148463"/>
                <a:gd name="connsiteY0" fmla="*/ 10364 h 31093"/>
                <a:gd name="connsiteX1" fmla="*/ 13819 w 148463"/>
                <a:gd name="connsiteY1" fmla="*/ 20729 h 31093"/>
                <a:gd name="connsiteX2" fmla="*/ 0 w 148463"/>
                <a:gd name="connsiteY2" fmla="*/ 31093 h 31093"/>
                <a:gd name="connsiteX3" fmla="*/ 27638 w 148463"/>
                <a:gd name="connsiteY3" fmla="*/ 10364 h 31093"/>
                <a:gd name="connsiteX4" fmla="*/ 127734 w 148463"/>
                <a:gd name="connsiteY4" fmla="*/ 10364 h 31093"/>
                <a:gd name="connsiteX5" fmla="*/ 148463 w 148463"/>
                <a:gd name="connsiteY5" fmla="*/ 0 h 31093"/>
                <a:gd name="connsiteX6" fmla="*/ 127734 w 148463"/>
                <a:gd name="connsiteY6" fmla="*/ 10364 h 31093"/>
                <a:gd name="connsiteX7" fmla="*/ 27638 w 148463"/>
                <a:gd name="connsiteY7" fmla="*/ 10364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463" h="31093">
                  <a:moveTo>
                    <a:pt x="27638" y="10364"/>
                  </a:moveTo>
                  <a:lnTo>
                    <a:pt x="13819" y="20729"/>
                  </a:lnTo>
                  <a:lnTo>
                    <a:pt x="0" y="31093"/>
                  </a:lnTo>
                  <a:lnTo>
                    <a:pt x="27638" y="10364"/>
                  </a:lnTo>
                  <a:lnTo>
                    <a:pt x="127734" y="10364"/>
                  </a:lnTo>
                  <a:lnTo>
                    <a:pt x="148463" y="0"/>
                  </a:lnTo>
                  <a:lnTo>
                    <a:pt x="127734" y="10364"/>
                  </a:lnTo>
                  <a:lnTo>
                    <a:pt x="27638" y="10364"/>
                  </a:lnTo>
                  <a:close/>
                </a:path>
              </a:pathLst>
            </a:custGeom>
            <a:solidFill>
              <a:srgbClr val="CEE3BF"/>
            </a:solidFill>
            <a:ln w="9334" cap="flat">
              <a:noFill/>
              <a:prstDash val="solid"/>
              <a:miter/>
            </a:ln>
          </p:spPr>
          <p:txBody>
            <a:bodyPr rtlCol="0" anchor="ctr"/>
            <a:lstStyle/>
            <a:p>
              <a:endParaRPr lang="en-GB" dirty="0"/>
            </a:p>
          </p:txBody>
        </p:sp>
        <p:sp>
          <p:nvSpPr>
            <p:cNvPr id="1308" name="Freeform: Shape 1307">
              <a:extLst>
                <a:ext uri="{FF2B5EF4-FFF2-40B4-BE49-F238E27FC236}">
                  <a16:creationId xmlns:a16="http://schemas.microsoft.com/office/drawing/2014/main" id="{E787F6C4-80B7-4657-A9B4-047FFB8AEAE1}"/>
                </a:ext>
              </a:extLst>
            </p:cNvPr>
            <p:cNvSpPr/>
            <p:nvPr/>
          </p:nvSpPr>
          <p:spPr>
            <a:xfrm>
              <a:off x="3668600" y="3264549"/>
              <a:ext cx="3454" cy="7002"/>
            </a:xfrm>
            <a:custGeom>
              <a:avLst/>
              <a:gdLst>
                <a:gd name="connsiteX0" fmla="*/ 3455 w 3454"/>
                <a:gd name="connsiteY0" fmla="*/ 6910 h 7002"/>
                <a:gd name="connsiteX1" fmla="*/ 0 w 3454"/>
                <a:gd name="connsiteY1" fmla="*/ 0 h 7002"/>
                <a:gd name="connsiteX2" fmla="*/ 2334 w 3454"/>
                <a:gd name="connsiteY2" fmla="*/ 7003 h 7002"/>
                <a:gd name="connsiteX3" fmla="*/ 3455 w 3454"/>
                <a:gd name="connsiteY3" fmla="*/ 6910 h 7002"/>
              </a:gdLst>
              <a:ahLst/>
              <a:cxnLst>
                <a:cxn ang="0">
                  <a:pos x="connsiteX0" y="connsiteY0"/>
                </a:cxn>
                <a:cxn ang="0">
                  <a:pos x="connsiteX1" y="connsiteY1"/>
                </a:cxn>
                <a:cxn ang="0">
                  <a:pos x="connsiteX2" y="connsiteY2"/>
                </a:cxn>
                <a:cxn ang="0">
                  <a:pos x="connsiteX3" y="connsiteY3"/>
                </a:cxn>
              </a:cxnLst>
              <a:rect l="l" t="t" r="r" b="b"/>
              <a:pathLst>
                <a:path w="3454" h="7002">
                  <a:moveTo>
                    <a:pt x="3455" y="6910"/>
                  </a:moveTo>
                  <a:lnTo>
                    <a:pt x="0" y="0"/>
                  </a:lnTo>
                  <a:lnTo>
                    <a:pt x="2334" y="7003"/>
                  </a:lnTo>
                  <a:lnTo>
                    <a:pt x="3455" y="6910"/>
                  </a:lnTo>
                  <a:close/>
                </a:path>
              </a:pathLst>
            </a:custGeom>
            <a:solidFill>
              <a:srgbClr val="CEE3BF"/>
            </a:solidFill>
            <a:ln w="9334" cap="flat">
              <a:noFill/>
              <a:prstDash val="solid"/>
              <a:miter/>
            </a:ln>
          </p:spPr>
          <p:txBody>
            <a:bodyPr rtlCol="0" anchor="ctr"/>
            <a:lstStyle/>
            <a:p>
              <a:endParaRPr lang="en-GB" dirty="0"/>
            </a:p>
          </p:txBody>
        </p:sp>
        <p:sp>
          <p:nvSpPr>
            <p:cNvPr id="1309" name="Freeform: Shape 1308">
              <a:extLst>
                <a:ext uri="{FF2B5EF4-FFF2-40B4-BE49-F238E27FC236}">
                  <a16:creationId xmlns:a16="http://schemas.microsoft.com/office/drawing/2014/main" id="{C7D9BCEA-B046-48A5-A7BE-21D1D1F54221}"/>
                </a:ext>
              </a:extLst>
            </p:cNvPr>
            <p:cNvSpPr/>
            <p:nvPr/>
          </p:nvSpPr>
          <p:spPr>
            <a:xfrm>
              <a:off x="2391161" y="1964701"/>
              <a:ext cx="286562" cy="179836"/>
            </a:xfrm>
            <a:custGeom>
              <a:avLst/>
              <a:gdLst>
                <a:gd name="connsiteX0" fmla="*/ 34548 w 286562"/>
                <a:gd name="connsiteY0" fmla="*/ 145195 h 179836"/>
                <a:gd name="connsiteX1" fmla="*/ 55277 w 286562"/>
                <a:gd name="connsiteY1" fmla="*/ 159015 h 179836"/>
                <a:gd name="connsiteX2" fmla="*/ 72551 w 286562"/>
                <a:gd name="connsiteY2" fmla="*/ 179837 h 179836"/>
                <a:gd name="connsiteX3" fmla="*/ 93280 w 286562"/>
                <a:gd name="connsiteY3" fmla="*/ 172927 h 179836"/>
                <a:gd name="connsiteX4" fmla="*/ 117463 w 286562"/>
                <a:gd name="connsiteY4" fmla="*/ 159015 h 179836"/>
                <a:gd name="connsiteX5" fmla="*/ 138099 w 286562"/>
                <a:gd name="connsiteY5" fmla="*/ 159015 h 179836"/>
                <a:gd name="connsiteX6" fmla="*/ 148463 w 286562"/>
                <a:gd name="connsiteY6" fmla="*/ 141741 h 179836"/>
                <a:gd name="connsiteX7" fmla="*/ 155373 w 286562"/>
                <a:gd name="connsiteY7" fmla="*/ 124466 h 179836"/>
                <a:gd name="connsiteX8" fmla="*/ 176102 w 286562"/>
                <a:gd name="connsiteY8" fmla="*/ 114102 h 179836"/>
                <a:gd name="connsiteX9" fmla="*/ 183011 w 286562"/>
                <a:gd name="connsiteY9" fmla="*/ 100283 h 179836"/>
                <a:gd name="connsiteX10" fmla="*/ 207195 w 286562"/>
                <a:gd name="connsiteY10" fmla="*/ 86464 h 179836"/>
                <a:gd name="connsiteX11" fmla="*/ 241743 w 286562"/>
                <a:gd name="connsiteY11" fmla="*/ 69190 h 179836"/>
                <a:gd name="connsiteX12" fmla="*/ 286562 w 286562"/>
                <a:gd name="connsiteY12" fmla="*/ 55370 h 179836"/>
                <a:gd name="connsiteX13" fmla="*/ 272743 w 286562"/>
                <a:gd name="connsiteY13" fmla="*/ 45006 h 179836"/>
                <a:gd name="connsiteX14" fmla="*/ 245198 w 286562"/>
                <a:gd name="connsiteY14" fmla="*/ 27732 h 179836"/>
                <a:gd name="connsiteX15" fmla="*/ 221014 w 286562"/>
                <a:gd name="connsiteY15" fmla="*/ 13913 h 179836"/>
                <a:gd name="connsiteX16" fmla="*/ 196831 w 286562"/>
                <a:gd name="connsiteY16" fmla="*/ 17367 h 179836"/>
                <a:gd name="connsiteX17" fmla="*/ 183011 w 286562"/>
                <a:gd name="connsiteY17" fmla="*/ 27732 h 179836"/>
                <a:gd name="connsiteX18" fmla="*/ 162283 w 286562"/>
                <a:gd name="connsiteY18" fmla="*/ 24277 h 179836"/>
                <a:gd name="connsiteX19" fmla="*/ 127828 w 286562"/>
                <a:gd name="connsiteY19" fmla="*/ 10364 h 179836"/>
                <a:gd name="connsiteX20" fmla="*/ 124373 w 286562"/>
                <a:gd name="connsiteY20" fmla="*/ 0 h 179836"/>
                <a:gd name="connsiteX21" fmla="*/ 93280 w 286562"/>
                <a:gd name="connsiteY21" fmla="*/ 0 h 179836"/>
                <a:gd name="connsiteX22" fmla="*/ 89825 w 286562"/>
                <a:gd name="connsiteY22" fmla="*/ 10364 h 179836"/>
                <a:gd name="connsiteX23" fmla="*/ 58732 w 286562"/>
                <a:gd name="connsiteY23" fmla="*/ 6910 h 179836"/>
                <a:gd name="connsiteX24" fmla="*/ 34548 w 286562"/>
                <a:gd name="connsiteY24" fmla="*/ 10364 h 179836"/>
                <a:gd name="connsiteX25" fmla="*/ 34548 w 286562"/>
                <a:gd name="connsiteY25" fmla="*/ 24277 h 179836"/>
                <a:gd name="connsiteX26" fmla="*/ 48367 w 286562"/>
                <a:gd name="connsiteY26" fmla="*/ 38096 h 179836"/>
                <a:gd name="connsiteX27" fmla="*/ 48367 w 286562"/>
                <a:gd name="connsiteY27" fmla="*/ 48461 h 179836"/>
                <a:gd name="connsiteX28" fmla="*/ 41458 w 286562"/>
                <a:gd name="connsiteY28" fmla="*/ 58825 h 179836"/>
                <a:gd name="connsiteX29" fmla="*/ 34548 w 286562"/>
                <a:gd name="connsiteY29" fmla="*/ 76099 h 179836"/>
                <a:gd name="connsiteX30" fmla="*/ 20729 w 286562"/>
                <a:gd name="connsiteY30" fmla="*/ 93373 h 179836"/>
                <a:gd name="connsiteX31" fmla="*/ 13819 w 286562"/>
                <a:gd name="connsiteY31" fmla="*/ 117557 h 179836"/>
                <a:gd name="connsiteX32" fmla="*/ 0 w 286562"/>
                <a:gd name="connsiteY32" fmla="*/ 131376 h 179836"/>
                <a:gd name="connsiteX33" fmla="*/ 20729 w 286562"/>
                <a:gd name="connsiteY33" fmla="*/ 138286 h 179836"/>
                <a:gd name="connsiteX34" fmla="*/ 34548 w 286562"/>
                <a:gd name="connsiteY34" fmla="*/ 145195 h 17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86562" h="179836">
                  <a:moveTo>
                    <a:pt x="34548" y="145195"/>
                  </a:moveTo>
                  <a:lnTo>
                    <a:pt x="55277" y="159015"/>
                  </a:lnTo>
                  <a:lnTo>
                    <a:pt x="72551" y="179837"/>
                  </a:lnTo>
                  <a:lnTo>
                    <a:pt x="93280" y="172927"/>
                  </a:lnTo>
                  <a:lnTo>
                    <a:pt x="117463" y="159015"/>
                  </a:lnTo>
                  <a:lnTo>
                    <a:pt x="138099" y="159015"/>
                  </a:lnTo>
                  <a:lnTo>
                    <a:pt x="148463" y="141741"/>
                  </a:lnTo>
                  <a:lnTo>
                    <a:pt x="155373" y="124466"/>
                  </a:lnTo>
                  <a:lnTo>
                    <a:pt x="176102" y="114102"/>
                  </a:lnTo>
                  <a:lnTo>
                    <a:pt x="183011" y="100283"/>
                  </a:lnTo>
                  <a:lnTo>
                    <a:pt x="207195" y="86464"/>
                  </a:lnTo>
                  <a:lnTo>
                    <a:pt x="241743" y="69190"/>
                  </a:lnTo>
                  <a:lnTo>
                    <a:pt x="286562" y="55370"/>
                  </a:lnTo>
                  <a:lnTo>
                    <a:pt x="272743" y="45006"/>
                  </a:lnTo>
                  <a:lnTo>
                    <a:pt x="245198" y="27732"/>
                  </a:lnTo>
                  <a:lnTo>
                    <a:pt x="221014" y="13913"/>
                  </a:lnTo>
                  <a:lnTo>
                    <a:pt x="196831" y="17367"/>
                  </a:lnTo>
                  <a:lnTo>
                    <a:pt x="183011" y="27732"/>
                  </a:lnTo>
                  <a:lnTo>
                    <a:pt x="162283" y="24277"/>
                  </a:lnTo>
                  <a:lnTo>
                    <a:pt x="127828" y="10364"/>
                  </a:lnTo>
                  <a:lnTo>
                    <a:pt x="124373" y="0"/>
                  </a:lnTo>
                  <a:lnTo>
                    <a:pt x="93280" y="0"/>
                  </a:lnTo>
                  <a:lnTo>
                    <a:pt x="89825" y="10364"/>
                  </a:lnTo>
                  <a:lnTo>
                    <a:pt x="58732" y="6910"/>
                  </a:lnTo>
                  <a:lnTo>
                    <a:pt x="34548" y="10364"/>
                  </a:lnTo>
                  <a:lnTo>
                    <a:pt x="34548" y="24277"/>
                  </a:lnTo>
                  <a:lnTo>
                    <a:pt x="48367" y="38096"/>
                  </a:lnTo>
                  <a:lnTo>
                    <a:pt x="48367" y="48461"/>
                  </a:lnTo>
                  <a:lnTo>
                    <a:pt x="41458" y="58825"/>
                  </a:lnTo>
                  <a:lnTo>
                    <a:pt x="34548" y="76099"/>
                  </a:lnTo>
                  <a:lnTo>
                    <a:pt x="20729" y="93373"/>
                  </a:lnTo>
                  <a:lnTo>
                    <a:pt x="13819" y="117557"/>
                  </a:lnTo>
                  <a:lnTo>
                    <a:pt x="0" y="131376"/>
                  </a:lnTo>
                  <a:lnTo>
                    <a:pt x="20729" y="138286"/>
                  </a:lnTo>
                  <a:lnTo>
                    <a:pt x="34548" y="145195"/>
                  </a:lnTo>
                  <a:close/>
                </a:path>
              </a:pathLst>
            </a:custGeom>
            <a:solidFill>
              <a:srgbClr val="CEE3BF"/>
            </a:solidFill>
            <a:ln w="9334" cap="flat">
              <a:noFill/>
              <a:prstDash val="solid"/>
              <a:miter/>
            </a:ln>
          </p:spPr>
          <p:txBody>
            <a:bodyPr rtlCol="0" anchor="ctr"/>
            <a:lstStyle/>
            <a:p>
              <a:endParaRPr lang="en-GB" dirty="0"/>
            </a:p>
          </p:txBody>
        </p:sp>
        <p:sp>
          <p:nvSpPr>
            <p:cNvPr id="1310" name="Freeform: Shape 1309">
              <a:extLst>
                <a:ext uri="{FF2B5EF4-FFF2-40B4-BE49-F238E27FC236}">
                  <a16:creationId xmlns:a16="http://schemas.microsoft.com/office/drawing/2014/main" id="{2E0AA86D-4D59-45F1-B912-A9FA692889CE}"/>
                </a:ext>
              </a:extLst>
            </p:cNvPr>
            <p:cNvSpPr/>
            <p:nvPr/>
          </p:nvSpPr>
          <p:spPr>
            <a:xfrm>
              <a:off x="2581082" y="2030435"/>
              <a:ext cx="490209" cy="235020"/>
            </a:xfrm>
            <a:custGeom>
              <a:avLst/>
              <a:gdLst>
                <a:gd name="connsiteX0" fmla="*/ 483300 w 490209"/>
                <a:gd name="connsiteY0" fmla="*/ 179743 h 235020"/>
                <a:gd name="connsiteX1" fmla="*/ 490209 w 490209"/>
                <a:gd name="connsiteY1" fmla="*/ 172834 h 235020"/>
                <a:gd name="connsiteX2" fmla="*/ 462664 w 490209"/>
                <a:gd name="connsiteY2" fmla="*/ 155560 h 235020"/>
                <a:gd name="connsiteX3" fmla="*/ 448845 w 490209"/>
                <a:gd name="connsiteY3" fmla="*/ 145195 h 235020"/>
                <a:gd name="connsiteX4" fmla="*/ 428116 w 490209"/>
                <a:gd name="connsiteY4" fmla="*/ 141741 h 235020"/>
                <a:gd name="connsiteX5" fmla="*/ 410842 w 490209"/>
                <a:gd name="connsiteY5" fmla="*/ 134831 h 235020"/>
                <a:gd name="connsiteX6" fmla="*/ 393568 w 490209"/>
                <a:gd name="connsiteY6" fmla="*/ 114102 h 235020"/>
                <a:gd name="connsiteX7" fmla="*/ 397023 w 490209"/>
                <a:gd name="connsiteY7" fmla="*/ 103738 h 235020"/>
                <a:gd name="connsiteX8" fmla="*/ 397023 w 490209"/>
                <a:gd name="connsiteY8" fmla="*/ 89825 h 235020"/>
                <a:gd name="connsiteX9" fmla="*/ 383204 w 490209"/>
                <a:gd name="connsiteY9" fmla="*/ 69096 h 235020"/>
                <a:gd name="connsiteX10" fmla="*/ 372839 w 490209"/>
                <a:gd name="connsiteY10" fmla="*/ 41458 h 235020"/>
                <a:gd name="connsiteX11" fmla="*/ 355565 w 490209"/>
                <a:gd name="connsiteY11" fmla="*/ 20729 h 235020"/>
                <a:gd name="connsiteX12" fmla="*/ 331475 w 490209"/>
                <a:gd name="connsiteY12" fmla="*/ 6910 h 235020"/>
                <a:gd name="connsiteX13" fmla="*/ 307291 w 490209"/>
                <a:gd name="connsiteY13" fmla="*/ 0 h 235020"/>
                <a:gd name="connsiteX14" fmla="*/ 293472 w 490209"/>
                <a:gd name="connsiteY14" fmla="*/ 6910 h 235020"/>
                <a:gd name="connsiteX15" fmla="*/ 296927 w 490209"/>
                <a:gd name="connsiteY15" fmla="*/ 27638 h 235020"/>
                <a:gd name="connsiteX16" fmla="*/ 303836 w 490209"/>
                <a:gd name="connsiteY16" fmla="*/ 58732 h 235020"/>
                <a:gd name="connsiteX17" fmla="*/ 314201 w 490209"/>
                <a:gd name="connsiteY17" fmla="*/ 76006 h 235020"/>
                <a:gd name="connsiteX18" fmla="*/ 296927 w 490209"/>
                <a:gd name="connsiteY18" fmla="*/ 82915 h 235020"/>
                <a:gd name="connsiteX19" fmla="*/ 286562 w 490209"/>
                <a:gd name="connsiteY19" fmla="*/ 65641 h 235020"/>
                <a:gd name="connsiteX20" fmla="*/ 279653 w 490209"/>
                <a:gd name="connsiteY20" fmla="*/ 44912 h 235020"/>
                <a:gd name="connsiteX21" fmla="*/ 265834 w 490209"/>
                <a:gd name="connsiteY21" fmla="*/ 27638 h 235020"/>
                <a:gd name="connsiteX22" fmla="*/ 245105 w 490209"/>
                <a:gd name="connsiteY22" fmla="*/ 17274 h 235020"/>
                <a:gd name="connsiteX23" fmla="*/ 234740 w 490209"/>
                <a:gd name="connsiteY23" fmla="*/ 20729 h 235020"/>
                <a:gd name="connsiteX24" fmla="*/ 248559 w 490209"/>
                <a:gd name="connsiteY24" fmla="*/ 31093 h 235020"/>
                <a:gd name="connsiteX25" fmla="*/ 245105 w 490209"/>
                <a:gd name="connsiteY25" fmla="*/ 44912 h 235020"/>
                <a:gd name="connsiteX26" fmla="*/ 220921 w 490209"/>
                <a:gd name="connsiteY26" fmla="*/ 44912 h 235020"/>
                <a:gd name="connsiteX27" fmla="*/ 207195 w 490209"/>
                <a:gd name="connsiteY27" fmla="*/ 48367 h 235020"/>
                <a:gd name="connsiteX28" fmla="*/ 203647 w 490209"/>
                <a:gd name="connsiteY28" fmla="*/ 41458 h 235020"/>
                <a:gd name="connsiteX29" fmla="*/ 210650 w 490209"/>
                <a:gd name="connsiteY29" fmla="*/ 31093 h 235020"/>
                <a:gd name="connsiteX30" fmla="*/ 183011 w 490209"/>
                <a:gd name="connsiteY30" fmla="*/ 20729 h 235020"/>
                <a:gd name="connsiteX31" fmla="*/ 155373 w 490209"/>
                <a:gd name="connsiteY31" fmla="*/ 13819 h 235020"/>
                <a:gd name="connsiteX32" fmla="*/ 145009 w 490209"/>
                <a:gd name="connsiteY32" fmla="*/ 38003 h 235020"/>
                <a:gd name="connsiteX33" fmla="*/ 120825 w 490209"/>
                <a:gd name="connsiteY33" fmla="*/ 31093 h 235020"/>
                <a:gd name="connsiteX34" fmla="*/ 127734 w 490209"/>
                <a:gd name="connsiteY34" fmla="*/ 20729 h 235020"/>
                <a:gd name="connsiteX35" fmla="*/ 131189 w 490209"/>
                <a:gd name="connsiteY35" fmla="*/ 13819 h 235020"/>
                <a:gd name="connsiteX36" fmla="*/ 127734 w 490209"/>
                <a:gd name="connsiteY36" fmla="*/ 0 h 235020"/>
                <a:gd name="connsiteX37" fmla="*/ 86277 w 490209"/>
                <a:gd name="connsiteY37" fmla="*/ 6910 h 235020"/>
                <a:gd name="connsiteX38" fmla="*/ 44912 w 490209"/>
                <a:gd name="connsiteY38" fmla="*/ 24184 h 235020"/>
                <a:gd name="connsiteX39" fmla="*/ 17274 w 490209"/>
                <a:gd name="connsiteY39" fmla="*/ 38003 h 235020"/>
                <a:gd name="connsiteX40" fmla="*/ 20729 w 490209"/>
                <a:gd name="connsiteY40" fmla="*/ 51822 h 235020"/>
                <a:gd name="connsiteX41" fmla="*/ 13819 w 490209"/>
                <a:gd name="connsiteY41" fmla="*/ 62187 h 235020"/>
                <a:gd name="connsiteX42" fmla="*/ 0 w 490209"/>
                <a:gd name="connsiteY42" fmla="*/ 72551 h 235020"/>
                <a:gd name="connsiteX43" fmla="*/ 0 w 490209"/>
                <a:gd name="connsiteY43" fmla="*/ 86370 h 235020"/>
                <a:gd name="connsiteX44" fmla="*/ 24184 w 490209"/>
                <a:gd name="connsiteY44" fmla="*/ 89825 h 235020"/>
                <a:gd name="connsiteX45" fmla="*/ 34548 w 490209"/>
                <a:gd name="connsiteY45" fmla="*/ 96735 h 235020"/>
                <a:gd name="connsiteX46" fmla="*/ 58732 w 490209"/>
                <a:gd name="connsiteY46" fmla="*/ 96735 h 235020"/>
                <a:gd name="connsiteX47" fmla="*/ 79367 w 490209"/>
                <a:gd name="connsiteY47" fmla="*/ 89825 h 235020"/>
                <a:gd name="connsiteX48" fmla="*/ 96641 w 490209"/>
                <a:gd name="connsiteY48" fmla="*/ 93280 h 235020"/>
                <a:gd name="connsiteX49" fmla="*/ 79367 w 490209"/>
                <a:gd name="connsiteY49" fmla="*/ 100189 h 235020"/>
                <a:gd name="connsiteX50" fmla="*/ 51822 w 490209"/>
                <a:gd name="connsiteY50" fmla="*/ 107192 h 235020"/>
                <a:gd name="connsiteX51" fmla="*/ 24184 w 490209"/>
                <a:gd name="connsiteY51" fmla="*/ 107192 h 235020"/>
                <a:gd name="connsiteX52" fmla="*/ 17274 w 490209"/>
                <a:gd name="connsiteY52" fmla="*/ 127921 h 235020"/>
                <a:gd name="connsiteX53" fmla="*/ 48367 w 490209"/>
                <a:gd name="connsiteY53" fmla="*/ 138286 h 235020"/>
                <a:gd name="connsiteX54" fmla="*/ 89732 w 490209"/>
                <a:gd name="connsiteY54" fmla="*/ 134831 h 235020"/>
                <a:gd name="connsiteX55" fmla="*/ 148463 w 490209"/>
                <a:gd name="connsiteY55" fmla="*/ 131376 h 235020"/>
                <a:gd name="connsiteX56" fmla="*/ 179557 w 490209"/>
                <a:gd name="connsiteY56" fmla="*/ 141741 h 235020"/>
                <a:gd name="connsiteX57" fmla="*/ 189921 w 490209"/>
                <a:gd name="connsiteY57" fmla="*/ 155560 h 235020"/>
                <a:gd name="connsiteX58" fmla="*/ 169192 w 490209"/>
                <a:gd name="connsiteY58" fmla="*/ 155560 h 235020"/>
                <a:gd name="connsiteX59" fmla="*/ 138099 w 490209"/>
                <a:gd name="connsiteY59" fmla="*/ 152105 h 235020"/>
                <a:gd name="connsiteX60" fmla="*/ 82822 w 490209"/>
                <a:gd name="connsiteY60" fmla="*/ 155560 h 235020"/>
                <a:gd name="connsiteX61" fmla="*/ 51822 w 490209"/>
                <a:gd name="connsiteY61" fmla="*/ 159015 h 235020"/>
                <a:gd name="connsiteX62" fmla="*/ 38003 w 490209"/>
                <a:gd name="connsiteY62" fmla="*/ 172834 h 235020"/>
                <a:gd name="connsiteX63" fmla="*/ 69096 w 490209"/>
                <a:gd name="connsiteY63" fmla="*/ 203927 h 235020"/>
                <a:gd name="connsiteX64" fmla="*/ 141554 w 490209"/>
                <a:gd name="connsiteY64" fmla="*/ 203927 h 235020"/>
                <a:gd name="connsiteX65" fmla="*/ 145009 w 490209"/>
                <a:gd name="connsiteY65" fmla="*/ 224656 h 235020"/>
                <a:gd name="connsiteX66" fmla="*/ 155373 w 490209"/>
                <a:gd name="connsiteY66" fmla="*/ 235020 h 235020"/>
                <a:gd name="connsiteX67" fmla="*/ 262379 w 490209"/>
                <a:gd name="connsiteY67" fmla="*/ 231566 h 235020"/>
                <a:gd name="connsiteX68" fmla="*/ 290017 w 490209"/>
                <a:gd name="connsiteY68" fmla="*/ 217746 h 235020"/>
                <a:gd name="connsiteX69" fmla="*/ 317656 w 490209"/>
                <a:gd name="connsiteY69" fmla="*/ 210837 h 235020"/>
                <a:gd name="connsiteX70" fmla="*/ 338291 w 490209"/>
                <a:gd name="connsiteY70" fmla="*/ 186653 h 235020"/>
                <a:gd name="connsiteX71" fmla="*/ 348656 w 490209"/>
                <a:gd name="connsiteY71" fmla="*/ 210837 h 235020"/>
                <a:gd name="connsiteX72" fmla="*/ 365929 w 490209"/>
                <a:gd name="connsiteY72" fmla="*/ 210837 h 235020"/>
                <a:gd name="connsiteX73" fmla="*/ 372839 w 490209"/>
                <a:gd name="connsiteY73" fmla="*/ 221201 h 235020"/>
                <a:gd name="connsiteX74" fmla="*/ 414297 w 490209"/>
                <a:gd name="connsiteY74" fmla="*/ 224656 h 235020"/>
                <a:gd name="connsiteX75" fmla="*/ 452300 w 490209"/>
                <a:gd name="connsiteY75" fmla="*/ 221201 h 235020"/>
                <a:gd name="connsiteX76" fmla="*/ 469574 w 490209"/>
                <a:gd name="connsiteY76" fmla="*/ 217746 h 235020"/>
                <a:gd name="connsiteX77" fmla="*/ 462664 w 490209"/>
                <a:gd name="connsiteY77" fmla="*/ 200472 h 235020"/>
                <a:gd name="connsiteX78" fmla="*/ 441935 w 490209"/>
                <a:gd name="connsiteY78" fmla="*/ 193563 h 235020"/>
                <a:gd name="connsiteX79" fmla="*/ 438480 w 490209"/>
                <a:gd name="connsiteY79" fmla="*/ 183198 h 235020"/>
                <a:gd name="connsiteX80" fmla="*/ 455755 w 490209"/>
                <a:gd name="connsiteY80" fmla="*/ 179743 h 235020"/>
                <a:gd name="connsiteX81" fmla="*/ 483300 w 490209"/>
                <a:gd name="connsiteY81" fmla="*/ 179743 h 235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90209" h="235020">
                  <a:moveTo>
                    <a:pt x="483300" y="179743"/>
                  </a:moveTo>
                  <a:lnTo>
                    <a:pt x="490209" y="172834"/>
                  </a:lnTo>
                  <a:lnTo>
                    <a:pt x="462664" y="155560"/>
                  </a:lnTo>
                  <a:lnTo>
                    <a:pt x="448845" y="145195"/>
                  </a:lnTo>
                  <a:lnTo>
                    <a:pt x="428116" y="141741"/>
                  </a:lnTo>
                  <a:lnTo>
                    <a:pt x="410842" y="134831"/>
                  </a:lnTo>
                  <a:lnTo>
                    <a:pt x="393568" y="114102"/>
                  </a:lnTo>
                  <a:lnTo>
                    <a:pt x="397023" y="103738"/>
                  </a:lnTo>
                  <a:lnTo>
                    <a:pt x="397023" y="89825"/>
                  </a:lnTo>
                  <a:lnTo>
                    <a:pt x="383204" y="69096"/>
                  </a:lnTo>
                  <a:lnTo>
                    <a:pt x="372839" y="41458"/>
                  </a:lnTo>
                  <a:lnTo>
                    <a:pt x="355565" y="20729"/>
                  </a:lnTo>
                  <a:lnTo>
                    <a:pt x="331475" y="6910"/>
                  </a:lnTo>
                  <a:lnTo>
                    <a:pt x="307291" y="0"/>
                  </a:lnTo>
                  <a:lnTo>
                    <a:pt x="293472" y="6910"/>
                  </a:lnTo>
                  <a:lnTo>
                    <a:pt x="296927" y="27638"/>
                  </a:lnTo>
                  <a:lnTo>
                    <a:pt x="303836" y="58732"/>
                  </a:lnTo>
                  <a:lnTo>
                    <a:pt x="314201" y="76006"/>
                  </a:lnTo>
                  <a:lnTo>
                    <a:pt x="296927" y="82915"/>
                  </a:lnTo>
                  <a:lnTo>
                    <a:pt x="286562" y="65641"/>
                  </a:lnTo>
                  <a:lnTo>
                    <a:pt x="279653" y="44912"/>
                  </a:lnTo>
                  <a:lnTo>
                    <a:pt x="265834" y="27638"/>
                  </a:lnTo>
                  <a:lnTo>
                    <a:pt x="245105" y="17274"/>
                  </a:lnTo>
                  <a:lnTo>
                    <a:pt x="234740" y="20729"/>
                  </a:lnTo>
                  <a:lnTo>
                    <a:pt x="248559" y="31093"/>
                  </a:lnTo>
                  <a:lnTo>
                    <a:pt x="245105" y="44912"/>
                  </a:lnTo>
                  <a:lnTo>
                    <a:pt x="220921" y="44912"/>
                  </a:lnTo>
                  <a:lnTo>
                    <a:pt x="207195" y="48367"/>
                  </a:lnTo>
                  <a:lnTo>
                    <a:pt x="203647" y="41458"/>
                  </a:lnTo>
                  <a:lnTo>
                    <a:pt x="210650" y="31093"/>
                  </a:lnTo>
                  <a:lnTo>
                    <a:pt x="183011" y="20729"/>
                  </a:lnTo>
                  <a:lnTo>
                    <a:pt x="155373" y="13819"/>
                  </a:lnTo>
                  <a:lnTo>
                    <a:pt x="145009" y="38003"/>
                  </a:lnTo>
                  <a:lnTo>
                    <a:pt x="120825" y="31093"/>
                  </a:lnTo>
                  <a:lnTo>
                    <a:pt x="127734" y="20729"/>
                  </a:lnTo>
                  <a:lnTo>
                    <a:pt x="131189" y="13819"/>
                  </a:lnTo>
                  <a:lnTo>
                    <a:pt x="127734" y="0"/>
                  </a:lnTo>
                  <a:lnTo>
                    <a:pt x="86277" y="6910"/>
                  </a:lnTo>
                  <a:lnTo>
                    <a:pt x="44912" y="24184"/>
                  </a:lnTo>
                  <a:lnTo>
                    <a:pt x="17274" y="38003"/>
                  </a:lnTo>
                  <a:lnTo>
                    <a:pt x="20729" y="51822"/>
                  </a:lnTo>
                  <a:lnTo>
                    <a:pt x="13819" y="62187"/>
                  </a:lnTo>
                  <a:lnTo>
                    <a:pt x="0" y="72551"/>
                  </a:lnTo>
                  <a:lnTo>
                    <a:pt x="0" y="86370"/>
                  </a:lnTo>
                  <a:lnTo>
                    <a:pt x="24184" y="89825"/>
                  </a:lnTo>
                  <a:lnTo>
                    <a:pt x="34548" y="96735"/>
                  </a:lnTo>
                  <a:lnTo>
                    <a:pt x="58732" y="96735"/>
                  </a:lnTo>
                  <a:lnTo>
                    <a:pt x="79367" y="89825"/>
                  </a:lnTo>
                  <a:lnTo>
                    <a:pt x="96641" y="93280"/>
                  </a:lnTo>
                  <a:lnTo>
                    <a:pt x="79367" y="100189"/>
                  </a:lnTo>
                  <a:lnTo>
                    <a:pt x="51822" y="107192"/>
                  </a:lnTo>
                  <a:lnTo>
                    <a:pt x="24184" y="107192"/>
                  </a:lnTo>
                  <a:lnTo>
                    <a:pt x="17274" y="127921"/>
                  </a:lnTo>
                  <a:lnTo>
                    <a:pt x="48367" y="138286"/>
                  </a:lnTo>
                  <a:lnTo>
                    <a:pt x="89732" y="134831"/>
                  </a:lnTo>
                  <a:lnTo>
                    <a:pt x="148463" y="131376"/>
                  </a:lnTo>
                  <a:lnTo>
                    <a:pt x="179557" y="141741"/>
                  </a:lnTo>
                  <a:lnTo>
                    <a:pt x="189921" y="155560"/>
                  </a:lnTo>
                  <a:lnTo>
                    <a:pt x="169192" y="155560"/>
                  </a:lnTo>
                  <a:lnTo>
                    <a:pt x="138099" y="152105"/>
                  </a:lnTo>
                  <a:lnTo>
                    <a:pt x="82822" y="155560"/>
                  </a:lnTo>
                  <a:lnTo>
                    <a:pt x="51822" y="159015"/>
                  </a:lnTo>
                  <a:lnTo>
                    <a:pt x="38003" y="172834"/>
                  </a:lnTo>
                  <a:lnTo>
                    <a:pt x="69096" y="203927"/>
                  </a:lnTo>
                  <a:lnTo>
                    <a:pt x="141554" y="203927"/>
                  </a:lnTo>
                  <a:lnTo>
                    <a:pt x="145009" y="224656"/>
                  </a:lnTo>
                  <a:lnTo>
                    <a:pt x="155373" y="235020"/>
                  </a:lnTo>
                  <a:lnTo>
                    <a:pt x="262379" y="231566"/>
                  </a:lnTo>
                  <a:lnTo>
                    <a:pt x="290017" y="217746"/>
                  </a:lnTo>
                  <a:lnTo>
                    <a:pt x="317656" y="210837"/>
                  </a:lnTo>
                  <a:lnTo>
                    <a:pt x="338291" y="186653"/>
                  </a:lnTo>
                  <a:lnTo>
                    <a:pt x="348656" y="210837"/>
                  </a:lnTo>
                  <a:lnTo>
                    <a:pt x="365929" y="210837"/>
                  </a:lnTo>
                  <a:lnTo>
                    <a:pt x="372839" y="221201"/>
                  </a:lnTo>
                  <a:lnTo>
                    <a:pt x="414297" y="224656"/>
                  </a:lnTo>
                  <a:lnTo>
                    <a:pt x="452300" y="221201"/>
                  </a:lnTo>
                  <a:lnTo>
                    <a:pt x="469574" y="217746"/>
                  </a:lnTo>
                  <a:lnTo>
                    <a:pt x="462664" y="200472"/>
                  </a:lnTo>
                  <a:lnTo>
                    <a:pt x="441935" y="193563"/>
                  </a:lnTo>
                  <a:lnTo>
                    <a:pt x="438480" y="183198"/>
                  </a:lnTo>
                  <a:lnTo>
                    <a:pt x="455755" y="179743"/>
                  </a:lnTo>
                  <a:lnTo>
                    <a:pt x="483300" y="179743"/>
                  </a:lnTo>
                  <a:close/>
                </a:path>
              </a:pathLst>
            </a:custGeom>
            <a:solidFill>
              <a:srgbClr val="CEE3BF"/>
            </a:solidFill>
            <a:ln w="9334" cap="flat">
              <a:noFill/>
              <a:prstDash val="solid"/>
              <a:miter/>
            </a:ln>
          </p:spPr>
          <p:txBody>
            <a:bodyPr rtlCol="0" anchor="ctr"/>
            <a:lstStyle/>
            <a:p>
              <a:endParaRPr lang="en-GB" dirty="0"/>
            </a:p>
          </p:txBody>
        </p:sp>
        <p:sp>
          <p:nvSpPr>
            <p:cNvPr id="1311" name="Freeform: Shape 1310">
              <a:extLst>
                <a:ext uri="{FF2B5EF4-FFF2-40B4-BE49-F238E27FC236}">
                  <a16:creationId xmlns:a16="http://schemas.microsoft.com/office/drawing/2014/main" id="{3578B3DE-A541-49E2-AF03-E73CD8590005}"/>
                </a:ext>
              </a:extLst>
            </p:cNvPr>
            <p:cNvSpPr/>
            <p:nvPr/>
          </p:nvSpPr>
          <p:spPr>
            <a:xfrm>
              <a:off x="2619085" y="1833418"/>
              <a:ext cx="327926" cy="141740"/>
            </a:xfrm>
            <a:custGeom>
              <a:avLst/>
              <a:gdLst>
                <a:gd name="connsiteX0" fmla="*/ 31093 w 327926"/>
                <a:gd name="connsiteY0" fmla="*/ 41458 h 141740"/>
                <a:gd name="connsiteX1" fmla="*/ 27639 w 327926"/>
                <a:gd name="connsiteY1" fmla="*/ 51822 h 141740"/>
                <a:gd name="connsiteX2" fmla="*/ 58638 w 327926"/>
                <a:gd name="connsiteY2" fmla="*/ 58732 h 141740"/>
                <a:gd name="connsiteX3" fmla="*/ 17274 w 327926"/>
                <a:gd name="connsiteY3" fmla="*/ 62187 h 141740"/>
                <a:gd name="connsiteX4" fmla="*/ 6910 w 327926"/>
                <a:gd name="connsiteY4" fmla="*/ 72551 h 141740"/>
                <a:gd name="connsiteX5" fmla="*/ 31093 w 327926"/>
                <a:gd name="connsiteY5" fmla="*/ 79461 h 141740"/>
                <a:gd name="connsiteX6" fmla="*/ 0 w 327926"/>
                <a:gd name="connsiteY6" fmla="*/ 82915 h 141740"/>
                <a:gd name="connsiteX7" fmla="*/ 3455 w 327926"/>
                <a:gd name="connsiteY7" fmla="*/ 96735 h 141740"/>
                <a:gd name="connsiteX8" fmla="*/ 34548 w 327926"/>
                <a:gd name="connsiteY8" fmla="*/ 100189 h 141740"/>
                <a:gd name="connsiteX9" fmla="*/ 51729 w 327926"/>
                <a:gd name="connsiteY9" fmla="*/ 107099 h 141740"/>
                <a:gd name="connsiteX10" fmla="*/ 82822 w 327926"/>
                <a:gd name="connsiteY10" fmla="*/ 100189 h 141740"/>
                <a:gd name="connsiteX11" fmla="*/ 89732 w 327926"/>
                <a:gd name="connsiteY11" fmla="*/ 86370 h 141740"/>
                <a:gd name="connsiteX12" fmla="*/ 107006 w 327926"/>
                <a:gd name="connsiteY12" fmla="*/ 82915 h 141740"/>
                <a:gd name="connsiteX13" fmla="*/ 100096 w 327926"/>
                <a:gd name="connsiteY13" fmla="*/ 96735 h 141740"/>
                <a:gd name="connsiteX14" fmla="*/ 138099 w 327926"/>
                <a:gd name="connsiteY14" fmla="*/ 96735 h 141740"/>
                <a:gd name="connsiteX15" fmla="*/ 169192 w 327926"/>
                <a:gd name="connsiteY15" fmla="*/ 96735 h 141740"/>
                <a:gd name="connsiteX16" fmla="*/ 165644 w 327926"/>
                <a:gd name="connsiteY16" fmla="*/ 107099 h 141740"/>
                <a:gd name="connsiteX17" fmla="*/ 138099 w 327926"/>
                <a:gd name="connsiteY17" fmla="*/ 110554 h 141740"/>
                <a:gd name="connsiteX18" fmla="*/ 107006 w 327926"/>
                <a:gd name="connsiteY18" fmla="*/ 110554 h 141740"/>
                <a:gd name="connsiteX19" fmla="*/ 86277 w 327926"/>
                <a:gd name="connsiteY19" fmla="*/ 120918 h 141740"/>
                <a:gd name="connsiteX20" fmla="*/ 100096 w 327926"/>
                <a:gd name="connsiteY20" fmla="*/ 134738 h 141740"/>
                <a:gd name="connsiteX21" fmla="*/ 127735 w 327926"/>
                <a:gd name="connsiteY21" fmla="*/ 141741 h 141740"/>
                <a:gd name="connsiteX22" fmla="*/ 165644 w 327926"/>
                <a:gd name="connsiteY22" fmla="*/ 131283 h 141740"/>
                <a:gd name="connsiteX23" fmla="*/ 196737 w 327926"/>
                <a:gd name="connsiteY23" fmla="*/ 114009 h 141740"/>
                <a:gd name="connsiteX24" fmla="*/ 231285 w 327926"/>
                <a:gd name="connsiteY24" fmla="*/ 110554 h 141740"/>
                <a:gd name="connsiteX25" fmla="*/ 255469 w 327926"/>
                <a:gd name="connsiteY25" fmla="*/ 100189 h 141740"/>
                <a:gd name="connsiteX26" fmla="*/ 290017 w 327926"/>
                <a:gd name="connsiteY26" fmla="*/ 110554 h 141740"/>
                <a:gd name="connsiteX27" fmla="*/ 314107 w 327926"/>
                <a:gd name="connsiteY27" fmla="*/ 100189 h 141740"/>
                <a:gd name="connsiteX28" fmla="*/ 327927 w 327926"/>
                <a:gd name="connsiteY28" fmla="*/ 82915 h 141740"/>
                <a:gd name="connsiteX29" fmla="*/ 327927 w 327926"/>
                <a:gd name="connsiteY29" fmla="*/ 58732 h 141740"/>
                <a:gd name="connsiteX30" fmla="*/ 317562 w 327926"/>
                <a:gd name="connsiteY30" fmla="*/ 48367 h 141740"/>
                <a:gd name="connsiteX31" fmla="*/ 296927 w 327926"/>
                <a:gd name="connsiteY31" fmla="*/ 48367 h 141740"/>
                <a:gd name="connsiteX32" fmla="*/ 290017 w 327926"/>
                <a:gd name="connsiteY32" fmla="*/ 58732 h 141740"/>
                <a:gd name="connsiteX33" fmla="*/ 279653 w 327926"/>
                <a:gd name="connsiteY33" fmla="*/ 58732 h 141740"/>
                <a:gd name="connsiteX34" fmla="*/ 255469 w 327926"/>
                <a:gd name="connsiteY34" fmla="*/ 51822 h 141740"/>
                <a:gd name="connsiteX35" fmla="*/ 252014 w 327926"/>
                <a:gd name="connsiteY35" fmla="*/ 38003 h 141740"/>
                <a:gd name="connsiteX36" fmla="*/ 255469 w 327926"/>
                <a:gd name="connsiteY36" fmla="*/ 27638 h 141740"/>
                <a:gd name="connsiteX37" fmla="*/ 245105 w 327926"/>
                <a:gd name="connsiteY37" fmla="*/ 13819 h 141740"/>
                <a:gd name="connsiteX38" fmla="*/ 241650 w 327926"/>
                <a:gd name="connsiteY38" fmla="*/ 3455 h 141740"/>
                <a:gd name="connsiteX39" fmla="*/ 224376 w 327926"/>
                <a:gd name="connsiteY39" fmla="*/ 0 h 141740"/>
                <a:gd name="connsiteX40" fmla="*/ 210557 w 327926"/>
                <a:gd name="connsiteY40" fmla="*/ 17274 h 141740"/>
                <a:gd name="connsiteX41" fmla="*/ 200192 w 327926"/>
                <a:gd name="connsiteY41" fmla="*/ 34548 h 141740"/>
                <a:gd name="connsiteX42" fmla="*/ 220921 w 327926"/>
                <a:gd name="connsiteY42" fmla="*/ 41458 h 141740"/>
                <a:gd name="connsiteX43" fmla="*/ 224376 w 327926"/>
                <a:gd name="connsiteY43" fmla="*/ 48367 h 141740"/>
                <a:gd name="connsiteX44" fmla="*/ 203647 w 327926"/>
                <a:gd name="connsiteY44" fmla="*/ 58732 h 141740"/>
                <a:gd name="connsiteX45" fmla="*/ 234740 w 327926"/>
                <a:gd name="connsiteY45" fmla="*/ 65641 h 141740"/>
                <a:gd name="connsiteX46" fmla="*/ 234740 w 327926"/>
                <a:gd name="connsiteY46" fmla="*/ 76006 h 141740"/>
                <a:gd name="connsiteX47" fmla="*/ 172647 w 327926"/>
                <a:gd name="connsiteY47" fmla="*/ 76006 h 141740"/>
                <a:gd name="connsiteX48" fmla="*/ 169192 w 327926"/>
                <a:gd name="connsiteY48" fmla="*/ 72551 h 141740"/>
                <a:gd name="connsiteX49" fmla="*/ 169192 w 327926"/>
                <a:gd name="connsiteY49" fmla="*/ 69096 h 141740"/>
                <a:gd name="connsiteX50" fmla="*/ 169192 w 327926"/>
                <a:gd name="connsiteY50" fmla="*/ 62187 h 141740"/>
                <a:gd name="connsiteX51" fmla="*/ 151918 w 327926"/>
                <a:gd name="connsiteY51" fmla="*/ 48367 h 141740"/>
                <a:gd name="connsiteX52" fmla="*/ 127735 w 327926"/>
                <a:gd name="connsiteY52" fmla="*/ 34548 h 141740"/>
                <a:gd name="connsiteX53" fmla="*/ 113915 w 327926"/>
                <a:gd name="connsiteY53" fmla="*/ 34548 h 141740"/>
                <a:gd name="connsiteX54" fmla="*/ 100096 w 327926"/>
                <a:gd name="connsiteY54" fmla="*/ 38003 h 141740"/>
                <a:gd name="connsiteX55" fmla="*/ 86277 w 327926"/>
                <a:gd name="connsiteY55" fmla="*/ 24184 h 141740"/>
                <a:gd name="connsiteX56" fmla="*/ 58638 w 327926"/>
                <a:gd name="connsiteY56" fmla="*/ 27638 h 141740"/>
                <a:gd name="connsiteX57" fmla="*/ 44819 w 327926"/>
                <a:gd name="connsiteY57" fmla="*/ 34548 h 141740"/>
                <a:gd name="connsiteX58" fmla="*/ 31093 w 327926"/>
                <a:gd name="connsiteY58" fmla="*/ 41458 h 1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27926" h="141740">
                  <a:moveTo>
                    <a:pt x="31093" y="41458"/>
                  </a:moveTo>
                  <a:lnTo>
                    <a:pt x="27639" y="51822"/>
                  </a:lnTo>
                  <a:lnTo>
                    <a:pt x="58638" y="58732"/>
                  </a:lnTo>
                  <a:lnTo>
                    <a:pt x="17274" y="62187"/>
                  </a:lnTo>
                  <a:lnTo>
                    <a:pt x="6910" y="72551"/>
                  </a:lnTo>
                  <a:lnTo>
                    <a:pt x="31093" y="79461"/>
                  </a:lnTo>
                  <a:lnTo>
                    <a:pt x="0" y="82915"/>
                  </a:lnTo>
                  <a:lnTo>
                    <a:pt x="3455" y="96735"/>
                  </a:lnTo>
                  <a:lnTo>
                    <a:pt x="34548" y="100189"/>
                  </a:lnTo>
                  <a:lnTo>
                    <a:pt x="51729" y="107099"/>
                  </a:lnTo>
                  <a:lnTo>
                    <a:pt x="82822" y="100189"/>
                  </a:lnTo>
                  <a:lnTo>
                    <a:pt x="89732" y="86370"/>
                  </a:lnTo>
                  <a:lnTo>
                    <a:pt x="107006" y="82915"/>
                  </a:lnTo>
                  <a:lnTo>
                    <a:pt x="100096" y="96735"/>
                  </a:lnTo>
                  <a:lnTo>
                    <a:pt x="138099" y="96735"/>
                  </a:lnTo>
                  <a:lnTo>
                    <a:pt x="169192" y="96735"/>
                  </a:lnTo>
                  <a:lnTo>
                    <a:pt x="165644" y="107099"/>
                  </a:lnTo>
                  <a:lnTo>
                    <a:pt x="138099" y="110554"/>
                  </a:lnTo>
                  <a:lnTo>
                    <a:pt x="107006" y="110554"/>
                  </a:lnTo>
                  <a:lnTo>
                    <a:pt x="86277" y="120918"/>
                  </a:lnTo>
                  <a:lnTo>
                    <a:pt x="100096" y="134738"/>
                  </a:lnTo>
                  <a:lnTo>
                    <a:pt x="127735" y="141741"/>
                  </a:lnTo>
                  <a:lnTo>
                    <a:pt x="165644" y="131283"/>
                  </a:lnTo>
                  <a:lnTo>
                    <a:pt x="196737" y="114009"/>
                  </a:lnTo>
                  <a:lnTo>
                    <a:pt x="231285" y="110554"/>
                  </a:lnTo>
                  <a:lnTo>
                    <a:pt x="255469" y="100189"/>
                  </a:lnTo>
                  <a:lnTo>
                    <a:pt x="290017" y="110554"/>
                  </a:lnTo>
                  <a:lnTo>
                    <a:pt x="314107" y="100189"/>
                  </a:lnTo>
                  <a:lnTo>
                    <a:pt x="327927" y="82915"/>
                  </a:lnTo>
                  <a:lnTo>
                    <a:pt x="327927" y="58732"/>
                  </a:lnTo>
                  <a:lnTo>
                    <a:pt x="317562" y="48367"/>
                  </a:lnTo>
                  <a:lnTo>
                    <a:pt x="296927" y="48367"/>
                  </a:lnTo>
                  <a:lnTo>
                    <a:pt x="290017" y="58732"/>
                  </a:lnTo>
                  <a:lnTo>
                    <a:pt x="279653" y="58732"/>
                  </a:lnTo>
                  <a:lnTo>
                    <a:pt x="255469" y="51822"/>
                  </a:lnTo>
                  <a:lnTo>
                    <a:pt x="252014" y="38003"/>
                  </a:lnTo>
                  <a:lnTo>
                    <a:pt x="255469" y="27638"/>
                  </a:lnTo>
                  <a:lnTo>
                    <a:pt x="245105" y="13819"/>
                  </a:lnTo>
                  <a:lnTo>
                    <a:pt x="241650" y="3455"/>
                  </a:lnTo>
                  <a:lnTo>
                    <a:pt x="224376" y="0"/>
                  </a:lnTo>
                  <a:lnTo>
                    <a:pt x="210557" y="17274"/>
                  </a:lnTo>
                  <a:lnTo>
                    <a:pt x="200192" y="34548"/>
                  </a:lnTo>
                  <a:lnTo>
                    <a:pt x="220921" y="41458"/>
                  </a:lnTo>
                  <a:lnTo>
                    <a:pt x="224376" y="48367"/>
                  </a:lnTo>
                  <a:lnTo>
                    <a:pt x="203647" y="58732"/>
                  </a:lnTo>
                  <a:lnTo>
                    <a:pt x="234740" y="65641"/>
                  </a:lnTo>
                  <a:lnTo>
                    <a:pt x="234740" y="76006"/>
                  </a:lnTo>
                  <a:lnTo>
                    <a:pt x="172647" y="76006"/>
                  </a:lnTo>
                  <a:lnTo>
                    <a:pt x="169192" y="72551"/>
                  </a:lnTo>
                  <a:lnTo>
                    <a:pt x="169192" y="69096"/>
                  </a:lnTo>
                  <a:lnTo>
                    <a:pt x="169192" y="62187"/>
                  </a:lnTo>
                  <a:lnTo>
                    <a:pt x="151918" y="48367"/>
                  </a:lnTo>
                  <a:lnTo>
                    <a:pt x="127735" y="34548"/>
                  </a:lnTo>
                  <a:lnTo>
                    <a:pt x="113915" y="34548"/>
                  </a:lnTo>
                  <a:lnTo>
                    <a:pt x="100096" y="38003"/>
                  </a:lnTo>
                  <a:lnTo>
                    <a:pt x="86277" y="24184"/>
                  </a:lnTo>
                  <a:lnTo>
                    <a:pt x="58638" y="27638"/>
                  </a:lnTo>
                  <a:lnTo>
                    <a:pt x="44819" y="34548"/>
                  </a:lnTo>
                  <a:lnTo>
                    <a:pt x="31093" y="41458"/>
                  </a:lnTo>
                  <a:close/>
                </a:path>
              </a:pathLst>
            </a:custGeom>
            <a:solidFill>
              <a:srgbClr val="CEE3BF"/>
            </a:solidFill>
            <a:ln w="9334" cap="flat">
              <a:noFill/>
              <a:prstDash val="solid"/>
              <a:miter/>
            </a:ln>
          </p:spPr>
          <p:txBody>
            <a:bodyPr rtlCol="0" anchor="ctr"/>
            <a:lstStyle/>
            <a:p>
              <a:endParaRPr lang="en-GB" dirty="0"/>
            </a:p>
          </p:txBody>
        </p:sp>
        <p:sp>
          <p:nvSpPr>
            <p:cNvPr id="1312" name="Freeform: Shape 1311">
              <a:extLst>
                <a:ext uri="{FF2B5EF4-FFF2-40B4-BE49-F238E27FC236}">
                  <a16:creationId xmlns:a16="http://schemas.microsoft.com/office/drawing/2014/main" id="{F9CEFC1C-F5D1-4170-BDEF-A7FF49C7803A}"/>
                </a:ext>
              </a:extLst>
            </p:cNvPr>
            <p:cNvSpPr/>
            <p:nvPr/>
          </p:nvSpPr>
          <p:spPr>
            <a:xfrm>
              <a:off x="2947012" y="1684768"/>
              <a:ext cx="183011" cy="96734"/>
            </a:xfrm>
            <a:custGeom>
              <a:avLst/>
              <a:gdLst>
                <a:gd name="connsiteX0" fmla="*/ 44913 w 183011"/>
                <a:gd name="connsiteY0" fmla="*/ 34548 h 96734"/>
                <a:gd name="connsiteX1" fmla="*/ 58732 w 183011"/>
                <a:gd name="connsiteY1" fmla="*/ 48367 h 96734"/>
                <a:gd name="connsiteX2" fmla="*/ 55277 w 183011"/>
                <a:gd name="connsiteY2" fmla="*/ 51822 h 96734"/>
                <a:gd name="connsiteX3" fmla="*/ 31093 w 183011"/>
                <a:gd name="connsiteY3" fmla="*/ 48367 h 96734"/>
                <a:gd name="connsiteX4" fmla="*/ 17274 w 183011"/>
                <a:gd name="connsiteY4" fmla="*/ 51822 h 96734"/>
                <a:gd name="connsiteX5" fmla="*/ 13819 w 183011"/>
                <a:gd name="connsiteY5" fmla="*/ 69096 h 96734"/>
                <a:gd name="connsiteX6" fmla="*/ 34548 w 183011"/>
                <a:gd name="connsiteY6" fmla="*/ 72551 h 96734"/>
                <a:gd name="connsiteX7" fmla="*/ 58732 w 183011"/>
                <a:gd name="connsiteY7" fmla="*/ 69096 h 96734"/>
                <a:gd name="connsiteX8" fmla="*/ 86370 w 183011"/>
                <a:gd name="connsiteY8" fmla="*/ 65641 h 96734"/>
                <a:gd name="connsiteX9" fmla="*/ 114009 w 183011"/>
                <a:gd name="connsiteY9" fmla="*/ 69096 h 96734"/>
                <a:gd name="connsiteX10" fmla="*/ 127735 w 183011"/>
                <a:gd name="connsiteY10" fmla="*/ 79461 h 96734"/>
                <a:gd name="connsiteX11" fmla="*/ 141554 w 183011"/>
                <a:gd name="connsiteY11" fmla="*/ 96735 h 96734"/>
                <a:gd name="connsiteX12" fmla="*/ 169192 w 183011"/>
                <a:gd name="connsiteY12" fmla="*/ 96735 h 96734"/>
                <a:gd name="connsiteX13" fmla="*/ 183012 w 183011"/>
                <a:gd name="connsiteY13" fmla="*/ 82915 h 96734"/>
                <a:gd name="connsiteX14" fmla="*/ 162283 w 183011"/>
                <a:gd name="connsiteY14" fmla="*/ 65641 h 96734"/>
                <a:gd name="connsiteX15" fmla="*/ 155373 w 183011"/>
                <a:gd name="connsiteY15" fmla="*/ 48367 h 96734"/>
                <a:gd name="connsiteX16" fmla="*/ 138099 w 183011"/>
                <a:gd name="connsiteY16" fmla="*/ 34548 h 96734"/>
                <a:gd name="connsiteX17" fmla="*/ 120825 w 183011"/>
                <a:gd name="connsiteY17" fmla="*/ 31093 h 96734"/>
                <a:gd name="connsiteX18" fmla="*/ 110461 w 183011"/>
                <a:gd name="connsiteY18" fmla="*/ 20729 h 96734"/>
                <a:gd name="connsiteX19" fmla="*/ 86370 w 183011"/>
                <a:gd name="connsiteY19" fmla="*/ 17274 h 96734"/>
                <a:gd name="connsiteX20" fmla="*/ 76006 w 183011"/>
                <a:gd name="connsiteY20" fmla="*/ 34548 h 96734"/>
                <a:gd name="connsiteX21" fmla="*/ 72551 w 183011"/>
                <a:gd name="connsiteY21" fmla="*/ 17274 h 96734"/>
                <a:gd name="connsiteX22" fmla="*/ 69096 w 183011"/>
                <a:gd name="connsiteY22" fmla="*/ 3455 h 96734"/>
                <a:gd name="connsiteX23" fmla="*/ 31093 w 183011"/>
                <a:gd name="connsiteY23" fmla="*/ 0 h 96734"/>
                <a:gd name="connsiteX24" fmla="*/ 0 w 183011"/>
                <a:gd name="connsiteY24" fmla="*/ 3455 h 96734"/>
                <a:gd name="connsiteX25" fmla="*/ 0 w 183011"/>
                <a:gd name="connsiteY25" fmla="*/ 20729 h 96734"/>
                <a:gd name="connsiteX26" fmla="*/ 27639 w 183011"/>
                <a:gd name="connsiteY26" fmla="*/ 27638 h 96734"/>
                <a:gd name="connsiteX27" fmla="*/ 44913 w 183011"/>
                <a:gd name="connsiteY27" fmla="*/ 34548 h 9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3011" h="96734">
                  <a:moveTo>
                    <a:pt x="44913" y="34548"/>
                  </a:moveTo>
                  <a:lnTo>
                    <a:pt x="58732" y="48367"/>
                  </a:lnTo>
                  <a:lnTo>
                    <a:pt x="55277" y="51822"/>
                  </a:lnTo>
                  <a:lnTo>
                    <a:pt x="31093" y="48367"/>
                  </a:lnTo>
                  <a:lnTo>
                    <a:pt x="17274" y="51822"/>
                  </a:lnTo>
                  <a:lnTo>
                    <a:pt x="13819" y="69096"/>
                  </a:lnTo>
                  <a:lnTo>
                    <a:pt x="34548" y="72551"/>
                  </a:lnTo>
                  <a:lnTo>
                    <a:pt x="58732" y="69096"/>
                  </a:lnTo>
                  <a:lnTo>
                    <a:pt x="86370" y="65641"/>
                  </a:lnTo>
                  <a:lnTo>
                    <a:pt x="114009" y="69096"/>
                  </a:lnTo>
                  <a:lnTo>
                    <a:pt x="127735" y="79461"/>
                  </a:lnTo>
                  <a:lnTo>
                    <a:pt x="141554" y="96735"/>
                  </a:lnTo>
                  <a:lnTo>
                    <a:pt x="169192" y="96735"/>
                  </a:lnTo>
                  <a:lnTo>
                    <a:pt x="183012" y="82915"/>
                  </a:lnTo>
                  <a:lnTo>
                    <a:pt x="162283" y="65641"/>
                  </a:lnTo>
                  <a:lnTo>
                    <a:pt x="155373" y="48367"/>
                  </a:lnTo>
                  <a:lnTo>
                    <a:pt x="138099" y="34548"/>
                  </a:lnTo>
                  <a:lnTo>
                    <a:pt x="120825" y="31093"/>
                  </a:lnTo>
                  <a:lnTo>
                    <a:pt x="110461" y="20729"/>
                  </a:lnTo>
                  <a:lnTo>
                    <a:pt x="86370" y="17274"/>
                  </a:lnTo>
                  <a:lnTo>
                    <a:pt x="76006" y="34548"/>
                  </a:lnTo>
                  <a:lnTo>
                    <a:pt x="72551" y="17274"/>
                  </a:lnTo>
                  <a:lnTo>
                    <a:pt x="69096" y="3455"/>
                  </a:lnTo>
                  <a:lnTo>
                    <a:pt x="31093" y="0"/>
                  </a:lnTo>
                  <a:lnTo>
                    <a:pt x="0" y="3455"/>
                  </a:lnTo>
                  <a:lnTo>
                    <a:pt x="0" y="20729"/>
                  </a:lnTo>
                  <a:lnTo>
                    <a:pt x="27639" y="27638"/>
                  </a:lnTo>
                  <a:lnTo>
                    <a:pt x="44913" y="34548"/>
                  </a:lnTo>
                  <a:close/>
                </a:path>
              </a:pathLst>
            </a:custGeom>
            <a:solidFill>
              <a:srgbClr val="CEE3BF"/>
            </a:solidFill>
            <a:ln w="9334" cap="flat">
              <a:noFill/>
              <a:prstDash val="solid"/>
              <a:miter/>
            </a:ln>
          </p:spPr>
          <p:txBody>
            <a:bodyPr rtlCol="0" anchor="ctr"/>
            <a:lstStyle/>
            <a:p>
              <a:endParaRPr lang="en-GB" dirty="0"/>
            </a:p>
          </p:txBody>
        </p:sp>
        <p:sp>
          <p:nvSpPr>
            <p:cNvPr id="1313" name="Freeform: Shape 1312">
              <a:extLst>
                <a:ext uri="{FF2B5EF4-FFF2-40B4-BE49-F238E27FC236}">
                  <a16:creationId xmlns:a16="http://schemas.microsoft.com/office/drawing/2014/main" id="{59601BE5-14D2-4DD9-B6FF-89B4A6551C8B}"/>
                </a:ext>
              </a:extLst>
            </p:cNvPr>
            <p:cNvSpPr/>
            <p:nvPr/>
          </p:nvSpPr>
          <p:spPr>
            <a:xfrm>
              <a:off x="3119659" y="1850692"/>
              <a:ext cx="41457" cy="10364"/>
            </a:xfrm>
            <a:custGeom>
              <a:avLst/>
              <a:gdLst>
                <a:gd name="connsiteX0" fmla="*/ 13819 w 41457"/>
                <a:gd name="connsiteY0" fmla="*/ 0 h 10364"/>
                <a:gd name="connsiteX1" fmla="*/ 34548 w 41457"/>
                <a:gd name="connsiteY1" fmla="*/ 0 h 10364"/>
                <a:gd name="connsiteX2" fmla="*/ 41458 w 41457"/>
                <a:gd name="connsiteY2" fmla="*/ 10364 h 10364"/>
                <a:gd name="connsiteX3" fmla="*/ 34548 w 41457"/>
                <a:gd name="connsiteY3" fmla="*/ 0 h 10364"/>
                <a:gd name="connsiteX4" fmla="*/ 13819 w 41457"/>
                <a:gd name="connsiteY4" fmla="*/ 0 h 10364"/>
                <a:gd name="connsiteX5" fmla="*/ 0 w 41457"/>
                <a:gd name="connsiteY5" fmla="*/ 6910 h 10364"/>
                <a:gd name="connsiteX6" fmla="*/ 13819 w 41457"/>
                <a:gd name="connsiteY6" fmla="*/ 0 h 1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57" h="10364">
                  <a:moveTo>
                    <a:pt x="13819" y="0"/>
                  </a:moveTo>
                  <a:lnTo>
                    <a:pt x="34548" y="0"/>
                  </a:lnTo>
                  <a:lnTo>
                    <a:pt x="41458" y="10364"/>
                  </a:lnTo>
                  <a:lnTo>
                    <a:pt x="34548" y="0"/>
                  </a:lnTo>
                  <a:lnTo>
                    <a:pt x="13819" y="0"/>
                  </a:lnTo>
                  <a:lnTo>
                    <a:pt x="0" y="6910"/>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314" name="Freeform: Shape 1313">
              <a:extLst>
                <a:ext uri="{FF2B5EF4-FFF2-40B4-BE49-F238E27FC236}">
                  <a16:creationId xmlns:a16="http://schemas.microsoft.com/office/drawing/2014/main" id="{2BE6F61B-6E66-4BD1-A2F4-A456D21FD10A}"/>
                </a:ext>
              </a:extLst>
            </p:cNvPr>
            <p:cNvSpPr/>
            <p:nvPr/>
          </p:nvSpPr>
          <p:spPr>
            <a:xfrm>
              <a:off x="2974650" y="1843782"/>
              <a:ext cx="13819" cy="6909"/>
            </a:xfrm>
            <a:custGeom>
              <a:avLst/>
              <a:gdLst>
                <a:gd name="connsiteX0" fmla="*/ 0 w 13819"/>
                <a:gd name="connsiteY0" fmla="*/ 6910 h 6909"/>
                <a:gd name="connsiteX1" fmla="*/ 0 w 13819"/>
                <a:gd name="connsiteY1" fmla="*/ 6910 h 6909"/>
                <a:gd name="connsiteX2" fmla="*/ 13819 w 13819"/>
                <a:gd name="connsiteY2" fmla="*/ 0 h 6909"/>
                <a:gd name="connsiteX3" fmla="*/ 0 w 13819"/>
                <a:gd name="connsiteY3" fmla="*/ 6910 h 6909"/>
              </a:gdLst>
              <a:ahLst/>
              <a:cxnLst>
                <a:cxn ang="0">
                  <a:pos x="connsiteX0" y="connsiteY0"/>
                </a:cxn>
                <a:cxn ang="0">
                  <a:pos x="connsiteX1" y="connsiteY1"/>
                </a:cxn>
                <a:cxn ang="0">
                  <a:pos x="connsiteX2" y="connsiteY2"/>
                </a:cxn>
                <a:cxn ang="0">
                  <a:pos x="connsiteX3" y="connsiteY3"/>
                </a:cxn>
              </a:cxnLst>
              <a:rect l="l" t="t" r="r" b="b"/>
              <a:pathLst>
                <a:path w="13819" h="6909">
                  <a:moveTo>
                    <a:pt x="0" y="6910"/>
                  </a:moveTo>
                  <a:lnTo>
                    <a:pt x="0" y="6910"/>
                  </a:lnTo>
                  <a:lnTo>
                    <a:pt x="13819" y="0"/>
                  </a:lnTo>
                  <a:lnTo>
                    <a:pt x="0" y="6910"/>
                  </a:lnTo>
                  <a:close/>
                </a:path>
              </a:pathLst>
            </a:custGeom>
            <a:solidFill>
              <a:srgbClr val="CEE3BF"/>
            </a:solidFill>
            <a:ln w="9334" cap="flat">
              <a:noFill/>
              <a:prstDash val="solid"/>
              <a:miter/>
            </a:ln>
          </p:spPr>
          <p:txBody>
            <a:bodyPr rtlCol="0" anchor="ctr"/>
            <a:lstStyle/>
            <a:p>
              <a:endParaRPr lang="en-GB" dirty="0"/>
            </a:p>
          </p:txBody>
        </p:sp>
        <p:sp>
          <p:nvSpPr>
            <p:cNvPr id="1315" name="Freeform: Shape 1314">
              <a:extLst>
                <a:ext uri="{FF2B5EF4-FFF2-40B4-BE49-F238E27FC236}">
                  <a16:creationId xmlns:a16="http://schemas.microsoft.com/office/drawing/2014/main" id="{4E2E110D-6BFF-43BA-8578-922ACC016C7B}"/>
                </a:ext>
              </a:extLst>
            </p:cNvPr>
            <p:cNvSpPr/>
            <p:nvPr/>
          </p:nvSpPr>
          <p:spPr>
            <a:xfrm>
              <a:off x="3081656" y="1843782"/>
              <a:ext cx="3454" cy="6909"/>
            </a:xfrm>
            <a:custGeom>
              <a:avLst/>
              <a:gdLst>
                <a:gd name="connsiteX0" fmla="*/ 0 w 3454"/>
                <a:gd name="connsiteY0" fmla="*/ 6910 h 6909"/>
                <a:gd name="connsiteX1" fmla="*/ 0 w 3454"/>
                <a:gd name="connsiteY1" fmla="*/ 6910 h 6909"/>
                <a:gd name="connsiteX2" fmla="*/ 3455 w 3454"/>
                <a:gd name="connsiteY2" fmla="*/ 0 h 6909"/>
                <a:gd name="connsiteX3" fmla="*/ 0 w 3454"/>
                <a:gd name="connsiteY3" fmla="*/ 6910 h 6909"/>
              </a:gdLst>
              <a:ahLst/>
              <a:cxnLst>
                <a:cxn ang="0">
                  <a:pos x="connsiteX0" y="connsiteY0"/>
                </a:cxn>
                <a:cxn ang="0">
                  <a:pos x="connsiteX1" y="connsiteY1"/>
                </a:cxn>
                <a:cxn ang="0">
                  <a:pos x="connsiteX2" y="connsiteY2"/>
                </a:cxn>
                <a:cxn ang="0">
                  <a:pos x="connsiteX3" y="connsiteY3"/>
                </a:cxn>
              </a:cxnLst>
              <a:rect l="l" t="t" r="r" b="b"/>
              <a:pathLst>
                <a:path w="3454" h="6909">
                  <a:moveTo>
                    <a:pt x="0" y="6910"/>
                  </a:moveTo>
                  <a:lnTo>
                    <a:pt x="0" y="6910"/>
                  </a:lnTo>
                  <a:lnTo>
                    <a:pt x="3455" y="0"/>
                  </a:lnTo>
                  <a:lnTo>
                    <a:pt x="0" y="6910"/>
                  </a:lnTo>
                  <a:close/>
                </a:path>
              </a:pathLst>
            </a:custGeom>
            <a:solidFill>
              <a:srgbClr val="CEE3BF"/>
            </a:solidFill>
            <a:ln w="9334" cap="flat">
              <a:noFill/>
              <a:prstDash val="solid"/>
              <a:miter/>
            </a:ln>
          </p:spPr>
          <p:txBody>
            <a:bodyPr rtlCol="0" anchor="ctr"/>
            <a:lstStyle/>
            <a:p>
              <a:endParaRPr lang="en-GB" dirty="0"/>
            </a:p>
          </p:txBody>
        </p:sp>
        <p:sp>
          <p:nvSpPr>
            <p:cNvPr id="1316" name="Freeform: Shape 1315">
              <a:extLst>
                <a:ext uri="{FF2B5EF4-FFF2-40B4-BE49-F238E27FC236}">
                  <a16:creationId xmlns:a16="http://schemas.microsoft.com/office/drawing/2014/main" id="{5EF31A4E-87FC-4FA8-ABE4-9062460F3245}"/>
                </a:ext>
              </a:extLst>
            </p:cNvPr>
            <p:cNvSpPr/>
            <p:nvPr/>
          </p:nvSpPr>
          <p:spPr>
            <a:xfrm>
              <a:off x="3216300" y="1833418"/>
              <a:ext cx="466118" cy="145195"/>
            </a:xfrm>
            <a:custGeom>
              <a:avLst/>
              <a:gdLst>
                <a:gd name="connsiteX0" fmla="*/ 200285 w 466118"/>
                <a:gd name="connsiteY0" fmla="*/ 145195 h 145195"/>
                <a:gd name="connsiteX1" fmla="*/ 207195 w 466118"/>
                <a:gd name="connsiteY1" fmla="*/ 134738 h 145195"/>
                <a:gd name="connsiteX2" fmla="*/ 217559 w 466118"/>
                <a:gd name="connsiteY2" fmla="*/ 124373 h 145195"/>
                <a:gd name="connsiteX3" fmla="*/ 224469 w 466118"/>
                <a:gd name="connsiteY3" fmla="*/ 127828 h 145195"/>
                <a:gd name="connsiteX4" fmla="*/ 227924 w 466118"/>
                <a:gd name="connsiteY4" fmla="*/ 145195 h 145195"/>
                <a:gd name="connsiteX5" fmla="*/ 355659 w 466118"/>
                <a:gd name="connsiteY5" fmla="*/ 145195 h 145195"/>
                <a:gd name="connsiteX6" fmla="*/ 366023 w 466118"/>
                <a:gd name="connsiteY6" fmla="*/ 131283 h 145195"/>
                <a:gd name="connsiteX7" fmla="*/ 383204 w 466118"/>
                <a:gd name="connsiteY7" fmla="*/ 145195 h 145195"/>
                <a:gd name="connsiteX8" fmla="*/ 448845 w 466118"/>
                <a:gd name="connsiteY8" fmla="*/ 141647 h 145195"/>
                <a:gd name="connsiteX9" fmla="*/ 452300 w 466118"/>
                <a:gd name="connsiteY9" fmla="*/ 120918 h 145195"/>
                <a:gd name="connsiteX10" fmla="*/ 462664 w 466118"/>
                <a:gd name="connsiteY10" fmla="*/ 114009 h 145195"/>
                <a:gd name="connsiteX11" fmla="*/ 466119 w 466118"/>
                <a:gd name="connsiteY11" fmla="*/ 96735 h 145195"/>
                <a:gd name="connsiteX12" fmla="*/ 441935 w 466118"/>
                <a:gd name="connsiteY12" fmla="*/ 86370 h 145195"/>
                <a:gd name="connsiteX13" fmla="*/ 407387 w 466118"/>
                <a:gd name="connsiteY13" fmla="*/ 79461 h 145195"/>
                <a:gd name="connsiteX14" fmla="*/ 341839 w 466118"/>
                <a:gd name="connsiteY14" fmla="*/ 76006 h 145195"/>
                <a:gd name="connsiteX15" fmla="*/ 296927 w 466118"/>
                <a:gd name="connsiteY15" fmla="*/ 93280 h 145195"/>
                <a:gd name="connsiteX16" fmla="*/ 258924 w 466118"/>
                <a:gd name="connsiteY16" fmla="*/ 89825 h 145195"/>
                <a:gd name="connsiteX17" fmla="*/ 207195 w 466118"/>
                <a:gd name="connsiteY17" fmla="*/ 89825 h 145195"/>
                <a:gd name="connsiteX18" fmla="*/ 172647 w 466118"/>
                <a:gd name="connsiteY18" fmla="*/ 69096 h 145195"/>
                <a:gd name="connsiteX19" fmla="*/ 165737 w 466118"/>
                <a:gd name="connsiteY19" fmla="*/ 58732 h 145195"/>
                <a:gd name="connsiteX20" fmla="*/ 165737 w 466118"/>
                <a:gd name="connsiteY20" fmla="*/ 41458 h 145195"/>
                <a:gd name="connsiteX21" fmla="*/ 151918 w 466118"/>
                <a:gd name="connsiteY21" fmla="*/ 24184 h 145195"/>
                <a:gd name="connsiteX22" fmla="*/ 120825 w 466118"/>
                <a:gd name="connsiteY22" fmla="*/ 31093 h 145195"/>
                <a:gd name="connsiteX23" fmla="*/ 93280 w 466118"/>
                <a:gd name="connsiteY23" fmla="*/ 31093 h 145195"/>
                <a:gd name="connsiteX24" fmla="*/ 82915 w 466118"/>
                <a:gd name="connsiteY24" fmla="*/ 17274 h 145195"/>
                <a:gd name="connsiteX25" fmla="*/ 55277 w 466118"/>
                <a:gd name="connsiteY25" fmla="*/ 10364 h 145195"/>
                <a:gd name="connsiteX26" fmla="*/ 24184 w 466118"/>
                <a:gd name="connsiteY26" fmla="*/ 0 h 145195"/>
                <a:gd name="connsiteX27" fmla="*/ 3455 w 466118"/>
                <a:gd name="connsiteY27" fmla="*/ 6910 h 145195"/>
                <a:gd name="connsiteX28" fmla="*/ 0 w 466118"/>
                <a:gd name="connsiteY28" fmla="*/ 24184 h 145195"/>
                <a:gd name="connsiteX29" fmla="*/ 10364 w 466118"/>
                <a:gd name="connsiteY29" fmla="*/ 34548 h 145195"/>
                <a:gd name="connsiteX30" fmla="*/ 34548 w 466118"/>
                <a:gd name="connsiteY30" fmla="*/ 44912 h 145195"/>
                <a:gd name="connsiteX31" fmla="*/ 58732 w 466118"/>
                <a:gd name="connsiteY31" fmla="*/ 48367 h 145195"/>
                <a:gd name="connsiteX32" fmla="*/ 82915 w 466118"/>
                <a:gd name="connsiteY32" fmla="*/ 44912 h 145195"/>
                <a:gd name="connsiteX33" fmla="*/ 100189 w 466118"/>
                <a:gd name="connsiteY33" fmla="*/ 48367 h 145195"/>
                <a:gd name="connsiteX34" fmla="*/ 110461 w 466118"/>
                <a:gd name="connsiteY34" fmla="*/ 65641 h 145195"/>
                <a:gd name="connsiteX35" fmla="*/ 124280 w 466118"/>
                <a:gd name="connsiteY35" fmla="*/ 82915 h 145195"/>
                <a:gd name="connsiteX36" fmla="*/ 117370 w 466118"/>
                <a:gd name="connsiteY36" fmla="*/ 93280 h 145195"/>
                <a:gd name="connsiteX37" fmla="*/ 117370 w 466118"/>
                <a:gd name="connsiteY37" fmla="*/ 100189 h 145195"/>
                <a:gd name="connsiteX38" fmla="*/ 124280 w 466118"/>
                <a:gd name="connsiteY38" fmla="*/ 120918 h 145195"/>
                <a:gd name="connsiteX39" fmla="*/ 134644 w 466118"/>
                <a:gd name="connsiteY39" fmla="*/ 134738 h 145195"/>
                <a:gd name="connsiteX40" fmla="*/ 145009 w 466118"/>
                <a:gd name="connsiteY40" fmla="*/ 134738 h 145195"/>
                <a:gd name="connsiteX41" fmla="*/ 151918 w 466118"/>
                <a:gd name="connsiteY41" fmla="*/ 127828 h 145195"/>
                <a:gd name="connsiteX42" fmla="*/ 158828 w 466118"/>
                <a:gd name="connsiteY42" fmla="*/ 138192 h 145195"/>
                <a:gd name="connsiteX43" fmla="*/ 200285 w 466118"/>
                <a:gd name="connsiteY43" fmla="*/ 145195 h 14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66118" h="145195">
                  <a:moveTo>
                    <a:pt x="200285" y="145195"/>
                  </a:moveTo>
                  <a:lnTo>
                    <a:pt x="207195" y="134738"/>
                  </a:lnTo>
                  <a:lnTo>
                    <a:pt x="217559" y="124373"/>
                  </a:lnTo>
                  <a:lnTo>
                    <a:pt x="224469" y="127828"/>
                  </a:lnTo>
                  <a:lnTo>
                    <a:pt x="227924" y="145195"/>
                  </a:lnTo>
                  <a:lnTo>
                    <a:pt x="355659" y="145195"/>
                  </a:lnTo>
                  <a:lnTo>
                    <a:pt x="366023" y="131283"/>
                  </a:lnTo>
                  <a:lnTo>
                    <a:pt x="383204" y="145195"/>
                  </a:lnTo>
                  <a:lnTo>
                    <a:pt x="448845" y="141647"/>
                  </a:lnTo>
                  <a:lnTo>
                    <a:pt x="452300" y="120918"/>
                  </a:lnTo>
                  <a:lnTo>
                    <a:pt x="462664" y="114009"/>
                  </a:lnTo>
                  <a:lnTo>
                    <a:pt x="466119" y="96735"/>
                  </a:lnTo>
                  <a:lnTo>
                    <a:pt x="441935" y="86370"/>
                  </a:lnTo>
                  <a:lnTo>
                    <a:pt x="407387" y="79461"/>
                  </a:lnTo>
                  <a:lnTo>
                    <a:pt x="341839" y="76006"/>
                  </a:lnTo>
                  <a:lnTo>
                    <a:pt x="296927" y="93280"/>
                  </a:lnTo>
                  <a:lnTo>
                    <a:pt x="258924" y="89825"/>
                  </a:lnTo>
                  <a:lnTo>
                    <a:pt x="207195" y="89825"/>
                  </a:lnTo>
                  <a:lnTo>
                    <a:pt x="172647" y="69096"/>
                  </a:lnTo>
                  <a:lnTo>
                    <a:pt x="165737" y="58732"/>
                  </a:lnTo>
                  <a:lnTo>
                    <a:pt x="165737" y="41458"/>
                  </a:lnTo>
                  <a:lnTo>
                    <a:pt x="151918" y="24184"/>
                  </a:lnTo>
                  <a:lnTo>
                    <a:pt x="120825" y="31093"/>
                  </a:lnTo>
                  <a:lnTo>
                    <a:pt x="93280" y="31093"/>
                  </a:lnTo>
                  <a:lnTo>
                    <a:pt x="82915" y="17274"/>
                  </a:lnTo>
                  <a:lnTo>
                    <a:pt x="55277" y="10364"/>
                  </a:lnTo>
                  <a:lnTo>
                    <a:pt x="24184" y="0"/>
                  </a:lnTo>
                  <a:lnTo>
                    <a:pt x="3455" y="6910"/>
                  </a:lnTo>
                  <a:lnTo>
                    <a:pt x="0" y="24184"/>
                  </a:lnTo>
                  <a:lnTo>
                    <a:pt x="10364" y="34548"/>
                  </a:lnTo>
                  <a:lnTo>
                    <a:pt x="34548" y="44912"/>
                  </a:lnTo>
                  <a:lnTo>
                    <a:pt x="58732" y="48367"/>
                  </a:lnTo>
                  <a:lnTo>
                    <a:pt x="82915" y="44912"/>
                  </a:lnTo>
                  <a:lnTo>
                    <a:pt x="100189" y="48367"/>
                  </a:lnTo>
                  <a:lnTo>
                    <a:pt x="110461" y="65641"/>
                  </a:lnTo>
                  <a:lnTo>
                    <a:pt x="124280" y="82915"/>
                  </a:lnTo>
                  <a:lnTo>
                    <a:pt x="117370" y="93280"/>
                  </a:lnTo>
                  <a:lnTo>
                    <a:pt x="117370" y="100189"/>
                  </a:lnTo>
                  <a:lnTo>
                    <a:pt x="124280" y="120918"/>
                  </a:lnTo>
                  <a:lnTo>
                    <a:pt x="134644" y="134738"/>
                  </a:lnTo>
                  <a:lnTo>
                    <a:pt x="145009" y="134738"/>
                  </a:lnTo>
                  <a:lnTo>
                    <a:pt x="151918" y="127828"/>
                  </a:lnTo>
                  <a:lnTo>
                    <a:pt x="158828" y="138192"/>
                  </a:lnTo>
                  <a:lnTo>
                    <a:pt x="200285" y="145195"/>
                  </a:lnTo>
                  <a:close/>
                </a:path>
              </a:pathLst>
            </a:custGeom>
            <a:solidFill>
              <a:srgbClr val="CEE3BF"/>
            </a:solidFill>
            <a:ln w="9334" cap="flat">
              <a:noFill/>
              <a:prstDash val="solid"/>
              <a:miter/>
            </a:ln>
          </p:spPr>
          <p:txBody>
            <a:bodyPr rtlCol="0" anchor="ctr"/>
            <a:lstStyle/>
            <a:p>
              <a:endParaRPr lang="en-GB" dirty="0"/>
            </a:p>
          </p:txBody>
        </p:sp>
        <p:sp>
          <p:nvSpPr>
            <p:cNvPr id="1317" name="Freeform: Shape 1316">
              <a:extLst>
                <a:ext uri="{FF2B5EF4-FFF2-40B4-BE49-F238E27FC236}">
                  <a16:creationId xmlns:a16="http://schemas.microsoft.com/office/drawing/2014/main" id="{FB447FC0-4267-4014-97D2-AB44DFE51D98}"/>
                </a:ext>
              </a:extLst>
            </p:cNvPr>
            <p:cNvSpPr/>
            <p:nvPr/>
          </p:nvSpPr>
          <p:spPr>
            <a:xfrm>
              <a:off x="3216300" y="1988978"/>
              <a:ext cx="155373" cy="110553"/>
            </a:xfrm>
            <a:custGeom>
              <a:avLst/>
              <a:gdLst>
                <a:gd name="connsiteX0" fmla="*/ 103644 w 155373"/>
                <a:gd name="connsiteY0" fmla="*/ 69096 h 110553"/>
                <a:gd name="connsiteX1" fmla="*/ 134644 w 155373"/>
                <a:gd name="connsiteY1" fmla="*/ 31093 h 110553"/>
                <a:gd name="connsiteX2" fmla="*/ 155373 w 155373"/>
                <a:gd name="connsiteY2" fmla="*/ 3455 h 110553"/>
                <a:gd name="connsiteX3" fmla="*/ 103644 w 155373"/>
                <a:gd name="connsiteY3" fmla="*/ 3455 h 110553"/>
                <a:gd name="connsiteX4" fmla="*/ 72551 w 155373"/>
                <a:gd name="connsiteY4" fmla="*/ 0 h 110553"/>
                <a:gd name="connsiteX5" fmla="*/ 34548 w 155373"/>
                <a:gd name="connsiteY5" fmla="*/ 0 h 110553"/>
                <a:gd name="connsiteX6" fmla="*/ 13819 w 155373"/>
                <a:gd name="connsiteY6" fmla="*/ 3455 h 110553"/>
                <a:gd name="connsiteX7" fmla="*/ 0 w 155373"/>
                <a:gd name="connsiteY7" fmla="*/ 24184 h 110553"/>
                <a:gd name="connsiteX8" fmla="*/ 6910 w 155373"/>
                <a:gd name="connsiteY8" fmla="*/ 62187 h 110553"/>
                <a:gd name="connsiteX9" fmla="*/ 13819 w 155373"/>
                <a:gd name="connsiteY9" fmla="*/ 86370 h 110553"/>
                <a:gd name="connsiteX10" fmla="*/ 20729 w 155373"/>
                <a:gd name="connsiteY10" fmla="*/ 107099 h 110553"/>
                <a:gd name="connsiteX11" fmla="*/ 41458 w 155373"/>
                <a:gd name="connsiteY11" fmla="*/ 110554 h 110553"/>
                <a:gd name="connsiteX12" fmla="*/ 58732 w 155373"/>
                <a:gd name="connsiteY12" fmla="*/ 89825 h 110553"/>
                <a:gd name="connsiteX13" fmla="*/ 51822 w 155373"/>
                <a:gd name="connsiteY13" fmla="*/ 72551 h 110553"/>
                <a:gd name="connsiteX14" fmla="*/ 72551 w 155373"/>
                <a:gd name="connsiteY14" fmla="*/ 69096 h 110553"/>
                <a:gd name="connsiteX15" fmla="*/ 103644 w 155373"/>
                <a:gd name="connsiteY15" fmla="*/ 69096 h 1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373" h="110553">
                  <a:moveTo>
                    <a:pt x="103644" y="69096"/>
                  </a:moveTo>
                  <a:lnTo>
                    <a:pt x="134644" y="31093"/>
                  </a:lnTo>
                  <a:lnTo>
                    <a:pt x="155373" y="3455"/>
                  </a:lnTo>
                  <a:lnTo>
                    <a:pt x="103644" y="3455"/>
                  </a:lnTo>
                  <a:lnTo>
                    <a:pt x="72551" y="0"/>
                  </a:lnTo>
                  <a:lnTo>
                    <a:pt x="34548" y="0"/>
                  </a:lnTo>
                  <a:lnTo>
                    <a:pt x="13819" y="3455"/>
                  </a:lnTo>
                  <a:lnTo>
                    <a:pt x="0" y="24184"/>
                  </a:lnTo>
                  <a:lnTo>
                    <a:pt x="6910" y="62187"/>
                  </a:lnTo>
                  <a:lnTo>
                    <a:pt x="13819" y="86370"/>
                  </a:lnTo>
                  <a:lnTo>
                    <a:pt x="20729" y="107099"/>
                  </a:lnTo>
                  <a:lnTo>
                    <a:pt x="41458" y="110554"/>
                  </a:lnTo>
                  <a:lnTo>
                    <a:pt x="58732" y="89825"/>
                  </a:lnTo>
                  <a:lnTo>
                    <a:pt x="51822" y="72551"/>
                  </a:lnTo>
                  <a:lnTo>
                    <a:pt x="72551" y="69096"/>
                  </a:lnTo>
                  <a:lnTo>
                    <a:pt x="103644" y="69096"/>
                  </a:lnTo>
                  <a:close/>
                </a:path>
              </a:pathLst>
            </a:custGeom>
            <a:solidFill>
              <a:srgbClr val="CEE3BF"/>
            </a:solidFill>
            <a:ln w="9334" cap="flat">
              <a:noFill/>
              <a:prstDash val="solid"/>
              <a:miter/>
            </a:ln>
          </p:spPr>
          <p:txBody>
            <a:bodyPr rtlCol="0" anchor="ctr"/>
            <a:lstStyle/>
            <a:p>
              <a:endParaRPr lang="en-GB" dirty="0"/>
            </a:p>
          </p:txBody>
        </p:sp>
        <p:sp>
          <p:nvSpPr>
            <p:cNvPr id="1318" name="Freeform: Shape 1317">
              <a:extLst>
                <a:ext uri="{FF2B5EF4-FFF2-40B4-BE49-F238E27FC236}">
                  <a16:creationId xmlns:a16="http://schemas.microsoft.com/office/drawing/2014/main" id="{B115530B-FFF0-44C3-89D9-712310D7B543}"/>
                </a:ext>
              </a:extLst>
            </p:cNvPr>
            <p:cNvSpPr/>
            <p:nvPr/>
          </p:nvSpPr>
          <p:spPr>
            <a:xfrm>
              <a:off x="3319944" y="1439290"/>
              <a:ext cx="845774" cy="435585"/>
            </a:xfrm>
            <a:custGeom>
              <a:avLst/>
              <a:gdLst>
                <a:gd name="connsiteX0" fmla="*/ 34455 w 845774"/>
                <a:gd name="connsiteY0" fmla="*/ 96828 h 435585"/>
                <a:gd name="connsiteX1" fmla="*/ 48274 w 845774"/>
                <a:gd name="connsiteY1" fmla="*/ 103738 h 435585"/>
                <a:gd name="connsiteX2" fmla="*/ 37909 w 845774"/>
                <a:gd name="connsiteY2" fmla="*/ 110647 h 435585"/>
                <a:gd name="connsiteX3" fmla="*/ 34455 w 845774"/>
                <a:gd name="connsiteY3" fmla="*/ 121012 h 435585"/>
                <a:gd name="connsiteX4" fmla="*/ 55184 w 845774"/>
                <a:gd name="connsiteY4" fmla="*/ 114102 h 435585"/>
                <a:gd name="connsiteX5" fmla="*/ 69003 w 845774"/>
                <a:gd name="connsiteY5" fmla="*/ 107192 h 435585"/>
                <a:gd name="connsiteX6" fmla="*/ 89732 w 845774"/>
                <a:gd name="connsiteY6" fmla="*/ 107192 h 435585"/>
                <a:gd name="connsiteX7" fmla="*/ 103551 w 845774"/>
                <a:gd name="connsiteY7" fmla="*/ 110647 h 435585"/>
                <a:gd name="connsiteX8" fmla="*/ 82822 w 845774"/>
                <a:gd name="connsiteY8" fmla="*/ 114102 h 435585"/>
                <a:gd name="connsiteX9" fmla="*/ 58638 w 845774"/>
                <a:gd name="connsiteY9" fmla="*/ 124466 h 435585"/>
                <a:gd name="connsiteX10" fmla="*/ 44819 w 845774"/>
                <a:gd name="connsiteY10" fmla="*/ 131376 h 435585"/>
                <a:gd name="connsiteX11" fmla="*/ 65548 w 845774"/>
                <a:gd name="connsiteY11" fmla="*/ 138286 h 435585"/>
                <a:gd name="connsiteX12" fmla="*/ 107006 w 845774"/>
                <a:gd name="connsiteY12" fmla="*/ 134831 h 435585"/>
                <a:gd name="connsiteX13" fmla="*/ 138006 w 845774"/>
                <a:gd name="connsiteY13" fmla="*/ 134831 h 435585"/>
                <a:gd name="connsiteX14" fmla="*/ 165644 w 845774"/>
                <a:gd name="connsiteY14" fmla="*/ 124466 h 435585"/>
                <a:gd name="connsiteX15" fmla="*/ 179463 w 845774"/>
                <a:gd name="connsiteY15" fmla="*/ 131376 h 435585"/>
                <a:gd name="connsiteX16" fmla="*/ 169099 w 845774"/>
                <a:gd name="connsiteY16" fmla="*/ 141741 h 435585"/>
                <a:gd name="connsiteX17" fmla="*/ 155280 w 845774"/>
                <a:gd name="connsiteY17" fmla="*/ 152105 h 435585"/>
                <a:gd name="connsiteX18" fmla="*/ 144915 w 845774"/>
                <a:gd name="connsiteY18" fmla="*/ 169379 h 435585"/>
                <a:gd name="connsiteX19" fmla="*/ 189828 w 845774"/>
                <a:gd name="connsiteY19" fmla="*/ 176289 h 435585"/>
                <a:gd name="connsiteX20" fmla="*/ 220921 w 845774"/>
                <a:gd name="connsiteY20" fmla="*/ 172834 h 435585"/>
                <a:gd name="connsiteX21" fmla="*/ 227831 w 845774"/>
                <a:gd name="connsiteY21" fmla="*/ 159015 h 435585"/>
                <a:gd name="connsiteX22" fmla="*/ 238195 w 845774"/>
                <a:gd name="connsiteY22" fmla="*/ 159015 h 435585"/>
                <a:gd name="connsiteX23" fmla="*/ 248560 w 845774"/>
                <a:gd name="connsiteY23" fmla="*/ 169379 h 435585"/>
                <a:gd name="connsiteX24" fmla="*/ 279559 w 845774"/>
                <a:gd name="connsiteY24" fmla="*/ 165924 h 435585"/>
                <a:gd name="connsiteX25" fmla="*/ 314107 w 845774"/>
                <a:gd name="connsiteY25" fmla="*/ 165924 h 435585"/>
                <a:gd name="connsiteX26" fmla="*/ 338291 w 845774"/>
                <a:gd name="connsiteY26" fmla="*/ 148650 h 435585"/>
                <a:gd name="connsiteX27" fmla="*/ 355565 w 845774"/>
                <a:gd name="connsiteY27" fmla="*/ 131376 h 435585"/>
                <a:gd name="connsiteX28" fmla="*/ 390113 w 845774"/>
                <a:gd name="connsiteY28" fmla="*/ 117557 h 435585"/>
                <a:gd name="connsiteX29" fmla="*/ 400478 w 845774"/>
                <a:gd name="connsiteY29" fmla="*/ 121012 h 435585"/>
                <a:gd name="connsiteX30" fmla="*/ 386659 w 845774"/>
                <a:gd name="connsiteY30" fmla="*/ 127921 h 435585"/>
                <a:gd name="connsiteX31" fmla="*/ 372839 w 845774"/>
                <a:gd name="connsiteY31" fmla="*/ 138286 h 435585"/>
                <a:gd name="connsiteX32" fmla="*/ 359020 w 845774"/>
                <a:gd name="connsiteY32" fmla="*/ 148650 h 435585"/>
                <a:gd name="connsiteX33" fmla="*/ 372839 w 845774"/>
                <a:gd name="connsiteY33" fmla="*/ 152105 h 435585"/>
                <a:gd name="connsiteX34" fmla="*/ 355565 w 845774"/>
                <a:gd name="connsiteY34" fmla="*/ 162469 h 435585"/>
                <a:gd name="connsiteX35" fmla="*/ 334836 w 845774"/>
                <a:gd name="connsiteY35" fmla="*/ 176289 h 435585"/>
                <a:gd name="connsiteX36" fmla="*/ 289924 w 845774"/>
                <a:gd name="connsiteY36" fmla="*/ 179743 h 435585"/>
                <a:gd name="connsiteX37" fmla="*/ 252014 w 845774"/>
                <a:gd name="connsiteY37" fmla="*/ 179743 h 435585"/>
                <a:gd name="connsiteX38" fmla="*/ 241650 w 845774"/>
                <a:gd name="connsiteY38" fmla="*/ 190108 h 435585"/>
                <a:gd name="connsiteX39" fmla="*/ 269288 w 845774"/>
                <a:gd name="connsiteY39" fmla="*/ 203927 h 435585"/>
                <a:gd name="connsiteX40" fmla="*/ 286469 w 845774"/>
                <a:gd name="connsiteY40" fmla="*/ 217840 h 435585"/>
                <a:gd name="connsiteX41" fmla="*/ 310653 w 845774"/>
                <a:gd name="connsiteY41" fmla="*/ 224749 h 435585"/>
                <a:gd name="connsiteX42" fmla="*/ 286469 w 845774"/>
                <a:gd name="connsiteY42" fmla="*/ 231659 h 435585"/>
                <a:gd name="connsiteX43" fmla="*/ 269288 w 845774"/>
                <a:gd name="connsiteY43" fmla="*/ 221294 h 435585"/>
                <a:gd name="connsiteX44" fmla="*/ 248560 w 845774"/>
                <a:gd name="connsiteY44" fmla="*/ 207382 h 435585"/>
                <a:gd name="connsiteX45" fmla="*/ 224376 w 845774"/>
                <a:gd name="connsiteY45" fmla="*/ 190108 h 435585"/>
                <a:gd name="connsiteX46" fmla="*/ 186373 w 845774"/>
                <a:gd name="connsiteY46" fmla="*/ 193563 h 435585"/>
                <a:gd name="connsiteX47" fmla="*/ 155280 w 845774"/>
                <a:gd name="connsiteY47" fmla="*/ 183198 h 435585"/>
                <a:gd name="connsiteX48" fmla="*/ 148370 w 845774"/>
                <a:gd name="connsiteY48" fmla="*/ 197017 h 435585"/>
                <a:gd name="connsiteX49" fmla="*/ 148370 w 845774"/>
                <a:gd name="connsiteY49" fmla="*/ 221294 h 435585"/>
                <a:gd name="connsiteX50" fmla="*/ 162189 w 845774"/>
                <a:gd name="connsiteY50" fmla="*/ 224749 h 435585"/>
                <a:gd name="connsiteX51" fmla="*/ 182918 w 845774"/>
                <a:gd name="connsiteY51" fmla="*/ 224749 h 435585"/>
                <a:gd name="connsiteX52" fmla="*/ 196737 w 845774"/>
                <a:gd name="connsiteY52" fmla="*/ 238569 h 435585"/>
                <a:gd name="connsiteX53" fmla="*/ 217466 w 845774"/>
                <a:gd name="connsiteY53" fmla="*/ 266207 h 435585"/>
                <a:gd name="connsiteX54" fmla="*/ 245105 w 845774"/>
                <a:gd name="connsiteY54" fmla="*/ 273117 h 435585"/>
                <a:gd name="connsiteX55" fmla="*/ 265834 w 845774"/>
                <a:gd name="connsiteY55" fmla="*/ 269662 h 435585"/>
                <a:gd name="connsiteX56" fmla="*/ 276105 w 845774"/>
                <a:gd name="connsiteY56" fmla="*/ 273117 h 435585"/>
                <a:gd name="connsiteX57" fmla="*/ 258924 w 845774"/>
                <a:gd name="connsiteY57" fmla="*/ 286936 h 435585"/>
                <a:gd name="connsiteX58" fmla="*/ 238195 w 845774"/>
                <a:gd name="connsiteY58" fmla="*/ 286936 h 435585"/>
                <a:gd name="connsiteX59" fmla="*/ 217466 w 845774"/>
                <a:gd name="connsiteY59" fmla="*/ 280026 h 435585"/>
                <a:gd name="connsiteX60" fmla="*/ 196737 w 845774"/>
                <a:gd name="connsiteY60" fmla="*/ 276571 h 435585"/>
                <a:gd name="connsiteX61" fmla="*/ 179463 w 845774"/>
                <a:gd name="connsiteY61" fmla="*/ 280026 h 435585"/>
                <a:gd name="connsiteX62" fmla="*/ 148370 w 845774"/>
                <a:gd name="connsiteY62" fmla="*/ 280026 h 435585"/>
                <a:gd name="connsiteX63" fmla="*/ 134644 w 845774"/>
                <a:gd name="connsiteY63" fmla="*/ 286936 h 435585"/>
                <a:gd name="connsiteX64" fmla="*/ 117370 w 845774"/>
                <a:gd name="connsiteY64" fmla="*/ 304210 h 435585"/>
                <a:gd name="connsiteX65" fmla="*/ 131189 w 845774"/>
                <a:gd name="connsiteY65" fmla="*/ 318029 h 435585"/>
                <a:gd name="connsiteX66" fmla="*/ 151825 w 845774"/>
                <a:gd name="connsiteY66" fmla="*/ 314574 h 435585"/>
                <a:gd name="connsiteX67" fmla="*/ 172554 w 845774"/>
                <a:gd name="connsiteY67" fmla="*/ 321484 h 435585"/>
                <a:gd name="connsiteX68" fmla="*/ 182918 w 845774"/>
                <a:gd name="connsiteY68" fmla="*/ 311120 h 435585"/>
                <a:gd name="connsiteX69" fmla="*/ 196737 w 845774"/>
                <a:gd name="connsiteY69" fmla="*/ 300755 h 435585"/>
                <a:gd name="connsiteX70" fmla="*/ 200192 w 845774"/>
                <a:gd name="connsiteY70" fmla="*/ 314574 h 435585"/>
                <a:gd name="connsiteX71" fmla="*/ 203647 w 845774"/>
                <a:gd name="connsiteY71" fmla="*/ 321484 h 435585"/>
                <a:gd name="connsiteX72" fmla="*/ 186373 w 845774"/>
                <a:gd name="connsiteY72" fmla="*/ 335303 h 435585"/>
                <a:gd name="connsiteX73" fmla="*/ 179463 w 845774"/>
                <a:gd name="connsiteY73" fmla="*/ 345668 h 435585"/>
                <a:gd name="connsiteX74" fmla="*/ 210557 w 845774"/>
                <a:gd name="connsiteY74" fmla="*/ 356032 h 435585"/>
                <a:gd name="connsiteX75" fmla="*/ 227831 w 845774"/>
                <a:gd name="connsiteY75" fmla="*/ 349122 h 435585"/>
                <a:gd name="connsiteX76" fmla="*/ 241650 w 845774"/>
                <a:gd name="connsiteY76" fmla="*/ 335303 h 435585"/>
                <a:gd name="connsiteX77" fmla="*/ 255469 w 845774"/>
                <a:gd name="connsiteY77" fmla="*/ 324939 h 435585"/>
                <a:gd name="connsiteX78" fmla="*/ 262379 w 845774"/>
                <a:gd name="connsiteY78" fmla="*/ 328394 h 435585"/>
                <a:gd name="connsiteX79" fmla="*/ 252014 w 845774"/>
                <a:gd name="connsiteY79" fmla="*/ 349122 h 435585"/>
                <a:gd name="connsiteX80" fmla="*/ 227831 w 845774"/>
                <a:gd name="connsiteY80" fmla="*/ 366396 h 435585"/>
                <a:gd name="connsiteX81" fmla="*/ 207102 w 845774"/>
                <a:gd name="connsiteY81" fmla="*/ 366396 h 435585"/>
                <a:gd name="connsiteX82" fmla="*/ 176009 w 845774"/>
                <a:gd name="connsiteY82" fmla="*/ 362942 h 435585"/>
                <a:gd name="connsiteX83" fmla="*/ 162189 w 845774"/>
                <a:gd name="connsiteY83" fmla="*/ 352577 h 435585"/>
                <a:gd name="connsiteX84" fmla="*/ 151825 w 845774"/>
                <a:gd name="connsiteY84" fmla="*/ 338758 h 435585"/>
                <a:gd name="connsiteX85" fmla="*/ 107006 w 845774"/>
                <a:gd name="connsiteY85" fmla="*/ 338758 h 435585"/>
                <a:gd name="connsiteX86" fmla="*/ 107006 w 845774"/>
                <a:gd name="connsiteY86" fmla="*/ 352577 h 435585"/>
                <a:gd name="connsiteX87" fmla="*/ 120825 w 845774"/>
                <a:gd name="connsiteY87" fmla="*/ 366396 h 435585"/>
                <a:gd name="connsiteX88" fmla="*/ 138006 w 845774"/>
                <a:gd name="connsiteY88" fmla="*/ 366396 h 435585"/>
                <a:gd name="connsiteX89" fmla="*/ 144915 w 845774"/>
                <a:gd name="connsiteY89" fmla="*/ 380309 h 435585"/>
                <a:gd name="connsiteX90" fmla="*/ 124280 w 845774"/>
                <a:gd name="connsiteY90" fmla="*/ 380309 h 435585"/>
                <a:gd name="connsiteX91" fmla="*/ 96641 w 845774"/>
                <a:gd name="connsiteY91" fmla="*/ 380309 h 435585"/>
                <a:gd name="connsiteX92" fmla="*/ 72458 w 845774"/>
                <a:gd name="connsiteY92" fmla="*/ 387219 h 435585"/>
                <a:gd name="connsiteX93" fmla="*/ 65548 w 845774"/>
                <a:gd name="connsiteY93" fmla="*/ 407948 h 435585"/>
                <a:gd name="connsiteX94" fmla="*/ 79367 w 845774"/>
                <a:gd name="connsiteY94" fmla="*/ 421767 h 435585"/>
                <a:gd name="connsiteX95" fmla="*/ 96641 w 845774"/>
                <a:gd name="connsiteY95" fmla="*/ 407948 h 435585"/>
                <a:gd name="connsiteX96" fmla="*/ 107006 w 845774"/>
                <a:gd name="connsiteY96" fmla="*/ 421767 h 435585"/>
                <a:gd name="connsiteX97" fmla="*/ 117370 w 845774"/>
                <a:gd name="connsiteY97" fmla="*/ 414857 h 435585"/>
                <a:gd name="connsiteX98" fmla="*/ 124280 w 845774"/>
                <a:gd name="connsiteY98" fmla="*/ 421767 h 435585"/>
                <a:gd name="connsiteX99" fmla="*/ 141460 w 845774"/>
                <a:gd name="connsiteY99" fmla="*/ 411402 h 435585"/>
                <a:gd name="connsiteX100" fmla="*/ 151825 w 845774"/>
                <a:gd name="connsiteY100" fmla="*/ 421767 h 435585"/>
                <a:gd name="connsiteX101" fmla="*/ 207102 w 845774"/>
                <a:gd name="connsiteY101" fmla="*/ 421767 h 435585"/>
                <a:gd name="connsiteX102" fmla="*/ 214011 w 845774"/>
                <a:gd name="connsiteY102" fmla="*/ 411402 h 435585"/>
                <a:gd name="connsiteX103" fmla="*/ 227831 w 845774"/>
                <a:gd name="connsiteY103" fmla="*/ 421767 h 435585"/>
                <a:gd name="connsiteX104" fmla="*/ 238195 w 845774"/>
                <a:gd name="connsiteY104" fmla="*/ 411402 h 435585"/>
                <a:gd name="connsiteX105" fmla="*/ 258924 w 845774"/>
                <a:gd name="connsiteY105" fmla="*/ 418312 h 435585"/>
                <a:gd name="connsiteX106" fmla="*/ 279559 w 845774"/>
                <a:gd name="connsiteY106" fmla="*/ 414857 h 435585"/>
                <a:gd name="connsiteX107" fmla="*/ 296834 w 845774"/>
                <a:gd name="connsiteY107" fmla="*/ 421767 h 435585"/>
                <a:gd name="connsiteX108" fmla="*/ 296834 w 845774"/>
                <a:gd name="connsiteY108" fmla="*/ 435586 h 435585"/>
                <a:gd name="connsiteX109" fmla="*/ 324472 w 845774"/>
                <a:gd name="connsiteY109" fmla="*/ 432131 h 435585"/>
                <a:gd name="connsiteX110" fmla="*/ 352110 w 845774"/>
                <a:gd name="connsiteY110" fmla="*/ 421767 h 435585"/>
                <a:gd name="connsiteX111" fmla="*/ 376294 w 845774"/>
                <a:gd name="connsiteY111" fmla="*/ 414857 h 435585"/>
                <a:gd name="connsiteX112" fmla="*/ 386659 w 845774"/>
                <a:gd name="connsiteY112" fmla="*/ 407948 h 435585"/>
                <a:gd name="connsiteX113" fmla="*/ 383204 w 845774"/>
                <a:gd name="connsiteY113" fmla="*/ 390673 h 435585"/>
                <a:gd name="connsiteX114" fmla="*/ 376294 w 845774"/>
                <a:gd name="connsiteY114" fmla="*/ 383764 h 435585"/>
                <a:gd name="connsiteX115" fmla="*/ 369385 w 845774"/>
                <a:gd name="connsiteY115" fmla="*/ 390673 h 435585"/>
                <a:gd name="connsiteX116" fmla="*/ 355565 w 845774"/>
                <a:gd name="connsiteY116" fmla="*/ 401038 h 435585"/>
                <a:gd name="connsiteX117" fmla="*/ 352110 w 845774"/>
                <a:gd name="connsiteY117" fmla="*/ 390673 h 435585"/>
                <a:gd name="connsiteX118" fmla="*/ 348656 w 845774"/>
                <a:gd name="connsiteY118" fmla="*/ 380309 h 435585"/>
                <a:gd name="connsiteX119" fmla="*/ 310653 w 845774"/>
                <a:gd name="connsiteY119" fmla="*/ 380309 h 435585"/>
                <a:gd name="connsiteX120" fmla="*/ 283014 w 845774"/>
                <a:gd name="connsiteY120" fmla="*/ 373399 h 435585"/>
                <a:gd name="connsiteX121" fmla="*/ 286469 w 845774"/>
                <a:gd name="connsiteY121" fmla="*/ 359487 h 435585"/>
                <a:gd name="connsiteX122" fmla="*/ 321017 w 845774"/>
                <a:gd name="connsiteY122" fmla="*/ 366396 h 435585"/>
                <a:gd name="connsiteX123" fmla="*/ 362475 w 845774"/>
                <a:gd name="connsiteY123" fmla="*/ 366396 h 435585"/>
                <a:gd name="connsiteX124" fmla="*/ 379749 w 845774"/>
                <a:gd name="connsiteY124" fmla="*/ 356032 h 435585"/>
                <a:gd name="connsiteX125" fmla="*/ 386659 w 845774"/>
                <a:gd name="connsiteY125" fmla="*/ 335303 h 435585"/>
                <a:gd name="connsiteX126" fmla="*/ 438387 w 845774"/>
                <a:gd name="connsiteY126" fmla="*/ 331848 h 435585"/>
                <a:gd name="connsiteX127" fmla="*/ 445297 w 845774"/>
                <a:gd name="connsiteY127" fmla="*/ 324939 h 435585"/>
                <a:gd name="connsiteX128" fmla="*/ 448752 w 845774"/>
                <a:gd name="connsiteY128" fmla="*/ 318029 h 435585"/>
                <a:gd name="connsiteX129" fmla="*/ 459116 w 845774"/>
                <a:gd name="connsiteY129" fmla="*/ 311120 h 435585"/>
                <a:gd name="connsiteX130" fmla="*/ 438387 w 845774"/>
                <a:gd name="connsiteY130" fmla="*/ 300755 h 435585"/>
                <a:gd name="connsiteX131" fmla="*/ 431478 w 845774"/>
                <a:gd name="connsiteY131" fmla="*/ 290391 h 435585"/>
                <a:gd name="connsiteX132" fmla="*/ 462571 w 845774"/>
                <a:gd name="connsiteY132" fmla="*/ 293845 h 435585"/>
                <a:gd name="connsiteX133" fmla="*/ 469481 w 845774"/>
                <a:gd name="connsiteY133" fmla="*/ 290391 h 435585"/>
                <a:gd name="connsiteX134" fmla="*/ 469481 w 845774"/>
                <a:gd name="connsiteY134" fmla="*/ 280026 h 435585"/>
                <a:gd name="connsiteX135" fmla="*/ 441842 w 845774"/>
                <a:gd name="connsiteY135" fmla="*/ 276571 h 435585"/>
                <a:gd name="connsiteX136" fmla="*/ 438387 w 845774"/>
                <a:gd name="connsiteY136" fmla="*/ 266207 h 435585"/>
                <a:gd name="connsiteX137" fmla="*/ 462571 w 845774"/>
                <a:gd name="connsiteY137" fmla="*/ 266207 h 435585"/>
                <a:gd name="connsiteX138" fmla="*/ 476390 w 845774"/>
                <a:gd name="connsiteY138" fmla="*/ 266207 h 435585"/>
                <a:gd name="connsiteX139" fmla="*/ 469481 w 845774"/>
                <a:gd name="connsiteY139" fmla="*/ 255843 h 435585"/>
                <a:gd name="connsiteX140" fmla="*/ 438387 w 845774"/>
                <a:gd name="connsiteY140" fmla="*/ 255843 h 435585"/>
                <a:gd name="connsiteX141" fmla="*/ 414204 w 845774"/>
                <a:gd name="connsiteY141" fmla="*/ 255843 h 435585"/>
                <a:gd name="connsiteX142" fmla="*/ 403932 w 845774"/>
                <a:gd name="connsiteY142" fmla="*/ 245478 h 435585"/>
                <a:gd name="connsiteX143" fmla="*/ 424568 w 845774"/>
                <a:gd name="connsiteY143" fmla="*/ 238569 h 435585"/>
                <a:gd name="connsiteX144" fmla="*/ 455661 w 845774"/>
                <a:gd name="connsiteY144" fmla="*/ 242023 h 435585"/>
                <a:gd name="connsiteX145" fmla="*/ 476390 w 845774"/>
                <a:gd name="connsiteY145" fmla="*/ 245478 h 435585"/>
                <a:gd name="connsiteX146" fmla="*/ 493664 w 845774"/>
                <a:gd name="connsiteY146" fmla="*/ 238569 h 435585"/>
                <a:gd name="connsiteX147" fmla="*/ 507483 w 845774"/>
                <a:gd name="connsiteY147" fmla="*/ 238569 h 435585"/>
                <a:gd name="connsiteX148" fmla="*/ 510938 w 845774"/>
                <a:gd name="connsiteY148" fmla="*/ 238569 h 435585"/>
                <a:gd name="connsiteX149" fmla="*/ 510938 w 845774"/>
                <a:gd name="connsiteY149" fmla="*/ 235114 h 435585"/>
                <a:gd name="connsiteX150" fmla="*/ 510938 w 845774"/>
                <a:gd name="connsiteY150" fmla="*/ 228204 h 435585"/>
                <a:gd name="connsiteX151" fmla="*/ 497119 w 845774"/>
                <a:gd name="connsiteY151" fmla="*/ 224749 h 435585"/>
                <a:gd name="connsiteX152" fmla="*/ 483300 w 845774"/>
                <a:gd name="connsiteY152" fmla="*/ 217840 h 435585"/>
                <a:gd name="connsiteX153" fmla="*/ 493664 w 845774"/>
                <a:gd name="connsiteY153" fmla="*/ 214292 h 435585"/>
                <a:gd name="connsiteX154" fmla="*/ 517848 w 845774"/>
                <a:gd name="connsiteY154" fmla="*/ 221294 h 435585"/>
                <a:gd name="connsiteX155" fmla="*/ 531574 w 845774"/>
                <a:gd name="connsiteY155" fmla="*/ 231659 h 435585"/>
                <a:gd name="connsiteX156" fmla="*/ 559212 w 845774"/>
                <a:gd name="connsiteY156" fmla="*/ 224749 h 435585"/>
                <a:gd name="connsiteX157" fmla="*/ 579941 w 845774"/>
                <a:gd name="connsiteY157" fmla="*/ 207382 h 435585"/>
                <a:gd name="connsiteX158" fmla="*/ 586851 w 845774"/>
                <a:gd name="connsiteY158" fmla="*/ 186653 h 435585"/>
                <a:gd name="connsiteX159" fmla="*/ 607579 w 845774"/>
                <a:gd name="connsiteY159" fmla="*/ 186653 h 435585"/>
                <a:gd name="connsiteX160" fmla="*/ 638673 w 845774"/>
                <a:gd name="connsiteY160" fmla="*/ 162469 h 435585"/>
                <a:gd name="connsiteX161" fmla="*/ 683492 w 845774"/>
                <a:gd name="connsiteY161" fmla="*/ 148650 h 435585"/>
                <a:gd name="connsiteX162" fmla="*/ 711131 w 845774"/>
                <a:gd name="connsiteY162" fmla="*/ 131376 h 435585"/>
                <a:gd name="connsiteX163" fmla="*/ 749133 w 845774"/>
                <a:gd name="connsiteY163" fmla="*/ 117557 h 435585"/>
                <a:gd name="connsiteX164" fmla="*/ 745678 w 845774"/>
                <a:gd name="connsiteY164" fmla="*/ 110647 h 435585"/>
                <a:gd name="connsiteX165" fmla="*/ 721495 w 845774"/>
                <a:gd name="connsiteY165" fmla="*/ 110647 h 435585"/>
                <a:gd name="connsiteX166" fmla="*/ 686947 w 845774"/>
                <a:gd name="connsiteY166" fmla="*/ 121012 h 435585"/>
                <a:gd name="connsiteX167" fmla="*/ 635218 w 845774"/>
                <a:gd name="connsiteY167" fmla="*/ 127921 h 435585"/>
                <a:gd name="connsiteX168" fmla="*/ 669766 w 845774"/>
                <a:gd name="connsiteY168" fmla="*/ 114102 h 435585"/>
                <a:gd name="connsiteX169" fmla="*/ 686947 w 845774"/>
                <a:gd name="connsiteY169" fmla="*/ 110647 h 435585"/>
                <a:gd name="connsiteX170" fmla="*/ 649037 w 845774"/>
                <a:gd name="connsiteY170" fmla="*/ 107192 h 435585"/>
                <a:gd name="connsiteX171" fmla="*/ 659402 w 845774"/>
                <a:gd name="connsiteY171" fmla="*/ 100283 h 435585"/>
                <a:gd name="connsiteX172" fmla="*/ 762953 w 845774"/>
                <a:gd name="connsiteY172" fmla="*/ 96828 h 435585"/>
                <a:gd name="connsiteX173" fmla="*/ 790591 w 845774"/>
                <a:gd name="connsiteY173" fmla="*/ 83009 h 435585"/>
                <a:gd name="connsiteX174" fmla="*/ 831955 w 845774"/>
                <a:gd name="connsiteY174" fmla="*/ 69190 h 435585"/>
                <a:gd name="connsiteX175" fmla="*/ 845775 w 845774"/>
                <a:gd name="connsiteY175" fmla="*/ 62280 h 435585"/>
                <a:gd name="connsiteX176" fmla="*/ 835410 w 845774"/>
                <a:gd name="connsiteY176" fmla="*/ 44913 h 435585"/>
                <a:gd name="connsiteX177" fmla="*/ 794046 w 845774"/>
                <a:gd name="connsiteY177" fmla="*/ 44913 h 435585"/>
                <a:gd name="connsiteX178" fmla="*/ 780227 w 845774"/>
                <a:gd name="connsiteY178" fmla="*/ 24184 h 435585"/>
                <a:gd name="connsiteX179" fmla="*/ 749133 w 845774"/>
                <a:gd name="connsiteY179" fmla="*/ 24184 h 435585"/>
                <a:gd name="connsiteX180" fmla="*/ 707675 w 845774"/>
                <a:gd name="connsiteY180" fmla="*/ 24184 h 435585"/>
                <a:gd name="connsiteX181" fmla="*/ 669766 w 845774"/>
                <a:gd name="connsiteY181" fmla="*/ 34548 h 435585"/>
                <a:gd name="connsiteX182" fmla="*/ 669766 w 845774"/>
                <a:gd name="connsiteY182" fmla="*/ 27638 h 435585"/>
                <a:gd name="connsiteX183" fmla="*/ 697311 w 845774"/>
                <a:gd name="connsiteY183" fmla="*/ 20729 h 435585"/>
                <a:gd name="connsiteX184" fmla="*/ 700766 w 845774"/>
                <a:gd name="connsiteY184" fmla="*/ 13819 h 435585"/>
                <a:gd name="connsiteX185" fmla="*/ 631763 w 845774"/>
                <a:gd name="connsiteY185" fmla="*/ 10364 h 435585"/>
                <a:gd name="connsiteX186" fmla="*/ 604125 w 845774"/>
                <a:gd name="connsiteY186" fmla="*/ 3455 h 435585"/>
                <a:gd name="connsiteX187" fmla="*/ 569577 w 845774"/>
                <a:gd name="connsiteY187" fmla="*/ 6910 h 435585"/>
                <a:gd name="connsiteX188" fmla="*/ 562667 w 845774"/>
                <a:gd name="connsiteY188" fmla="*/ 17274 h 435585"/>
                <a:gd name="connsiteX189" fmla="*/ 548848 w 845774"/>
                <a:gd name="connsiteY189" fmla="*/ 6910 h 435585"/>
                <a:gd name="connsiteX190" fmla="*/ 514393 w 845774"/>
                <a:gd name="connsiteY190" fmla="*/ 3455 h 435585"/>
                <a:gd name="connsiteX191" fmla="*/ 510938 w 845774"/>
                <a:gd name="connsiteY191" fmla="*/ 17274 h 435585"/>
                <a:gd name="connsiteX192" fmla="*/ 524757 w 845774"/>
                <a:gd name="connsiteY192" fmla="*/ 31093 h 435585"/>
                <a:gd name="connsiteX193" fmla="*/ 490209 w 845774"/>
                <a:gd name="connsiteY193" fmla="*/ 20729 h 435585"/>
                <a:gd name="connsiteX194" fmla="*/ 479845 w 845774"/>
                <a:gd name="connsiteY194" fmla="*/ 6910 h 435585"/>
                <a:gd name="connsiteX195" fmla="*/ 407294 w 845774"/>
                <a:gd name="connsiteY195" fmla="*/ 0 h 435585"/>
                <a:gd name="connsiteX196" fmla="*/ 410749 w 845774"/>
                <a:gd name="connsiteY196" fmla="*/ 10364 h 435585"/>
                <a:gd name="connsiteX197" fmla="*/ 424568 w 845774"/>
                <a:gd name="connsiteY197" fmla="*/ 24184 h 435585"/>
                <a:gd name="connsiteX198" fmla="*/ 438387 w 845774"/>
                <a:gd name="connsiteY198" fmla="*/ 38003 h 435585"/>
                <a:gd name="connsiteX199" fmla="*/ 424568 w 845774"/>
                <a:gd name="connsiteY199" fmla="*/ 44913 h 435585"/>
                <a:gd name="connsiteX200" fmla="*/ 407294 w 845774"/>
                <a:gd name="connsiteY200" fmla="*/ 31093 h 435585"/>
                <a:gd name="connsiteX201" fmla="*/ 393568 w 845774"/>
                <a:gd name="connsiteY201" fmla="*/ 24184 h 435585"/>
                <a:gd name="connsiteX202" fmla="*/ 372839 w 845774"/>
                <a:gd name="connsiteY202" fmla="*/ 17274 h 435585"/>
                <a:gd name="connsiteX203" fmla="*/ 341746 w 845774"/>
                <a:gd name="connsiteY203" fmla="*/ 13819 h 435585"/>
                <a:gd name="connsiteX204" fmla="*/ 317562 w 845774"/>
                <a:gd name="connsiteY204" fmla="*/ 24184 h 435585"/>
                <a:gd name="connsiteX205" fmla="*/ 293379 w 845774"/>
                <a:gd name="connsiteY205" fmla="*/ 24184 h 435585"/>
                <a:gd name="connsiteX206" fmla="*/ 283014 w 845774"/>
                <a:gd name="connsiteY206" fmla="*/ 31093 h 435585"/>
                <a:gd name="connsiteX207" fmla="*/ 258924 w 845774"/>
                <a:gd name="connsiteY207" fmla="*/ 34548 h 435585"/>
                <a:gd name="connsiteX208" fmla="*/ 252014 w 845774"/>
                <a:gd name="connsiteY208" fmla="*/ 44913 h 435585"/>
                <a:gd name="connsiteX209" fmla="*/ 269288 w 845774"/>
                <a:gd name="connsiteY209" fmla="*/ 55370 h 435585"/>
                <a:gd name="connsiteX210" fmla="*/ 289924 w 845774"/>
                <a:gd name="connsiteY210" fmla="*/ 69190 h 435585"/>
                <a:gd name="connsiteX211" fmla="*/ 255469 w 845774"/>
                <a:gd name="connsiteY211" fmla="*/ 65735 h 435585"/>
                <a:gd name="connsiteX212" fmla="*/ 224376 w 845774"/>
                <a:gd name="connsiteY212" fmla="*/ 58825 h 435585"/>
                <a:gd name="connsiteX213" fmla="*/ 203647 w 845774"/>
                <a:gd name="connsiteY213" fmla="*/ 48367 h 435585"/>
                <a:gd name="connsiteX214" fmla="*/ 176009 w 845774"/>
                <a:gd name="connsiteY214" fmla="*/ 48367 h 435585"/>
                <a:gd name="connsiteX215" fmla="*/ 169099 w 845774"/>
                <a:gd name="connsiteY215" fmla="*/ 62280 h 435585"/>
                <a:gd name="connsiteX216" fmla="*/ 182918 w 845774"/>
                <a:gd name="connsiteY216" fmla="*/ 79554 h 435585"/>
                <a:gd name="connsiteX217" fmla="*/ 162189 w 845774"/>
                <a:gd name="connsiteY217" fmla="*/ 79554 h 435585"/>
                <a:gd name="connsiteX218" fmla="*/ 138006 w 845774"/>
                <a:gd name="connsiteY218" fmla="*/ 79554 h 435585"/>
                <a:gd name="connsiteX219" fmla="*/ 124280 w 845774"/>
                <a:gd name="connsiteY219" fmla="*/ 72644 h 435585"/>
                <a:gd name="connsiteX220" fmla="*/ 93187 w 845774"/>
                <a:gd name="connsiteY220" fmla="*/ 72644 h 435585"/>
                <a:gd name="connsiteX221" fmla="*/ 79367 w 845774"/>
                <a:gd name="connsiteY221" fmla="*/ 79554 h 435585"/>
                <a:gd name="connsiteX222" fmla="*/ 62093 w 845774"/>
                <a:gd name="connsiteY222" fmla="*/ 86464 h 435585"/>
                <a:gd name="connsiteX223" fmla="*/ 20636 w 845774"/>
                <a:gd name="connsiteY223" fmla="*/ 86464 h 435585"/>
                <a:gd name="connsiteX224" fmla="*/ 0 w 845774"/>
                <a:gd name="connsiteY224" fmla="*/ 103738 h 435585"/>
                <a:gd name="connsiteX225" fmla="*/ 24090 w 845774"/>
                <a:gd name="connsiteY225" fmla="*/ 103738 h 435585"/>
                <a:gd name="connsiteX226" fmla="*/ 34455 w 845774"/>
                <a:gd name="connsiteY226" fmla="*/ 96828 h 43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845774" h="435585">
                  <a:moveTo>
                    <a:pt x="34455" y="96828"/>
                  </a:moveTo>
                  <a:lnTo>
                    <a:pt x="48274" y="103738"/>
                  </a:lnTo>
                  <a:lnTo>
                    <a:pt x="37909" y="110647"/>
                  </a:lnTo>
                  <a:lnTo>
                    <a:pt x="34455" y="121012"/>
                  </a:lnTo>
                  <a:lnTo>
                    <a:pt x="55184" y="114102"/>
                  </a:lnTo>
                  <a:lnTo>
                    <a:pt x="69003" y="107192"/>
                  </a:lnTo>
                  <a:lnTo>
                    <a:pt x="89732" y="107192"/>
                  </a:lnTo>
                  <a:lnTo>
                    <a:pt x="103551" y="110647"/>
                  </a:lnTo>
                  <a:lnTo>
                    <a:pt x="82822" y="114102"/>
                  </a:lnTo>
                  <a:lnTo>
                    <a:pt x="58638" y="124466"/>
                  </a:lnTo>
                  <a:lnTo>
                    <a:pt x="44819" y="131376"/>
                  </a:lnTo>
                  <a:lnTo>
                    <a:pt x="65548" y="138286"/>
                  </a:lnTo>
                  <a:lnTo>
                    <a:pt x="107006" y="134831"/>
                  </a:lnTo>
                  <a:lnTo>
                    <a:pt x="138006" y="134831"/>
                  </a:lnTo>
                  <a:lnTo>
                    <a:pt x="165644" y="124466"/>
                  </a:lnTo>
                  <a:lnTo>
                    <a:pt x="179463" y="131376"/>
                  </a:lnTo>
                  <a:lnTo>
                    <a:pt x="169099" y="141741"/>
                  </a:lnTo>
                  <a:lnTo>
                    <a:pt x="155280" y="152105"/>
                  </a:lnTo>
                  <a:lnTo>
                    <a:pt x="144915" y="169379"/>
                  </a:lnTo>
                  <a:lnTo>
                    <a:pt x="189828" y="176289"/>
                  </a:lnTo>
                  <a:lnTo>
                    <a:pt x="220921" y="172834"/>
                  </a:lnTo>
                  <a:lnTo>
                    <a:pt x="227831" y="159015"/>
                  </a:lnTo>
                  <a:lnTo>
                    <a:pt x="238195" y="159015"/>
                  </a:lnTo>
                  <a:lnTo>
                    <a:pt x="248560" y="169379"/>
                  </a:lnTo>
                  <a:lnTo>
                    <a:pt x="279559" y="165924"/>
                  </a:lnTo>
                  <a:lnTo>
                    <a:pt x="314107" y="165924"/>
                  </a:lnTo>
                  <a:lnTo>
                    <a:pt x="338291" y="148650"/>
                  </a:lnTo>
                  <a:lnTo>
                    <a:pt x="355565" y="131376"/>
                  </a:lnTo>
                  <a:lnTo>
                    <a:pt x="390113" y="117557"/>
                  </a:lnTo>
                  <a:lnTo>
                    <a:pt x="400478" y="121012"/>
                  </a:lnTo>
                  <a:lnTo>
                    <a:pt x="386659" y="127921"/>
                  </a:lnTo>
                  <a:lnTo>
                    <a:pt x="372839" y="138286"/>
                  </a:lnTo>
                  <a:lnTo>
                    <a:pt x="359020" y="148650"/>
                  </a:lnTo>
                  <a:lnTo>
                    <a:pt x="372839" y="152105"/>
                  </a:lnTo>
                  <a:lnTo>
                    <a:pt x="355565" y="162469"/>
                  </a:lnTo>
                  <a:lnTo>
                    <a:pt x="334836" y="176289"/>
                  </a:lnTo>
                  <a:lnTo>
                    <a:pt x="289924" y="179743"/>
                  </a:lnTo>
                  <a:lnTo>
                    <a:pt x="252014" y="179743"/>
                  </a:lnTo>
                  <a:lnTo>
                    <a:pt x="241650" y="190108"/>
                  </a:lnTo>
                  <a:lnTo>
                    <a:pt x="269288" y="203927"/>
                  </a:lnTo>
                  <a:lnTo>
                    <a:pt x="286469" y="217840"/>
                  </a:lnTo>
                  <a:lnTo>
                    <a:pt x="310653" y="224749"/>
                  </a:lnTo>
                  <a:lnTo>
                    <a:pt x="286469" y="231659"/>
                  </a:lnTo>
                  <a:lnTo>
                    <a:pt x="269288" y="221294"/>
                  </a:lnTo>
                  <a:lnTo>
                    <a:pt x="248560" y="207382"/>
                  </a:lnTo>
                  <a:lnTo>
                    <a:pt x="224376" y="190108"/>
                  </a:lnTo>
                  <a:lnTo>
                    <a:pt x="186373" y="193563"/>
                  </a:lnTo>
                  <a:lnTo>
                    <a:pt x="155280" y="183198"/>
                  </a:lnTo>
                  <a:lnTo>
                    <a:pt x="148370" y="197017"/>
                  </a:lnTo>
                  <a:lnTo>
                    <a:pt x="148370" y="221294"/>
                  </a:lnTo>
                  <a:lnTo>
                    <a:pt x="162189" y="224749"/>
                  </a:lnTo>
                  <a:lnTo>
                    <a:pt x="182918" y="224749"/>
                  </a:lnTo>
                  <a:lnTo>
                    <a:pt x="196737" y="238569"/>
                  </a:lnTo>
                  <a:lnTo>
                    <a:pt x="217466" y="266207"/>
                  </a:lnTo>
                  <a:lnTo>
                    <a:pt x="245105" y="273117"/>
                  </a:lnTo>
                  <a:lnTo>
                    <a:pt x="265834" y="269662"/>
                  </a:lnTo>
                  <a:lnTo>
                    <a:pt x="276105" y="273117"/>
                  </a:lnTo>
                  <a:lnTo>
                    <a:pt x="258924" y="286936"/>
                  </a:lnTo>
                  <a:lnTo>
                    <a:pt x="238195" y="286936"/>
                  </a:lnTo>
                  <a:lnTo>
                    <a:pt x="217466" y="280026"/>
                  </a:lnTo>
                  <a:lnTo>
                    <a:pt x="196737" y="276571"/>
                  </a:lnTo>
                  <a:lnTo>
                    <a:pt x="179463" y="280026"/>
                  </a:lnTo>
                  <a:lnTo>
                    <a:pt x="148370" y="280026"/>
                  </a:lnTo>
                  <a:lnTo>
                    <a:pt x="134644" y="286936"/>
                  </a:lnTo>
                  <a:lnTo>
                    <a:pt x="117370" y="304210"/>
                  </a:lnTo>
                  <a:lnTo>
                    <a:pt x="131189" y="318029"/>
                  </a:lnTo>
                  <a:lnTo>
                    <a:pt x="151825" y="314574"/>
                  </a:lnTo>
                  <a:lnTo>
                    <a:pt x="172554" y="321484"/>
                  </a:lnTo>
                  <a:lnTo>
                    <a:pt x="182918" y="311120"/>
                  </a:lnTo>
                  <a:lnTo>
                    <a:pt x="196737" y="300755"/>
                  </a:lnTo>
                  <a:lnTo>
                    <a:pt x="200192" y="314574"/>
                  </a:lnTo>
                  <a:lnTo>
                    <a:pt x="203647" y="321484"/>
                  </a:lnTo>
                  <a:lnTo>
                    <a:pt x="186373" y="335303"/>
                  </a:lnTo>
                  <a:lnTo>
                    <a:pt x="179463" y="345668"/>
                  </a:lnTo>
                  <a:lnTo>
                    <a:pt x="210557" y="356032"/>
                  </a:lnTo>
                  <a:lnTo>
                    <a:pt x="227831" y="349122"/>
                  </a:lnTo>
                  <a:lnTo>
                    <a:pt x="241650" y="335303"/>
                  </a:lnTo>
                  <a:lnTo>
                    <a:pt x="255469" y="324939"/>
                  </a:lnTo>
                  <a:lnTo>
                    <a:pt x="262379" y="328394"/>
                  </a:lnTo>
                  <a:lnTo>
                    <a:pt x="252014" y="349122"/>
                  </a:lnTo>
                  <a:lnTo>
                    <a:pt x="227831" y="366396"/>
                  </a:lnTo>
                  <a:lnTo>
                    <a:pt x="207102" y="366396"/>
                  </a:lnTo>
                  <a:lnTo>
                    <a:pt x="176009" y="362942"/>
                  </a:lnTo>
                  <a:lnTo>
                    <a:pt x="162189" y="352577"/>
                  </a:lnTo>
                  <a:lnTo>
                    <a:pt x="151825" y="338758"/>
                  </a:lnTo>
                  <a:lnTo>
                    <a:pt x="107006" y="338758"/>
                  </a:lnTo>
                  <a:lnTo>
                    <a:pt x="107006" y="352577"/>
                  </a:lnTo>
                  <a:lnTo>
                    <a:pt x="120825" y="366396"/>
                  </a:lnTo>
                  <a:lnTo>
                    <a:pt x="138006" y="366396"/>
                  </a:lnTo>
                  <a:lnTo>
                    <a:pt x="144915" y="380309"/>
                  </a:lnTo>
                  <a:lnTo>
                    <a:pt x="124280" y="380309"/>
                  </a:lnTo>
                  <a:lnTo>
                    <a:pt x="96641" y="380309"/>
                  </a:lnTo>
                  <a:lnTo>
                    <a:pt x="72458" y="387219"/>
                  </a:lnTo>
                  <a:lnTo>
                    <a:pt x="65548" y="407948"/>
                  </a:lnTo>
                  <a:lnTo>
                    <a:pt x="79367" y="421767"/>
                  </a:lnTo>
                  <a:lnTo>
                    <a:pt x="96641" y="407948"/>
                  </a:lnTo>
                  <a:lnTo>
                    <a:pt x="107006" y="421767"/>
                  </a:lnTo>
                  <a:lnTo>
                    <a:pt x="117370" y="414857"/>
                  </a:lnTo>
                  <a:lnTo>
                    <a:pt x="124280" y="421767"/>
                  </a:lnTo>
                  <a:lnTo>
                    <a:pt x="141460" y="411402"/>
                  </a:lnTo>
                  <a:lnTo>
                    <a:pt x="151825" y="421767"/>
                  </a:lnTo>
                  <a:lnTo>
                    <a:pt x="207102" y="421767"/>
                  </a:lnTo>
                  <a:lnTo>
                    <a:pt x="214011" y="411402"/>
                  </a:lnTo>
                  <a:lnTo>
                    <a:pt x="227831" y="421767"/>
                  </a:lnTo>
                  <a:lnTo>
                    <a:pt x="238195" y="411402"/>
                  </a:lnTo>
                  <a:lnTo>
                    <a:pt x="258924" y="418312"/>
                  </a:lnTo>
                  <a:lnTo>
                    <a:pt x="279559" y="414857"/>
                  </a:lnTo>
                  <a:lnTo>
                    <a:pt x="296834" y="421767"/>
                  </a:lnTo>
                  <a:lnTo>
                    <a:pt x="296834" y="435586"/>
                  </a:lnTo>
                  <a:lnTo>
                    <a:pt x="324472" y="432131"/>
                  </a:lnTo>
                  <a:lnTo>
                    <a:pt x="352110" y="421767"/>
                  </a:lnTo>
                  <a:lnTo>
                    <a:pt x="376294" y="414857"/>
                  </a:lnTo>
                  <a:lnTo>
                    <a:pt x="386659" y="407948"/>
                  </a:lnTo>
                  <a:lnTo>
                    <a:pt x="383204" y="390673"/>
                  </a:lnTo>
                  <a:lnTo>
                    <a:pt x="376294" y="383764"/>
                  </a:lnTo>
                  <a:lnTo>
                    <a:pt x="369385" y="390673"/>
                  </a:lnTo>
                  <a:lnTo>
                    <a:pt x="355565" y="401038"/>
                  </a:lnTo>
                  <a:lnTo>
                    <a:pt x="352110" y="390673"/>
                  </a:lnTo>
                  <a:lnTo>
                    <a:pt x="348656" y="380309"/>
                  </a:lnTo>
                  <a:lnTo>
                    <a:pt x="310653" y="380309"/>
                  </a:lnTo>
                  <a:lnTo>
                    <a:pt x="283014" y="373399"/>
                  </a:lnTo>
                  <a:lnTo>
                    <a:pt x="286469" y="359487"/>
                  </a:lnTo>
                  <a:lnTo>
                    <a:pt x="321017" y="366396"/>
                  </a:lnTo>
                  <a:lnTo>
                    <a:pt x="362475" y="366396"/>
                  </a:lnTo>
                  <a:lnTo>
                    <a:pt x="379749" y="356032"/>
                  </a:lnTo>
                  <a:lnTo>
                    <a:pt x="386659" y="335303"/>
                  </a:lnTo>
                  <a:lnTo>
                    <a:pt x="438387" y="331848"/>
                  </a:lnTo>
                  <a:lnTo>
                    <a:pt x="445297" y="324939"/>
                  </a:lnTo>
                  <a:lnTo>
                    <a:pt x="448752" y="318029"/>
                  </a:lnTo>
                  <a:lnTo>
                    <a:pt x="459116" y="311120"/>
                  </a:lnTo>
                  <a:lnTo>
                    <a:pt x="438387" y="300755"/>
                  </a:lnTo>
                  <a:lnTo>
                    <a:pt x="431478" y="290391"/>
                  </a:lnTo>
                  <a:lnTo>
                    <a:pt x="462571" y="293845"/>
                  </a:lnTo>
                  <a:lnTo>
                    <a:pt x="469481" y="290391"/>
                  </a:lnTo>
                  <a:lnTo>
                    <a:pt x="469481" y="280026"/>
                  </a:lnTo>
                  <a:lnTo>
                    <a:pt x="441842" y="276571"/>
                  </a:lnTo>
                  <a:lnTo>
                    <a:pt x="438387" y="266207"/>
                  </a:lnTo>
                  <a:lnTo>
                    <a:pt x="462571" y="266207"/>
                  </a:lnTo>
                  <a:lnTo>
                    <a:pt x="476390" y="266207"/>
                  </a:lnTo>
                  <a:lnTo>
                    <a:pt x="469481" y="255843"/>
                  </a:lnTo>
                  <a:lnTo>
                    <a:pt x="438387" y="255843"/>
                  </a:lnTo>
                  <a:lnTo>
                    <a:pt x="414204" y="255843"/>
                  </a:lnTo>
                  <a:lnTo>
                    <a:pt x="403932" y="245478"/>
                  </a:lnTo>
                  <a:lnTo>
                    <a:pt x="424568" y="238569"/>
                  </a:lnTo>
                  <a:lnTo>
                    <a:pt x="455661" y="242023"/>
                  </a:lnTo>
                  <a:lnTo>
                    <a:pt x="476390" y="245478"/>
                  </a:lnTo>
                  <a:lnTo>
                    <a:pt x="493664" y="238569"/>
                  </a:lnTo>
                  <a:lnTo>
                    <a:pt x="507483" y="238569"/>
                  </a:lnTo>
                  <a:lnTo>
                    <a:pt x="510938" y="238569"/>
                  </a:lnTo>
                  <a:lnTo>
                    <a:pt x="510938" y="235114"/>
                  </a:lnTo>
                  <a:lnTo>
                    <a:pt x="510938" y="228204"/>
                  </a:lnTo>
                  <a:lnTo>
                    <a:pt x="497119" y="224749"/>
                  </a:lnTo>
                  <a:lnTo>
                    <a:pt x="483300" y="217840"/>
                  </a:lnTo>
                  <a:lnTo>
                    <a:pt x="493664" y="214292"/>
                  </a:lnTo>
                  <a:lnTo>
                    <a:pt x="517848" y="221294"/>
                  </a:lnTo>
                  <a:lnTo>
                    <a:pt x="531574" y="231659"/>
                  </a:lnTo>
                  <a:lnTo>
                    <a:pt x="559212" y="224749"/>
                  </a:lnTo>
                  <a:lnTo>
                    <a:pt x="579941" y="207382"/>
                  </a:lnTo>
                  <a:lnTo>
                    <a:pt x="586851" y="186653"/>
                  </a:lnTo>
                  <a:lnTo>
                    <a:pt x="607579" y="186653"/>
                  </a:lnTo>
                  <a:lnTo>
                    <a:pt x="638673" y="162469"/>
                  </a:lnTo>
                  <a:lnTo>
                    <a:pt x="683492" y="148650"/>
                  </a:lnTo>
                  <a:lnTo>
                    <a:pt x="711131" y="131376"/>
                  </a:lnTo>
                  <a:lnTo>
                    <a:pt x="749133" y="117557"/>
                  </a:lnTo>
                  <a:lnTo>
                    <a:pt x="745678" y="110647"/>
                  </a:lnTo>
                  <a:lnTo>
                    <a:pt x="721495" y="110647"/>
                  </a:lnTo>
                  <a:lnTo>
                    <a:pt x="686947" y="121012"/>
                  </a:lnTo>
                  <a:lnTo>
                    <a:pt x="635218" y="127921"/>
                  </a:lnTo>
                  <a:lnTo>
                    <a:pt x="669766" y="114102"/>
                  </a:lnTo>
                  <a:lnTo>
                    <a:pt x="686947" y="110647"/>
                  </a:lnTo>
                  <a:lnTo>
                    <a:pt x="649037" y="107192"/>
                  </a:lnTo>
                  <a:lnTo>
                    <a:pt x="659402" y="100283"/>
                  </a:lnTo>
                  <a:lnTo>
                    <a:pt x="762953" y="96828"/>
                  </a:lnTo>
                  <a:lnTo>
                    <a:pt x="790591" y="83009"/>
                  </a:lnTo>
                  <a:lnTo>
                    <a:pt x="831955" y="69190"/>
                  </a:lnTo>
                  <a:lnTo>
                    <a:pt x="845775" y="62280"/>
                  </a:lnTo>
                  <a:lnTo>
                    <a:pt x="835410" y="44913"/>
                  </a:lnTo>
                  <a:lnTo>
                    <a:pt x="794046" y="44913"/>
                  </a:lnTo>
                  <a:lnTo>
                    <a:pt x="780227" y="24184"/>
                  </a:lnTo>
                  <a:lnTo>
                    <a:pt x="749133" y="24184"/>
                  </a:lnTo>
                  <a:lnTo>
                    <a:pt x="707675" y="24184"/>
                  </a:lnTo>
                  <a:lnTo>
                    <a:pt x="669766" y="34548"/>
                  </a:lnTo>
                  <a:lnTo>
                    <a:pt x="669766" y="27638"/>
                  </a:lnTo>
                  <a:lnTo>
                    <a:pt x="697311" y="20729"/>
                  </a:lnTo>
                  <a:lnTo>
                    <a:pt x="700766" y="13819"/>
                  </a:lnTo>
                  <a:lnTo>
                    <a:pt x="631763" y="10364"/>
                  </a:lnTo>
                  <a:lnTo>
                    <a:pt x="604125" y="3455"/>
                  </a:lnTo>
                  <a:lnTo>
                    <a:pt x="569577" y="6910"/>
                  </a:lnTo>
                  <a:lnTo>
                    <a:pt x="562667" y="17274"/>
                  </a:lnTo>
                  <a:lnTo>
                    <a:pt x="548848" y="6910"/>
                  </a:lnTo>
                  <a:lnTo>
                    <a:pt x="514393" y="3455"/>
                  </a:lnTo>
                  <a:lnTo>
                    <a:pt x="510938" y="17274"/>
                  </a:lnTo>
                  <a:lnTo>
                    <a:pt x="524757" y="31093"/>
                  </a:lnTo>
                  <a:lnTo>
                    <a:pt x="490209" y="20729"/>
                  </a:lnTo>
                  <a:lnTo>
                    <a:pt x="479845" y="6910"/>
                  </a:lnTo>
                  <a:lnTo>
                    <a:pt x="407294" y="0"/>
                  </a:lnTo>
                  <a:lnTo>
                    <a:pt x="410749" y="10364"/>
                  </a:lnTo>
                  <a:lnTo>
                    <a:pt x="424568" y="24184"/>
                  </a:lnTo>
                  <a:lnTo>
                    <a:pt x="438387" y="38003"/>
                  </a:lnTo>
                  <a:lnTo>
                    <a:pt x="424568" y="44913"/>
                  </a:lnTo>
                  <a:lnTo>
                    <a:pt x="407294" y="31093"/>
                  </a:lnTo>
                  <a:lnTo>
                    <a:pt x="393568" y="24184"/>
                  </a:lnTo>
                  <a:lnTo>
                    <a:pt x="372839" y="17274"/>
                  </a:lnTo>
                  <a:lnTo>
                    <a:pt x="341746" y="13819"/>
                  </a:lnTo>
                  <a:lnTo>
                    <a:pt x="317562" y="24184"/>
                  </a:lnTo>
                  <a:lnTo>
                    <a:pt x="293379" y="24184"/>
                  </a:lnTo>
                  <a:lnTo>
                    <a:pt x="283014" y="31093"/>
                  </a:lnTo>
                  <a:lnTo>
                    <a:pt x="258924" y="34548"/>
                  </a:lnTo>
                  <a:lnTo>
                    <a:pt x="252014" y="44913"/>
                  </a:lnTo>
                  <a:lnTo>
                    <a:pt x="269288" y="55370"/>
                  </a:lnTo>
                  <a:lnTo>
                    <a:pt x="289924" y="69190"/>
                  </a:lnTo>
                  <a:lnTo>
                    <a:pt x="255469" y="65735"/>
                  </a:lnTo>
                  <a:lnTo>
                    <a:pt x="224376" y="58825"/>
                  </a:lnTo>
                  <a:lnTo>
                    <a:pt x="203647" y="48367"/>
                  </a:lnTo>
                  <a:lnTo>
                    <a:pt x="176009" y="48367"/>
                  </a:lnTo>
                  <a:lnTo>
                    <a:pt x="169099" y="62280"/>
                  </a:lnTo>
                  <a:lnTo>
                    <a:pt x="182918" y="79554"/>
                  </a:lnTo>
                  <a:lnTo>
                    <a:pt x="162189" y="79554"/>
                  </a:lnTo>
                  <a:lnTo>
                    <a:pt x="138006" y="79554"/>
                  </a:lnTo>
                  <a:lnTo>
                    <a:pt x="124280" y="72644"/>
                  </a:lnTo>
                  <a:lnTo>
                    <a:pt x="93187" y="72644"/>
                  </a:lnTo>
                  <a:lnTo>
                    <a:pt x="79367" y="79554"/>
                  </a:lnTo>
                  <a:lnTo>
                    <a:pt x="62093" y="86464"/>
                  </a:lnTo>
                  <a:lnTo>
                    <a:pt x="20636" y="86464"/>
                  </a:lnTo>
                  <a:lnTo>
                    <a:pt x="0" y="103738"/>
                  </a:lnTo>
                  <a:lnTo>
                    <a:pt x="24090" y="103738"/>
                  </a:lnTo>
                  <a:lnTo>
                    <a:pt x="34455" y="96828"/>
                  </a:lnTo>
                  <a:close/>
                </a:path>
              </a:pathLst>
            </a:custGeom>
            <a:solidFill>
              <a:srgbClr val="CEE3BF"/>
            </a:solidFill>
            <a:ln w="9334" cap="flat">
              <a:noFill/>
              <a:prstDash val="solid"/>
              <a:miter/>
            </a:ln>
          </p:spPr>
          <p:txBody>
            <a:bodyPr rtlCol="0" anchor="ctr"/>
            <a:lstStyle/>
            <a:p>
              <a:endParaRPr lang="en-GB" dirty="0"/>
            </a:p>
          </p:txBody>
        </p:sp>
        <p:sp>
          <p:nvSpPr>
            <p:cNvPr id="1319" name="Freeform: Shape 1318">
              <a:extLst>
                <a:ext uri="{FF2B5EF4-FFF2-40B4-BE49-F238E27FC236}">
                  <a16:creationId xmlns:a16="http://schemas.microsoft.com/office/drawing/2014/main" id="{9F3006D8-2060-4295-9134-916DFEDC9520}"/>
                </a:ext>
              </a:extLst>
            </p:cNvPr>
            <p:cNvSpPr/>
            <p:nvPr/>
          </p:nvSpPr>
          <p:spPr>
            <a:xfrm>
              <a:off x="2477531" y="1791867"/>
              <a:ext cx="193282" cy="100282"/>
            </a:xfrm>
            <a:custGeom>
              <a:avLst/>
              <a:gdLst>
                <a:gd name="connsiteX0" fmla="*/ 41458 w 193282"/>
                <a:gd name="connsiteY0" fmla="*/ 93373 h 100282"/>
                <a:gd name="connsiteX1" fmla="*/ 41458 w 193282"/>
                <a:gd name="connsiteY1" fmla="*/ 86464 h 100282"/>
                <a:gd name="connsiteX2" fmla="*/ 55184 w 193282"/>
                <a:gd name="connsiteY2" fmla="*/ 86464 h 100282"/>
                <a:gd name="connsiteX3" fmla="*/ 58638 w 193282"/>
                <a:gd name="connsiteY3" fmla="*/ 100283 h 100282"/>
                <a:gd name="connsiteX4" fmla="*/ 82822 w 193282"/>
                <a:gd name="connsiteY4" fmla="*/ 100283 h 100282"/>
                <a:gd name="connsiteX5" fmla="*/ 82822 w 193282"/>
                <a:gd name="connsiteY5" fmla="*/ 83009 h 100282"/>
                <a:gd name="connsiteX6" fmla="*/ 93187 w 193282"/>
                <a:gd name="connsiteY6" fmla="*/ 86464 h 100282"/>
                <a:gd name="connsiteX7" fmla="*/ 103551 w 193282"/>
                <a:gd name="connsiteY7" fmla="*/ 83009 h 100282"/>
                <a:gd name="connsiteX8" fmla="*/ 110461 w 193282"/>
                <a:gd name="connsiteY8" fmla="*/ 69190 h 100282"/>
                <a:gd name="connsiteX9" fmla="*/ 110461 w 193282"/>
                <a:gd name="connsiteY9" fmla="*/ 58825 h 100282"/>
                <a:gd name="connsiteX10" fmla="*/ 113915 w 193282"/>
                <a:gd name="connsiteY10" fmla="*/ 51916 h 100282"/>
                <a:gd name="connsiteX11" fmla="*/ 124280 w 193282"/>
                <a:gd name="connsiteY11" fmla="*/ 48461 h 100282"/>
                <a:gd name="connsiteX12" fmla="*/ 131189 w 193282"/>
                <a:gd name="connsiteY12" fmla="*/ 55370 h 100282"/>
                <a:gd name="connsiteX13" fmla="*/ 127735 w 193282"/>
                <a:gd name="connsiteY13" fmla="*/ 72644 h 100282"/>
                <a:gd name="connsiteX14" fmla="*/ 145009 w 193282"/>
                <a:gd name="connsiteY14" fmla="*/ 76099 h 100282"/>
                <a:gd name="connsiteX15" fmla="*/ 155373 w 193282"/>
                <a:gd name="connsiteY15" fmla="*/ 65735 h 100282"/>
                <a:gd name="connsiteX16" fmla="*/ 165737 w 193282"/>
                <a:gd name="connsiteY16" fmla="*/ 55370 h 100282"/>
                <a:gd name="connsiteX17" fmla="*/ 179463 w 193282"/>
                <a:gd name="connsiteY17" fmla="*/ 51916 h 100282"/>
                <a:gd name="connsiteX18" fmla="*/ 182918 w 193282"/>
                <a:gd name="connsiteY18" fmla="*/ 41551 h 100282"/>
                <a:gd name="connsiteX19" fmla="*/ 172647 w 193282"/>
                <a:gd name="connsiteY19" fmla="*/ 27732 h 100282"/>
                <a:gd name="connsiteX20" fmla="*/ 186373 w 193282"/>
                <a:gd name="connsiteY20" fmla="*/ 24277 h 100282"/>
                <a:gd name="connsiteX21" fmla="*/ 193283 w 193282"/>
                <a:gd name="connsiteY21" fmla="*/ 13819 h 100282"/>
                <a:gd name="connsiteX22" fmla="*/ 182918 w 193282"/>
                <a:gd name="connsiteY22" fmla="*/ 6910 h 100282"/>
                <a:gd name="connsiteX23" fmla="*/ 165737 w 193282"/>
                <a:gd name="connsiteY23" fmla="*/ 0 h 100282"/>
                <a:gd name="connsiteX24" fmla="*/ 158828 w 193282"/>
                <a:gd name="connsiteY24" fmla="*/ 20822 h 100282"/>
                <a:gd name="connsiteX25" fmla="*/ 148463 w 193282"/>
                <a:gd name="connsiteY25" fmla="*/ 13819 h 100282"/>
                <a:gd name="connsiteX26" fmla="*/ 131189 w 193282"/>
                <a:gd name="connsiteY26" fmla="*/ 13819 h 100282"/>
                <a:gd name="connsiteX27" fmla="*/ 100096 w 193282"/>
                <a:gd name="connsiteY27" fmla="*/ 17274 h 100282"/>
                <a:gd name="connsiteX28" fmla="*/ 86277 w 193282"/>
                <a:gd name="connsiteY28" fmla="*/ 31187 h 100282"/>
                <a:gd name="connsiteX29" fmla="*/ 62093 w 193282"/>
                <a:gd name="connsiteY29" fmla="*/ 45006 h 100282"/>
                <a:gd name="connsiteX30" fmla="*/ 44819 w 193282"/>
                <a:gd name="connsiteY30" fmla="*/ 55370 h 100282"/>
                <a:gd name="connsiteX31" fmla="*/ 27639 w 193282"/>
                <a:gd name="connsiteY31" fmla="*/ 65735 h 100282"/>
                <a:gd name="connsiteX32" fmla="*/ 6910 w 193282"/>
                <a:gd name="connsiteY32" fmla="*/ 69190 h 100282"/>
                <a:gd name="connsiteX33" fmla="*/ 0 w 193282"/>
                <a:gd name="connsiteY33" fmla="*/ 86464 h 100282"/>
                <a:gd name="connsiteX34" fmla="*/ 13819 w 193282"/>
                <a:gd name="connsiteY34" fmla="*/ 93373 h 100282"/>
                <a:gd name="connsiteX35" fmla="*/ 41458 w 193282"/>
                <a:gd name="connsiteY35" fmla="*/ 93373 h 100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3282" h="100282">
                  <a:moveTo>
                    <a:pt x="41458" y="93373"/>
                  </a:moveTo>
                  <a:lnTo>
                    <a:pt x="41458" y="86464"/>
                  </a:lnTo>
                  <a:lnTo>
                    <a:pt x="55184" y="86464"/>
                  </a:lnTo>
                  <a:lnTo>
                    <a:pt x="58638" y="100283"/>
                  </a:lnTo>
                  <a:lnTo>
                    <a:pt x="82822" y="100283"/>
                  </a:lnTo>
                  <a:lnTo>
                    <a:pt x="82822" y="83009"/>
                  </a:lnTo>
                  <a:lnTo>
                    <a:pt x="93187" y="86464"/>
                  </a:lnTo>
                  <a:lnTo>
                    <a:pt x="103551" y="83009"/>
                  </a:lnTo>
                  <a:lnTo>
                    <a:pt x="110461" y="69190"/>
                  </a:lnTo>
                  <a:lnTo>
                    <a:pt x="110461" y="58825"/>
                  </a:lnTo>
                  <a:lnTo>
                    <a:pt x="113915" y="51916"/>
                  </a:lnTo>
                  <a:lnTo>
                    <a:pt x="124280" y="48461"/>
                  </a:lnTo>
                  <a:lnTo>
                    <a:pt x="131189" y="55370"/>
                  </a:lnTo>
                  <a:lnTo>
                    <a:pt x="127735" y="72644"/>
                  </a:lnTo>
                  <a:lnTo>
                    <a:pt x="145009" y="76099"/>
                  </a:lnTo>
                  <a:lnTo>
                    <a:pt x="155373" y="65735"/>
                  </a:lnTo>
                  <a:lnTo>
                    <a:pt x="165737" y="55370"/>
                  </a:lnTo>
                  <a:lnTo>
                    <a:pt x="179463" y="51916"/>
                  </a:lnTo>
                  <a:lnTo>
                    <a:pt x="182918" y="41551"/>
                  </a:lnTo>
                  <a:lnTo>
                    <a:pt x="172647" y="27732"/>
                  </a:lnTo>
                  <a:lnTo>
                    <a:pt x="186373" y="24277"/>
                  </a:lnTo>
                  <a:lnTo>
                    <a:pt x="193283" y="13819"/>
                  </a:lnTo>
                  <a:lnTo>
                    <a:pt x="182918" y="6910"/>
                  </a:lnTo>
                  <a:lnTo>
                    <a:pt x="165737" y="0"/>
                  </a:lnTo>
                  <a:lnTo>
                    <a:pt x="158828" y="20822"/>
                  </a:lnTo>
                  <a:lnTo>
                    <a:pt x="148463" y="13819"/>
                  </a:lnTo>
                  <a:lnTo>
                    <a:pt x="131189" y="13819"/>
                  </a:lnTo>
                  <a:lnTo>
                    <a:pt x="100096" y="17274"/>
                  </a:lnTo>
                  <a:lnTo>
                    <a:pt x="86277" y="31187"/>
                  </a:lnTo>
                  <a:lnTo>
                    <a:pt x="62093" y="45006"/>
                  </a:lnTo>
                  <a:lnTo>
                    <a:pt x="44819" y="55370"/>
                  </a:lnTo>
                  <a:lnTo>
                    <a:pt x="27639" y="65735"/>
                  </a:lnTo>
                  <a:lnTo>
                    <a:pt x="6910" y="69190"/>
                  </a:lnTo>
                  <a:lnTo>
                    <a:pt x="0" y="86464"/>
                  </a:lnTo>
                  <a:lnTo>
                    <a:pt x="13819" y="93373"/>
                  </a:lnTo>
                  <a:lnTo>
                    <a:pt x="41458" y="93373"/>
                  </a:lnTo>
                  <a:close/>
                </a:path>
              </a:pathLst>
            </a:custGeom>
            <a:solidFill>
              <a:srgbClr val="CEE3BF"/>
            </a:solidFill>
            <a:ln w="9334" cap="flat">
              <a:noFill/>
              <a:prstDash val="solid"/>
              <a:miter/>
            </a:ln>
          </p:spPr>
          <p:txBody>
            <a:bodyPr rtlCol="0" anchor="ctr"/>
            <a:lstStyle/>
            <a:p>
              <a:endParaRPr lang="en-GB" dirty="0"/>
            </a:p>
          </p:txBody>
        </p:sp>
        <p:sp>
          <p:nvSpPr>
            <p:cNvPr id="1320" name="Freeform: Shape 1319">
              <a:extLst>
                <a:ext uri="{FF2B5EF4-FFF2-40B4-BE49-F238E27FC236}">
                  <a16:creationId xmlns:a16="http://schemas.microsoft.com/office/drawing/2014/main" id="{F2745E72-D5FE-469A-B8EA-D41834438132}"/>
                </a:ext>
              </a:extLst>
            </p:cNvPr>
            <p:cNvSpPr/>
            <p:nvPr/>
          </p:nvSpPr>
          <p:spPr>
            <a:xfrm>
              <a:off x="2570718" y="1878331"/>
              <a:ext cx="48367" cy="34548"/>
            </a:xfrm>
            <a:custGeom>
              <a:avLst/>
              <a:gdLst>
                <a:gd name="connsiteX0" fmla="*/ 6910 w 48367"/>
                <a:gd name="connsiteY0" fmla="*/ 13819 h 34548"/>
                <a:gd name="connsiteX1" fmla="*/ 0 w 48367"/>
                <a:gd name="connsiteY1" fmla="*/ 27638 h 34548"/>
                <a:gd name="connsiteX2" fmla="*/ 20729 w 48367"/>
                <a:gd name="connsiteY2" fmla="*/ 34548 h 34548"/>
                <a:gd name="connsiteX3" fmla="*/ 34548 w 48367"/>
                <a:gd name="connsiteY3" fmla="*/ 31093 h 34548"/>
                <a:gd name="connsiteX4" fmla="*/ 44912 w 48367"/>
                <a:gd name="connsiteY4" fmla="*/ 13819 h 34548"/>
                <a:gd name="connsiteX5" fmla="*/ 48367 w 48367"/>
                <a:gd name="connsiteY5" fmla="*/ 3455 h 34548"/>
                <a:gd name="connsiteX6" fmla="*/ 31093 w 48367"/>
                <a:gd name="connsiteY6" fmla="*/ 0 h 34548"/>
                <a:gd name="connsiteX7" fmla="*/ 6910 w 48367"/>
                <a:gd name="connsiteY7" fmla="*/ 13819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67" h="34548">
                  <a:moveTo>
                    <a:pt x="6910" y="13819"/>
                  </a:moveTo>
                  <a:lnTo>
                    <a:pt x="0" y="27638"/>
                  </a:lnTo>
                  <a:lnTo>
                    <a:pt x="20729" y="34548"/>
                  </a:lnTo>
                  <a:lnTo>
                    <a:pt x="34548" y="31093"/>
                  </a:lnTo>
                  <a:lnTo>
                    <a:pt x="44912" y="13819"/>
                  </a:lnTo>
                  <a:lnTo>
                    <a:pt x="48367" y="3455"/>
                  </a:lnTo>
                  <a:lnTo>
                    <a:pt x="31093" y="0"/>
                  </a:lnTo>
                  <a:lnTo>
                    <a:pt x="6910" y="13819"/>
                  </a:lnTo>
                  <a:close/>
                </a:path>
              </a:pathLst>
            </a:custGeom>
            <a:solidFill>
              <a:srgbClr val="CEE3BF"/>
            </a:solidFill>
            <a:ln w="9334" cap="flat">
              <a:noFill/>
              <a:prstDash val="solid"/>
              <a:miter/>
            </a:ln>
          </p:spPr>
          <p:txBody>
            <a:bodyPr rtlCol="0" anchor="ctr"/>
            <a:lstStyle/>
            <a:p>
              <a:endParaRPr lang="en-GB" dirty="0"/>
            </a:p>
          </p:txBody>
        </p:sp>
        <p:sp>
          <p:nvSpPr>
            <p:cNvPr id="1321" name="Freeform: Shape 1320">
              <a:extLst>
                <a:ext uri="{FF2B5EF4-FFF2-40B4-BE49-F238E27FC236}">
                  <a16:creationId xmlns:a16="http://schemas.microsoft.com/office/drawing/2014/main" id="{39AE59F3-8EA8-49A1-886D-438D203480AA}"/>
                </a:ext>
              </a:extLst>
            </p:cNvPr>
            <p:cNvSpPr/>
            <p:nvPr/>
          </p:nvSpPr>
          <p:spPr>
            <a:xfrm>
              <a:off x="2736455" y="1764229"/>
              <a:ext cx="96641" cy="44912"/>
            </a:xfrm>
            <a:custGeom>
              <a:avLst/>
              <a:gdLst>
                <a:gd name="connsiteX0" fmla="*/ 27638 w 96641"/>
                <a:gd name="connsiteY0" fmla="*/ 44912 h 44912"/>
                <a:gd name="connsiteX1" fmla="*/ 38003 w 96641"/>
                <a:gd name="connsiteY1" fmla="*/ 41458 h 44912"/>
                <a:gd name="connsiteX2" fmla="*/ 55277 w 96641"/>
                <a:gd name="connsiteY2" fmla="*/ 41458 h 44912"/>
                <a:gd name="connsiteX3" fmla="*/ 75912 w 96641"/>
                <a:gd name="connsiteY3" fmla="*/ 41458 h 44912"/>
                <a:gd name="connsiteX4" fmla="*/ 86277 w 96641"/>
                <a:gd name="connsiteY4" fmla="*/ 31093 h 44912"/>
                <a:gd name="connsiteX5" fmla="*/ 86277 w 96641"/>
                <a:gd name="connsiteY5" fmla="*/ 20729 h 44912"/>
                <a:gd name="connsiteX6" fmla="*/ 69003 w 96641"/>
                <a:gd name="connsiteY6" fmla="*/ 20729 h 44912"/>
                <a:gd name="connsiteX7" fmla="*/ 75912 w 96641"/>
                <a:gd name="connsiteY7" fmla="*/ 13819 h 44912"/>
                <a:gd name="connsiteX8" fmla="*/ 96641 w 96641"/>
                <a:gd name="connsiteY8" fmla="*/ 10364 h 44912"/>
                <a:gd name="connsiteX9" fmla="*/ 93186 w 96641"/>
                <a:gd name="connsiteY9" fmla="*/ 0 h 44912"/>
                <a:gd name="connsiteX10" fmla="*/ 55277 w 96641"/>
                <a:gd name="connsiteY10" fmla="*/ 0 h 44912"/>
                <a:gd name="connsiteX11" fmla="*/ 24184 w 96641"/>
                <a:gd name="connsiteY11" fmla="*/ 0 h 44912"/>
                <a:gd name="connsiteX12" fmla="*/ 0 w 96641"/>
                <a:gd name="connsiteY12" fmla="*/ 10364 h 44912"/>
                <a:gd name="connsiteX13" fmla="*/ 6910 w 96641"/>
                <a:gd name="connsiteY13" fmla="*/ 34548 h 44912"/>
                <a:gd name="connsiteX14" fmla="*/ 27638 w 96641"/>
                <a:gd name="connsiteY14" fmla="*/ 44912 h 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641" h="44912">
                  <a:moveTo>
                    <a:pt x="27638" y="44912"/>
                  </a:moveTo>
                  <a:lnTo>
                    <a:pt x="38003" y="41458"/>
                  </a:lnTo>
                  <a:lnTo>
                    <a:pt x="55277" y="41458"/>
                  </a:lnTo>
                  <a:lnTo>
                    <a:pt x="75912" y="41458"/>
                  </a:lnTo>
                  <a:lnTo>
                    <a:pt x="86277" y="31093"/>
                  </a:lnTo>
                  <a:lnTo>
                    <a:pt x="86277" y="20729"/>
                  </a:lnTo>
                  <a:lnTo>
                    <a:pt x="69003" y="20729"/>
                  </a:lnTo>
                  <a:lnTo>
                    <a:pt x="75912" y="13819"/>
                  </a:lnTo>
                  <a:lnTo>
                    <a:pt x="96641" y="10364"/>
                  </a:lnTo>
                  <a:lnTo>
                    <a:pt x="93186" y="0"/>
                  </a:lnTo>
                  <a:lnTo>
                    <a:pt x="55277" y="0"/>
                  </a:lnTo>
                  <a:lnTo>
                    <a:pt x="24184" y="0"/>
                  </a:lnTo>
                  <a:lnTo>
                    <a:pt x="0" y="10364"/>
                  </a:lnTo>
                  <a:lnTo>
                    <a:pt x="6910" y="34548"/>
                  </a:lnTo>
                  <a:lnTo>
                    <a:pt x="27638" y="44912"/>
                  </a:lnTo>
                  <a:close/>
                </a:path>
              </a:pathLst>
            </a:custGeom>
            <a:solidFill>
              <a:srgbClr val="CEE3BF"/>
            </a:solidFill>
            <a:ln w="9334" cap="flat">
              <a:noFill/>
              <a:prstDash val="solid"/>
              <a:miter/>
            </a:ln>
          </p:spPr>
          <p:txBody>
            <a:bodyPr rtlCol="0" anchor="ctr"/>
            <a:lstStyle/>
            <a:p>
              <a:endParaRPr lang="en-GB" dirty="0"/>
            </a:p>
          </p:txBody>
        </p:sp>
        <p:sp>
          <p:nvSpPr>
            <p:cNvPr id="1322" name="Freeform: Shape 1321">
              <a:extLst>
                <a:ext uri="{FF2B5EF4-FFF2-40B4-BE49-F238E27FC236}">
                  <a16:creationId xmlns:a16="http://schemas.microsoft.com/office/drawing/2014/main" id="{C03151D7-22D6-4298-83EE-ED2CF5AA0E48}"/>
                </a:ext>
              </a:extLst>
            </p:cNvPr>
            <p:cNvSpPr/>
            <p:nvPr/>
          </p:nvSpPr>
          <p:spPr>
            <a:xfrm>
              <a:off x="2736455" y="1722771"/>
              <a:ext cx="110460" cy="31093"/>
            </a:xfrm>
            <a:custGeom>
              <a:avLst/>
              <a:gdLst>
                <a:gd name="connsiteX0" fmla="*/ 58638 w 110460"/>
                <a:gd name="connsiteY0" fmla="*/ 27638 h 31093"/>
                <a:gd name="connsiteX1" fmla="*/ 89732 w 110460"/>
                <a:gd name="connsiteY1" fmla="*/ 27638 h 31093"/>
                <a:gd name="connsiteX2" fmla="*/ 107006 w 110460"/>
                <a:gd name="connsiteY2" fmla="*/ 24184 h 31093"/>
                <a:gd name="connsiteX3" fmla="*/ 110461 w 110460"/>
                <a:gd name="connsiteY3" fmla="*/ 13819 h 31093"/>
                <a:gd name="connsiteX4" fmla="*/ 96641 w 110460"/>
                <a:gd name="connsiteY4" fmla="*/ 3455 h 31093"/>
                <a:gd name="connsiteX5" fmla="*/ 72458 w 110460"/>
                <a:gd name="connsiteY5" fmla="*/ 0 h 31093"/>
                <a:gd name="connsiteX6" fmla="*/ 41458 w 110460"/>
                <a:gd name="connsiteY6" fmla="*/ 10364 h 31093"/>
                <a:gd name="connsiteX7" fmla="*/ 13819 w 110460"/>
                <a:gd name="connsiteY7" fmla="*/ 20729 h 31093"/>
                <a:gd name="connsiteX8" fmla="*/ 0 w 110460"/>
                <a:gd name="connsiteY8" fmla="*/ 31093 h 31093"/>
                <a:gd name="connsiteX9" fmla="*/ 24184 w 110460"/>
                <a:gd name="connsiteY9" fmla="*/ 31093 h 31093"/>
                <a:gd name="connsiteX10" fmla="*/ 58638 w 110460"/>
                <a:gd name="connsiteY10" fmla="*/ 27638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460" h="31093">
                  <a:moveTo>
                    <a:pt x="58638" y="27638"/>
                  </a:moveTo>
                  <a:lnTo>
                    <a:pt x="89732" y="27638"/>
                  </a:lnTo>
                  <a:lnTo>
                    <a:pt x="107006" y="24184"/>
                  </a:lnTo>
                  <a:lnTo>
                    <a:pt x="110461" y="13819"/>
                  </a:lnTo>
                  <a:lnTo>
                    <a:pt x="96641" y="3455"/>
                  </a:lnTo>
                  <a:lnTo>
                    <a:pt x="72458" y="0"/>
                  </a:lnTo>
                  <a:lnTo>
                    <a:pt x="41458" y="10364"/>
                  </a:lnTo>
                  <a:lnTo>
                    <a:pt x="13819" y="20729"/>
                  </a:lnTo>
                  <a:lnTo>
                    <a:pt x="0" y="31093"/>
                  </a:lnTo>
                  <a:lnTo>
                    <a:pt x="24184" y="31093"/>
                  </a:lnTo>
                  <a:lnTo>
                    <a:pt x="58638" y="27638"/>
                  </a:lnTo>
                  <a:close/>
                </a:path>
              </a:pathLst>
            </a:custGeom>
            <a:solidFill>
              <a:srgbClr val="CEE3BF"/>
            </a:solidFill>
            <a:ln w="9334" cap="flat">
              <a:noFill/>
              <a:prstDash val="solid"/>
              <a:miter/>
            </a:ln>
          </p:spPr>
          <p:txBody>
            <a:bodyPr rtlCol="0" anchor="ctr"/>
            <a:lstStyle/>
            <a:p>
              <a:endParaRPr lang="en-GB" dirty="0"/>
            </a:p>
          </p:txBody>
        </p:sp>
        <p:sp>
          <p:nvSpPr>
            <p:cNvPr id="1323" name="Freeform: Shape 1322">
              <a:extLst>
                <a:ext uri="{FF2B5EF4-FFF2-40B4-BE49-F238E27FC236}">
                  <a16:creationId xmlns:a16="http://schemas.microsoft.com/office/drawing/2014/main" id="{D6BDE710-490F-40AC-96E5-B0901D0DC05D}"/>
                </a:ext>
              </a:extLst>
            </p:cNvPr>
            <p:cNvSpPr/>
            <p:nvPr/>
          </p:nvSpPr>
          <p:spPr>
            <a:xfrm>
              <a:off x="3029927" y="2002797"/>
              <a:ext cx="165644" cy="134830"/>
            </a:xfrm>
            <a:custGeom>
              <a:avLst/>
              <a:gdLst>
                <a:gd name="connsiteX0" fmla="*/ 162189 w 165644"/>
                <a:gd name="connsiteY0" fmla="*/ 48367 h 134830"/>
                <a:gd name="connsiteX1" fmla="*/ 148463 w 165644"/>
                <a:gd name="connsiteY1" fmla="*/ 58732 h 134830"/>
                <a:gd name="connsiteX2" fmla="*/ 138099 w 165644"/>
                <a:gd name="connsiteY2" fmla="*/ 44912 h 134830"/>
                <a:gd name="connsiteX3" fmla="*/ 127735 w 165644"/>
                <a:gd name="connsiteY3" fmla="*/ 44912 h 134830"/>
                <a:gd name="connsiteX4" fmla="*/ 110461 w 165644"/>
                <a:gd name="connsiteY4" fmla="*/ 44912 h 134830"/>
                <a:gd name="connsiteX5" fmla="*/ 117370 w 165644"/>
                <a:gd name="connsiteY5" fmla="*/ 34548 h 134830"/>
                <a:gd name="connsiteX6" fmla="*/ 134644 w 165644"/>
                <a:gd name="connsiteY6" fmla="*/ 24184 h 134830"/>
                <a:gd name="connsiteX7" fmla="*/ 148463 w 165644"/>
                <a:gd name="connsiteY7" fmla="*/ 10364 h 134830"/>
                <a:gd name="connsiteX8" fmla="*/ 158734 w 165644"/>
                <a:gd name="connsiteY8" fmla="*/ 3455 h 134830"/>
                <a:gd name="connsiteX9" fmla="*/ 113915 w 165644"/>
                <a:gd name="connsiteY9" fmla="*/ 0 h 134830"/>
                <a:gd name="connsiteX10" fmla="*/ 100096 w 165644"/>
                <a:gd name="connsiteY10" fmla="*/ 6910 h 134830"/>
                <a:gd name="connsiteX11" fmla="*/ 86277 w 165644"/>
                <a:gd name="connsiteY11" fmla="*/ 6910 h 134830"/>
                <a:gd name="connsiteX12" fmla="*/ 79367 w 165644"/>
                <a:gd name="connsiteY12" fmla="*/ 0 h 134830"/>
                <a:gd name="connsiteX13" fmla="*/ 55184 w 165644"/>
                <a:gd name="connsiteY13" fmla="*/ 3455 h 134830"/>
                <a:gd name="connsiteX14" fmla="*/ 34455 w 165644"/>
                <a:gd name="connsiteY14" fmla="*/ 20729 h 134830"/>
                <a:gd name="connsiteX15" fmla="*/ 58638 w 165644"/>
                <a:gd name="connsiteY15" fmla="*/ 31093 h 134830"/>
                <a:gd name="connsiteX16" fmla="*/ 65548 w 165644"/>
                <a:gd name="connsiteY16" fmla="*/ 41458 h 134830"/>
                <a:gd name="connsiteX17" fmla="*/ 48274 w 165644"/>
                <a:gd name="connsiteY17" fmla="*/ 51822 h 134830"/>
                <a:gd name="connsiteX18" fmla="*/ 31093 w 165644"/>
                <a:gd name="connsiteY18" fmla="*/ 55277 h 134830"/>
                <a:gd name="connsiteX19" fmla="*/ 20729 w 165644"/>
                <a:gd name="connsiteY19" fmla="*/ 41458 h 134830"/>
                <a:gd name="connsiteX20" fmla="*/ 6910 w 165644"/>
                <a:gd name="connsiteY20" fmla="*/ 38003 h 134830"/>
                <a:gd name="connsiteX21" fmla="*/ 0 w 165644"/>
                <a:gd name="connsiteY21" fmla="*/ 55277 h 134830"/>
                <a:gd name="connsiteX22" fmla="*/ 3455 w 165644"/>
                <a:gd name="connsiteY22" fmla="*/ 69096 h 134830"/>
                <a:gd name="connsiteX23" fmla="*/ 17274 w 165644"/>
                <a:gd name="connsiteY23" fmla="*/ 79461 h 134830"/>
                <a:gd name="connsiteX24" fmla="*/ 44819 w 165644"/>
                <a:gd name="connsiteY24" fmla="*/ 82915 h 134830"/>
                <a:gd name="connsiteX25" fmla="*/ 58638 w 165644"/>
                <a:gd name="connsiteY25" fmla="*/ 96735 h 134830"/>
                <a:gd name="connsiteX26" fmla="*/ 86277 w 165644"/>
                <a:gd name="connsiteY26" fmla="*/ 114009 h 134830"/>
                <a:gd name="connsiteX27" fmla="*/ 107006 w 165644"/>
                <a:gd name="connsiteY27" fmla="*/ 134831 h 134830"/>
                <a:gd name="connsiteX28" fmla="*/ 117370 w 165644"/>
                <a:gd name="connsiteY28" fmla="*/ 117464 h 134830"/>
                <a:gd name="connsiteX29" fmla="*/ 120825 w 165644"/>
                <a:gd name="connsiteY29" fmla="*/ 110554 h 134830"/>
                <a:gd name="connsiteX30" fmla="*/ 134644 w 165644"/>
                <a:gd name="connsiteY30" fmla="*/ 117464 h 134830"/>
                <a:gd name="connsiteX31" fmla="*/ 145009 w 165644"/>
                <a:gd name="connsiteY31" fmla="*/ 114009 h 134830"/>
                <a:gd name="connsiteX32" fmla="*/ 158734 w 165644"/>
                <a:gd name="connsiteY32" fmla="*/ 93280 h 134830"/>
                <a:gd name="connsiteX33" fmla="*/ 165644 w 165644"/>
                <a:gd name="connsiteY33" fmla="*/ 65641 h 134830"/>
                <a:gd name="connsiteX34" fmla="*/ 162189 w 165644"/>
                <a:gd name="connsiteY34" fmla="*/ 48367 h 13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5644" h="134830">
                  <a:moveTo>
                    <a:pt x="162189" y="48367"/>
                  </a:moveTo>
                  <a:lnTo>
                    <a:pt x="148463" y="58732"/>
                  </a:lnTo>
                  <a:lnTo>
                    <a:pt x="138099" y="44912"/>
                  </a:lnTo>
                  <a:lnTo>
                    <a:pt x="127735" y="44912"/>
                  </a:lnTo>
                  <a:lnTo>
                    <a:pt x="110461" y="44912"/>
                  </a:lnTo>
                  <a:lnTo>
                    <a:pt x="117370" y="34548"/>
                  </a:lnTo>
                  <a:lnTo>
                    <a:pt x="134644" y="24184"/>
                  </a:lnTo>
                  <a:lnTo>
                    <a:pt x="148463" y="10364"/>
                  </a:lnTo>
                  <a:lnTo>
                    <a:pt x="158734" y="3455"/>
                  </a:lnTo>
                  <a:lnTo>
                    <a:pt x="113915" y="0"/>
                  </a:lnTo>
                  <a:lnTo>
                    <a:pt x="100096" y="6910"/>
                  </a:lnTo>
                  <a:lnTo>
                    <a:pt x="86277" y="6910"/>
                  </a:lnTo>
                  <a:lnTo>
                    <a:pt x="79367" y="0"/>
                  </a:lnTo>
                  <a:lnTo>
                    <a:pt x="55184" y="3455"/>
                  </a:lnTo>
                  <a:lnTo>
                    <a:pt x="34455" y="20729"/>
                  </a:lnTo>
                  <a:lnTo>
                    <a:pt x="58638" y="31093"/>
                  </a:lnTo>
                  <a:lnTo>
                    <a:pt x="65548" y="41458"/>
                  </a:lnTo>
                  <a:lnTo>
                    <a:pt x="48274" y="51822"/>
                  </a:lnTo>
                  <a:lnTo>
                    <a:pt x="31093" y="55277"/>
                  </a:lnTo>
                  <a:lnTo>
                    <a:pt x="20729" y="41458"/>
                  </a:lnTo>
                  <a:lnTo>
                    <a:pt x="6910" y="38003"/>
                  </a:lnTo>
                  <a:lnTo>
                    <a:pt x="0" y="55277"/>
                  </a:lnTo>
                  <a:lnTo>
                    <a:pt x="3455" y="69096"/>
                  </a:lnTo>
                  <a:lnTo>
                    <a:pt x="17274" y="79461"/>
                  </a:lnTo>
                  <a:lnTo>
                    <a:pt x="44819" y="82915"/>
                  </a:lnTo>
                  <a:lnTo>
                    <a:pt x="58638" y="96735"/>
                  </a:lnTo>
                  <a:lnTo>
                    <a:pt x="86277" y="114009"/>
                  </a:lnTo>
                  <a:lnTo>
                    <a:pt x="107006" y="134831"/>
                  </a:lnTo>
                  <a:lnTo>
                    <a:pt x="117370" y="117464"/>
                  </a:lnTo>
                  <a:lnTo>
                    <a:pt x="120825" y="110554"/>
                  </a:lnTo>
                  <a:lnTo>
                    <a:pt x="134644" y="117464"/>
                  </a:lnTo>
                  <a:lnTo>
                    <a:pt x="145009" y="114009"/>
                  </a:lnTo>
                  <a:lnTo>
                    <a:pt x="158734" y="93280"/>
                  </a:lnTo>
                  <a:lnTo>
                    <a:pt x="165644" y="65641"/>
                  </a:lnTo>
                  <a:lnTo>
                    <a:pt x="162189" y="48367"/>
                  </a:lnTo>
                  <a:close/>
                </a:path>
              </a:pathLst>
            </a:custGeom>
            <a:solidFill>
              <a:srgbClr val="CEE3BF"/>
            </a:solidFill>
            <a:ln w="9334" cap="flat">
              <a:noFill/>
              <a:prstDash val="solid"/>
              <a:miter/>
            </a:ln>
          </p:spPr>
          <p:txBody>
            <a:bodyPr rtlCol="0" anchor="ctr"/>
            <a:lstStyle/>
            <a:p>
              <a:endParaRPr lang="en-GB" dirty="0"/>
            </a:p>
          </p:txBody>
        </p:sp>
        <p:sp>
          <p:nvSpPr>
            <p:cNvPr id="1324" name="Freeform: Shape 1323">
              <a:extLst>
                <a:ext uri="{FF2B5EF4-FFF2-40B4-BE49-F238E27FC236}">
                  <a16:creationId xmlns:a16="http://schemas.microsoft.com/office/drawing/2014/main" id="{A5C18D66-24AA-4E9D-AA2D-F82882A10E69}"/>
                </a:ext>
              </a:extLst>
            </p:cNvPr>
            <p:cNvSpPr/>
            <p:nvPr/>
          </p:nvSpPr>
          <p:spPr>
            <a:xfrm>
              <a:off x="3195571" y="1895605"/>
              <a:ext cx="79460" cy="58731"/>
            </a:xfrm>
            <a:custGeom>
              <a:avLst/>
              <a:gdLst>
                <a:gd name="connsiteX0" fmla="*/ 79461 w 79460"/>
                <a:gd name="connsiteY0" fmla="*/ 58732 h 58731"/>
                <a:gd name="connsiteX1" fmla="*/ 79461 w 79460"/>
                <a:gd name="connsiteY1" fmla="*/ 38003 h 58731"/>
                <a:gd name="connsiteX2" fmla="*/ 76006 w 79460"/>
                <a:gd name="connsiteY2" fmla="*/ 24184 h 58731"/>
                <a:gd name="connsiteX3" fmla="*/ 58732 w 79460"/>
                <a:gd name="connsiteY3" fmla="*/ 10364 h 58731"/>
                <a:gd name="connsiteX4" fmla="*/ 44912 w 79460"/>
                <a:gd name="connsiteY4" fmla="*/ 0 h 58731"/>
                <a:gd name="connsiteX5" fmla="*/ 31093 w 79460"/>
                <a:gd name="connsiteY5" fmla="*/ 10364 h 58731"/>
                <a:gd name="connsiteX6" fmla="*/ 13819 w 79460"/>
                <a:gd name="connsiteY6" fmla="*/ 20729 h 58731"/>
                <a:gd name="connsiteX7" fmla="*/ 0 w 79460"/>
                <a:gd name="connsiteY7" fmla="*/ 38003 h 58731"/>
                <a:gd name="connsiteX8" fmla="*/ 20729 w 79460"/>
                <a:gd name="connsiteY8" fmla="*/ 51822 h 58731"/>
                <a:gd name="connsiteX9" fmla="*/ 48367 w 79460"/>
                <a:gd name="connsiteY9" fmla="*/ 55277 h 58731"/>
                <a:gd name="connsiteX10" fmla="*/ 79461 w 79460"/>
                <a:gd name="connsiteY10" fmla="*/ 58732 h 5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460" h="58731">
                  <a:moveTo>
                    <a:pt x="79461" y="58732"/>
                  </a:moveTo>
                  <a:lnTo>
                    <a:pt x="79461" y="38003"/>
                  </a:lnTo>
                  <a:lnTo>
                    <a:pt x="76006" y="24184"/>
                  </a:lnTo>
                  <a:lnTo>
                    <a:pt x="58732" y="10364"/>
                  </a:lnTo>
                  <a:lnTo>
                    <a:pt x="44912" y="0"/>
                  </a:lnTo>
                  <a:lnTo>
                    <a:pt x="31093" y="10364"/>
                  </a:lnTo>
                  <a:lnTo>
                    <a:pt x="13819" y="20729"/>
                  </a:lnTo>
                  <a:lnTo>
                    <a:pt x="0" y="38003"/>
                  </a:lnTo>
                  <a:lnTo>
                    <a:pt x="20729" y="51822"/>
                  </a:lnTo>
                  <a:lnTo>
                    <a:pt x="48367" y="55277"/>
                  </a:lnTo>
                  <a:lnTo>
                    <a:pt x="79461" y="58732"/>
                  </a:lnTo>
                  <a:close/>
                </a:path>
              </a:pathLst>
            </a:custGeom>
            <a:solidFill>
              <a:srgbClr val="CEE3BF"/>
            </a:solidFill>
            <a:ln w="9334" cap="flat">
              <a:noFill/>
              <a:prstDash val="solid"/>
              <a:miter/>
            </a:ln>
          </p:spPr>
          <p:txBody>
            <a:bodyPr rtlCol="0" anchor="ctr"/>
            <a:lstStyle/>
            <a:p>
              <a:endParaRPr lang="en-GB" dirty="0"/>
            </a:p>
          </p:txBody>
        </p:sp>
        <p:sp>
          <p:nvSpPr>
            <p:cNvPr id="1325" name="Freeform: Shape 1324">
              <a:extLst>
                <a:ext uri="{FF2B5EF4-FFF2-40B4-BE49-F238E27FC236}">
                  <a16:creationId xmlns:a16="http://schemas.microsoft.com/office/drawing/2014/main" id="{4FEFEA2E-CD4B-4AD9-8A63-7900D6E3D3E4}"/>
                </a:ext>
              </a:extLst>
            </p:cNvPr>
            <p:cNvSpPr/>
            <p:nvPr/>
          </p:nvSpPr>
          <p:spPr>
            <a:xfrm>
              <a:off x="3154207" y="1719316"/>
              <a:ext cx="55183" cy="17274"/>
            </a:xfrm>
            <a:custGeom>
              <a:avLst/>
              <a:gdLst>
                <a:gd name="connsiteX0" fmla="*/ 55184 w 55183"/>
                <a:gd name="connsiteY0" fmla="*/ 17274 h 17274"/>
                <a:gd name="connsiteX1" fmla="*/ 31093 w 55183"/>
                <a:gd name="connsiteY1" fmla="*/ 6910 h 17274"/>
                <a:gd name="connsiteX2" fmla="*/ 0 w 55183"/>
                <a:gd name="connsiteY2" fmla="*/ 0 h 17274"/>
                <a:gd name="connsiteX3" fmla="*/ 31093 w 55183"/>
                <a:gd name="connsiteY3" fmla="*/ 6910 h 17274"/>
                <a:gd name="connsiteX4" fmla="*/ 55184 w 55183"/>
                <a:gd name="connsiteY4" fmla="*/ 17274 h 17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83" h="17274">
                  <a:moveTo>
                    <a:pt x="55184" y="17274"/>
                  </a:moveTo>
                  <a:lnTo>
                    <a:pt x="31093" y="6910"/>
                  </a:lnTo>
                  <a:lnTo>
                    <a:pt x="0" y="0"/>
                  </a:lnTo>
                  <a:lnTo>
                    <a:pt x="31093" y="6910"/>
                  </a:lnTo>
                  <a:lnTo>
                    <a:pt x="55184" y="17274"/>
                  </a:lnTo>
                  <a:close/>
                </a:path>
              </a:pathLst>
            </a:custGeom>
            <a:solidFill>
              <a:srgbClr val="CEE3BF"/>
            </a:solidFill>
            <a:ln w="9334" cap="flat">
              <a:noFill/>
              <a:prstDash val="solid"/>
              <a:miter/>
            </a:ln>
          </p:spPr>
          <p:txBody>
            <a:bodyPr rtlCol="0" anchor="ctr"/>
            <a:lstStyle/>
            <a:p>
              <a:endParaRPr lang="en-GB" dirty="0"/>
            </a:p>
          </p:txBody>
        </p:sp>
        <p:sp>
          <p:nvSpPr>
            <p:cNvPr id="1326" name="Freeform: Shape 1325">
              <a:extLst>
                <a:ext uri="{FF2B5EF4-FFF2-40B4-BE49-F238E27FC236}">
                  <a16:creationId xmlns:a16="http://schemas.microsoft.com/office/drawing/2014/main" id="{21704DD9-201C-4AEE-8E49-4134EC6AA5A2}"/>
                </a:ext>
              </a:extLst>
            </p:cNvPr>
            <p:cNvSpPr/>
            <p:nvPr/>
          </p:nvSpPr>
          <p:spPr>
            <a:xfrm>
              <a:off x="3174936" y="1757319"/>
              <a:ext cx="55183" cy="17274"/>
            </a:xfrm>
            <a:custGeom>
              <a:avLst/>
              <a:gdLst>
                <a:gd name="connsiteX0" fmla="*/ 6910 w 55183"/>
                <a:gd name="connsiteY0" fmla="*/ 17274 h 17274"/>
                <a:gd name="connsiteX1" fmla="*/ 0 w 55183"/>
                <a:gd name="connsiteY1" fmla="*/ 0 h 17274"/>
                <a:gd name="connsiteX2" fmla="*/ 6910 w 55183"/>
                <a:gd name="connsiteY2" fmla="*/ 17274 h 17274"/>
                <a:gd name="connsiteX3" fmla="*/ 34455 w 55183"/>
                <a:gd name="connsiteY3" fmla="*/ 17274 h 17274"/>
                <a:gd name="connsiteX4" fmla="*/ 55184 w 55183"/>
                <a:gd name="connsiteY4" fmla="*/ 13819 h 17274"/>
                <a:gd name="connsiteX5" fmla="*/ 34455 w 55183"/>
                <a:gd name="connsiteY5" fmla="*/ 17274 h 17274"/>
                <a:gd name="connsiteX6" fmla="*/ 6910 w 55183"/>
                <a:gd name="connsiteY6" fmla="*/ 17274 h 1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83" h="17274">
                  <a:moveTo>
                    <a:pt x="6910" y="17274"/>
                  </a:moveTo>
                  <a:lnTo>
                    <a:pt x="0" y="0"/>
                  </a:lnTo>
                  <a:lnTo>
                    <a:pt x="6910" y="17274"/>
                  </a:lnTo>
                  <a:lnTo>
                    <a:pt x="34455" y="17274"/>
                  </a:lnTo>
                  <a:lnTo>
                    <a:pt x="55184" y="13819"/>
                  </a:lnTo>
                  <a:lnTo>
                    <a:pt x="34455" y="17274"/>
                  </a:lnTo>
                  <a:lnTo>
                    <a:pt x="6910" y="17274"/>
                  </a:lnTo>
                  <a:close/>
                </a:path>
              </a:pathLst>
            </a:custGeom>
            <a:solidFill>
              <a:srgbClr val="CEE3BF"/>
            </a:solidFill>
            <a:ln w="9334" cap="flat">
              <a:noFill/>
              <a:prstDash val="solid"/>
              <a:miter/>
            </a:ln>
          </p:spPr>
          <p:txBody>
            <a:bodyPr rtlCol="0" anchor="ctr"/>
            <a:lstStyle/>
            <a:p>
              <a:endParaRPr lang="en-GB" dirty="0"/>
            </a:p>
          </p:txBody>
        </p:sp>
        <p:sp>
          <p:nvSpPr>
            <p:cNvPr id="1327" name="Freeform: Shape 1326">
              <a:extLst>
                <a:ext uri="{FF2B5EF4-FFF2-40B4-BE49-F238E27FC236}">
                  <a16:creationId xmlns:a16="http://schemas.microsoft.com/office/drawing/2014/main" id="{DA22A8F3-4154-4986-AFC8-768CE3BE51F6}"/>
                </a:ext>
              </a:extLst>
            </p:cNvPr>
            <p:cNvSpPr/>
            <p:nvPr/>
          </p:nvSpPr>
          <p:spPr>
            <a:xfrm>
              <a:off x="3147297" y="1719316"/>
              <a:ext cx="6909" cy="6909"/>
            </a:xfrm>
            <a:custGeom>
              <a:avLst/>
              <a:gdLst>
                <a:gd name="connsiteX0" fmla="*/ 0 w 6909"/>
                <a:gd name="connsiteY0" fmla="*/ 6910 h 6909"/>
                <a:gd name="connsiteX1" fmla="*/ 0 w 6909"/>
                <a:gd name="connsiteY1" fmla="*/ 6910 h 6909"/>
                <a:gd name="connsiteX2" fmla="*/ 6910 w 6909"/>
                <a:gd name="connsiteY2" fmla="*/ 0 h 6909"/>
                <a:gd name="connsiteX3" fmla="*/ 0 w 6909"/>
                <a:gd name="connsiteY3" fmla="*/ 6910 h 6909"/>
              </a:gdLst>
              <a:ahLst/>
              <a:cxnLst>
                <a:cxn ang="0">
                  <a:pos x="connsiteX0" y="connsiteY0"/>
                </a:cxn>
                <a:cxn ang="0">
                  <a:pos x="connsiteX1" y="connsiteY1"/>
                </a:cxn>
                <a:cxn ang="0">
                  <a:pos x="connsiteX2" y="connsiteY2"/>
                </a:cxn>
                <a:cxn ang="0">
                  <a:pos x="connsiteX3" y="connsiteY3"/>
                </a:cxn>
              </a:cxnLst>
              <a:rect l="l" t="t" r="r" b="b"/>
              <a:pathLst>
                <a:path w="6909" h="6909">
                  <a:moveTo>
                    <a:pt x="0" y="6910"/>
                  </a:moveTo>
                  <a:lnTo>
                    <a:pt x="0" y="6910"/>
                  </a:lnTo>
                  <a:lnTo>
                    <a:pt x="6910" y="0"/>
                  </a:lnTo>
                  <a:lnTo>
                    <a:pt x="0" y="6910"/>
                  </a:lnTo>
                  <a:close/>
                </a:path>
              </a:pathLst>
            </a:custGeom>
            <a:solidFill>
              <a:srgbClr val="CEE3BF"/>
            </a:solidFill>
            <a:ln w="9334" cap="flat">
              <a:noFill/>
              <a:prstDash val="solid"/>
              <a:miter/>
            </a:ln>
          </p:spPr>
          <p:txBody>
            <a:bodyPr rtlCol="0" anchor="ctr"/>
            <a:lstStyle/>
            <a:p>
              <a:endParaRPr lang="en-GB" dirty="0"/>
            </a:p>
          </p:txBody>
        </p:sp>
        <p:sp>
          <p:nvSpPr>
            <p:cNvPr id="1328" name="Freeform: Shape 1327">
              <a:extLst>
                <a:ext uri="{FF2B5EF4-FFF2-40B4-BE49-F238E27FC236}">
                  <a16:creationId xmlns:a16="http://schemas.microsoft.com/office/drawing/2014/main" id="{483389FF-0138-4F64-B443-9ECB0EBB2105}"/>
                </a:ext>
              </a:extLst>
            </p:cNvPr>
            <p:cNvSpPr/>
            <p:nvPr/>
          </p:nvSpPr>
          <p:spPr>
            <a:xfrm>
              <a:off x="3188661" y="1560301"/>
              <a:ext cx="314200" cy="200472"/>
            </a:xfrm>
            <a:custGeom>
              <a:avLst/>
              <a:gdLst>
                <a:gd name="connsiteX0" fmla="*/ 41458 w 314200"/>
                <a:gd name="connsiteY0" fmla="*/ 127921 h 200472"/>
                <a:gd name="connsiteX1" fmla="*/ 58732 w 314200"/>
                <a:gd name="connsiteY1" fmla="*/ 124466 h 200472"/>
                <a:gd name="connsiteX2" fmla="*/ 86370 w 314200"/>
                <a:gd name="connsiteY2" fmla="*/ 127921 h 200472"/>
                <a:gd name="connsiteX3" fmla="*/ 107099 w 314200"/>
                <a:gd name="connsiteY3" fmla="*/ 124466 h 200472"/>
                <a:gd name="connsiteX4" fmla="*/ 134644 w 314200"/>
                <a:gd name="connsiteY4" fmla="*/ 124466 h 200472"/>
                <a:gd name="connsiteX5" fmla="*/ 155373 w 314200"/>
                <a:gd name="connsiteY5" fmla="*/ 127921 h 200472"/>
                <a:gd name="connsiteX6" fmla="*/ 165737 w 314200"/>
                <a:gd name="connsiteY6" fmla="*/ 138286 h 200472"/>
                <a:gd name="connsiteX7" fmla="*/ 145009 w 314200"/>
                <a:gd name="connsiteY7" fmla="*/ 141741 h 200472"/>
                <a:gd name="connsiteX8" fmla="*/ 120918 w 314200"/>
                <a:gd name="connsiteY8" fmla="*/ 141741 h 200472"/>
                <a:gd name="connsiteX9" fmla="*/ 89825 w 314200"/>
                <a:gd name="connsiteY9" fmla="*/ 141741 h 200472"/>
                <a:gd name="connsiteX10" fmla="*/ 69096 w 314200"/>
                <a:gd name="connsiteY10" fmla="*/ 148650 h 200472"/>
                <a:gd name="connsiteX11" fmla="*/ 96735 w 314200"/>
                <a:gd name="connsiteY11" fmla="*/ 169379 h 200472"/>
                <a:gd name="connsiteX12" fmla="*/ 107099 w 314200"/>
                <a:gd name="connsiteY12" fmla="*/ 165924 h 200472"/>
                <a:gd name="connsiteX13" fmla="*/ 131283 w 314200"/>
                <a:gd name="connsiteY13" fmla="*/ 169379 h 200472"/>
                <a:gd name="connsiteX14" fmla="*/ 134644 w 314200"/>
                <a:gd name="connsiteY14" fmla="*/ 176289 h 200472"/>
                <a:gd name="connsiteX15" fmla="*/ 110554 w 314200"/>
                <a:gd name="connsiteY15" fmla="*/ 172834 h 200472"/>
                <a:gd name="connsiteX16" fmla="*/ 114009 w 314200"/>
                <a:gd name="connsiteY16" fmla="*/ 190108 h 200472"/>
                <a:gd name="connsiteX17" fmla="*/ 145009 w 314200"/>
                <a:gd name="connsiteY17" fmla="*/ 200472 h 200472"/>
                <a:gd name="connsiteX18" fmla="*/ 165737 w 314200"/>
                <a:gd name="connsiteY18" fmla="*/ 193563 h 200472"/>
                <a:gd name="connsiteX19" fmla="*/ 179557 w 314200"/>
                <a:gd name="connsiteY19" fmla="*/ 190108 h 200472"/>
                <a:gd name="connsiteX20" fmla="*/ 176102 w 314200"/>
                <a:gd name="connsiteY20" fmla="*/ 179743 h 200472"/>
                <a:gd name="connsiteX21" fmla="*/ 186466 w 314200"/>
                <a:gd name="connsiteY21" fmla="*/ 172834 h 200472"/>
                <a:gd name="connsiteX22" fmla="*/ 200285 w 314200"/>
                <a:gd name="connsiteY22" fmla="*/ 190108 h 200472"/>
                <a:gd name="connsiteX23" fmla="*/ 214105 w 314200"/>
                <a:gd name="connsiteY23" fmla="*/ 200472 h 200472"/>
                <a:gd name="connsiteX24" fmla="*/ 217560 w 314200"/>
                <a:gd name="connsiteY24" fmla="*/ 179743 h 200472"/>
                <a:gd name="connsiteX25" fmla="*/ 221014 w 314200"/>
                <a:gd name="connsiteY25" fmla="*/ 183198 h 200472"/>
                <a:gd name="connsiteX26" fmla="*/ 231379 w 314200"/>
                <a:gd name="connsiteY26" fmla="*/ 190108 h 200472"/>
                <a:gd name="connsiteX27" fmla="*/ 234834 w 314200"/>
                <a:gd name="connsiteY27" fmla="*/ 186653 h 200472"/>
                <a:gd name="connsiteX28" fmla="*/ 234834 w 314200"/>
                <a:gd name="connsiteY28" fmla="*/ 183198 h 200472"/>
                <a:gd name="connsiteX29" fmla="*/ 234834 w 314200"/>
                <a:gd name="connsiteY29" fmla="*/ 176289 h 200472"/>
                <a:gd name="connsiteX30" fmla="*/ 231379 w 314200"/>
                <a:gd name="connsiteY30" fmla="*/ 165924 h 200472"/>
                <a:gd name="connsiteX31" fmla="*/ 231379 w 314200"/>
                <a:gd name="connsiteY31" fmla="*/ 159015 h 200472"/>
                <a:gd name="connsiteX32" fmla="*/ 238288 w 314200"/>
                <a:gd name="connsiteY32" fmla="*/ 141741 h 200472"/>
                <a:gd name="connsiteX33" fmla="*/ 248653 w 314200"/>
                <a:gd name="connsiteY33" fmla="*/ 141741 h 200472"/>
                <a:gd name="connsiteX34" fmla="*/ 241743 w 314200"/>
                <a:gd name="connsiteY34" fmla="*/ 159015 h 200472"/>
                <a:gd name="connsiteX35" fmla="*/ 241743 w 314200"/>
                <a:gd name="connsiteY35" fmla="*/ 169379 h 200472"/>
                <a:gd name="connsiteX36" fmla="*/ 269288 w 314200"/>
                <a:gd name="connsiteY36" fmla="*/ 145195 h 200472"/>
                <a:gd name="connsiteX37" fmla="*/ 279653 w 314200"/>
                <a:gd name="connsiteY37" fmla="*/ 141741 h 200472"/>
                <a:gd name="connsiteX38" fmla="*/ 296927 w 314200"/>
                <a:gd name="connsiteY38" fmla="*/ 145195 h 200472"/>
                <a:gd name="connsiteX39" fmla="*/ 307291 w 314200"/>
                <a:gd name="connsiteY39" fmla="*/ 138286 h 200472"/>
                <a:gd name="connsiteX40" fmla="*/ 314201 w 314200"/>
                <a:gd name="connsiteY40" fmla="*/ 127921 h 200472"/>
                <a:gd name="connsiteX41" fmla="*/ 303836 w 314200"/>
                <a:gd name="connsiteY41" fmla="*/ 117557 h 200472"/>
                <a:gd name="connsiteX42" fmla="*/ 296927 w 314200"/>
                <a:gd name="connsiteY42" fmla="*/ 117557 h 200472"/>
                <a:gd name="connsiteX43" fmla="*/ 283108 w 314200"/>
                <a:gd name="connsiteY43" fmla="*/ 114102 h 200472"/>
                <a:gd name="connsiteX44" fmla="*/ 259017 w 314200"/>
                <a:gd name="connsiteY44" fmla="*/ 117557 h 200472"/>
                <a:gd name="connsiteX45" fmla="*/ 262472 w 314200"/>
                <a:gd name="connsiteY45" fmla="*/ 100283 h 200472"/>
                <a:gd name="connsiteX46" fmla="*/ 259017 w 314200"/>
                <a:gd name="connsiteY46" fmla="*/ 89918 h 200472"/>
                <a:gd name="connsiteX47" fmla="*/ 245198 w 314200"/>
                <a:gd name="connsiteY47" fmla="*/ 79461 h 200472"/>
                <a:gd name="connsiteX48" fmla="*/ 248653 w 314200"/>
                <a:gd name="connsiteY48" fmla="*/ 62187 h 200472"/>
                <a:gd name="connsiteX49" fmla="*/ 238288 w 314200"/>
                <a:gd name="connsiteY49" fmla="*/ 58732 h 200472"/>
                <a:gd name="connsiteX50" fmla="*/ 224469 w 314200"/>
                <a:gd name="connsiteY50" fmla="*/ 65641 h 200472"/>
                <a:gd name="connsiteX51" fmla="*/ 217560 w 314200"/>
                <a:gd name="connsiteY51" fmla="*/ 82915 h 200472"/>
                <a:gd name="connsiteX52" fmla="*/ 203740 w 314200"/>
                <a:gd name="connsiteY52" fmla="*/ 72551 h 200472"/>
                <a:gd name="connsiteX53" fmla="*/ 203740 w 314200"/>
                <a:gd name="connsiteY53" fmla="*/ 58732 h 200472"/>
                <a:gd name="connsiteX54" fmla="*/ 169192 w 314200"/>
                <a:gd name="connsiteY54" fmla="*/ 51822 h 200472"/>
                <a:gd name="connsiteX55" fmla="*/ 120918 w 314200"/>
                <a:gd name="connsiteY55" fmla="*/ 3455 h 200472"/>
                <a:gd name="connsiteX56" fmla="*/ 79461 w 314200"/>
                <a:gd name="connsiteY56" fmla="*/ 0 h 200472"/>
                <a:gd name="connsiteX57" fmla="*/ 72551 w 314200"/>
                <a:gd name="connsiteY57" fmla="*/ 6910 h 200472"/>
                <a:gd name="connsiteX58" fmla="*/ 96735 w 314200"/>
                <a:gd name="connsiteY58" fmla="*/ 10364 h 200472"/>
                <a:gd name="connsiteX59" fmla="*/ 100189 w 314200"/>
                <a:gd name="connsiteY59" fmla="*/ 17274 h 200472"/>
                <a:gd name="connsiteX60" fmla="*/ 72551 w 314200"/>
                <a:gd name="connsiteY60" fmla="*/ 20729 h 200472"/>
                <a:gd name="connsiteX61" fmla="*/ 58732 w 314200"/>
                <a:gd name="connsiteY61" fmla="*/ 17274 h 200472"/>
                <a:gd name="connsiteX62" fmla="*/ 44912 w 314200"/>
                <a:gd name="connsiteY62" fmla="*/ 17274 h 200472"/>
                <a:gd name="connsiteX63" fmla="*/ 41458 w 314200"/>
                <a:gd name="connsiteY63" fmla="*/ 31093 h 200472"/>
                <a:gd name="connsiteX64" fmla="*/ 58732 w 314200"/>
                <a:gd name="connsiteY64" fmla="*/ 38003 h 200472"/>
                <a:gd name="connsiteX65" fmla="*/ 72551 w 314200"/>
                <a:gd name="connsiteY65" fmla="*/ 44913 h 200472"/>
                <a:gd name="connsiteX66" fmla="*/ 62187 w 314200"/>
                <a:gd name="connsiteY66" fmla="*/ 51822 h 200472"/>
                <a:gd name="connsiteX67" fmla="*/ 41458 w 314200"/>
                <a:gd name="connsiteY67" fmla="*/ 48367 h 200472"/>
                <a:gd name="connsiteX68" fmla="*/ 24184 w 314200"/>
                <a:gd name="connsiteY68" fmla="*/ 48367 h 200472"/>
                <a:gd name="connsiteX69" fmla="*/ 27639 w 314200"/>
                <a:gd name="connsiteY69" fmla="*/ 65641 h 200472"/>
                <a:gd name="connsiteX70" fmla="*/ 41458 w 314200"/>
                <a:gd name="connsiteY70" fmla="*/ 69096 h 200472"/>
                <a:gd name="connsiteX71" fmla="*/ 62187 w 314200"/>
                <a:gd name="connsiteY71" fmla="*/ 72551 h 200472"/>
                <a:gd name="connsiteX72" fmla="*/ 51822 w 314200"/>
                <a:gd name="connsiteY72" fmla="*/ 86370 h 200472"/>
                <a:gd name="connsiteX73" fmla="*/ 24184 w 314200"/>
                <a:gd name="connsiteY73" fmla="*/ 82915 h 200472"/>
                <a:gd name="connsiteX74" fmla="*/ 13819 w 314200"/>
                <a:gd name="connsiteY74" fmla="*/ 76006 h 200472"/>
                <a:gd name="connsiteX75" fmla="*/ 0 w 314200"/>
                <a:gd name="connsiteY75" fmla="*/ 76006 h 200472"/>
                <a:gd name="connsiteX76" fmla="*/ 10364 w 314200"/>
                <a:gd name="connsiteY76" fmla="*/ 93373 h 200472"/>
                <a:gd name="connsiteX77" fmla="*/ 41458 w 314200"/>
                <a:gd name="connsiteY77" fmla="*/ 127921 h 20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14200" h="200472">
                  <a:moveTo>
                    <a:pt x="41458" y="127921"/>
                  </a:moveTo>
                  <a:lnTo>
                    <a:pt x="58732" y="124466"/>
                  </a:lnTo>
                  <a:lnTo>
                    <a:pt x="86370" y="127921"/>
                  </a:lnTo>
                  <a:lnTo>
                    <a:pt x="107099" y="124466"/>
                  </a:lnTo>
                  <a:lnTo>
                    <a:pt x="134644" y="124466"/>
                  </a:lnTo>
                  <a:lnTo>
                    <a:pt x="155373" y="127921"/>
                  </a:lnTo>
                  <a:lnTo>
                    <a:pt x="165737" y="138286"/>
                  </a:lnTo>
                  <a:lnTo>
                    <a:pt x="145009" y="141741"/>
                  </a:lnTo>
                  <a:lnTo>
                    <a:pt x="120918" y="141741"/>
                  </a:lnTo>
                  <a:lnTo>
                    <a:pt x="89825" y="141741"/>
                  </a:lnTo>
                  <a:lnTo>
                    <a:pt x="69096" y="148650"/>
                  </a:lnTo>
                  <a:lnTo>
                    <a:pt x="96735" y="169379"/>
                  </a:lnTo>
                  <a:lnTo>
                    <a:pt x="107099" y="165924"/>
                  </a:lnTo>
                  <a:lnTo>
                    <a:pt x="131283" y="169379"/>
                  </a:lnTo>
                  <a:lnTo>
                    <a:pt x="134644" y="176289"/>
                  </a:lnTo>
                  <a:lnTo>
                    <a:pt x="110554" y="172834"/>
                  </a:lnTo>
                  <a:lnTo>
                    <a:pt x="114009" y="190108"/>
                  </a:lnTo>
                  <a:lnTo>
                    <a:pt x="145009" y="200472"/>
                  </a:lnTo>
                  <a:lnTo>
                    <a:pt x="165737" y="193563"/>
                  </a:lnTo>
                  <a:lnTo>
                    <a:pt x="179557" y="190108"/>
                  </a:lnTo>
                  <a:lnTo>
                    <a:pt x="176102" y="179743"/>
                  </a:lnTo>
                  <a:lnTo>
                    <a:pt x="186466" y="172834"/>
                  </a:lnTo>
                  <a:lnTo>
                    <a:pt x="200285" y="190108"/>
                  </a:lnTo>
                  <a:lnTo>
                    <a:pt x="214105" y="200472"/>
                  </a:lnTo>
                  <a:lnTo>
                    <a:pt x="217560" y="179743"/>
                  </a:lnTo>
                  <a:lnTo>
                    <a:pt x="221014" y="183198"/>
                  </a:lnTo>
                  <a:lnTo>
                    <a:pt x="231379" y="190108"/>
                  </a:lnTo>
                  <a:lnTo>
                    <a:pt x="234834" y="186653"/>
                  </a:lnTo>
                  <a:lnTo>
                    <a:pt x="234834" y="183198"/>
                  </a:lnTo>
                  <a:lnTo>
                    <a:pt x="234834" y="176289"/>
                  </a:lnTo>
                  <a:lnTo>
                    <a:pt x="231379" y="165924"/>
                  </a:lnTo>
                  <a:lnTo>
                    <a:pt x="231379" y="159015"/>
                  </a:lnTo>
                  <a:lnTo>
                    <a:pt x="238288" y="141741"/>
                  </a:lnTo>
                  <a:lnTo>
                    <a:pt x="248653" y="141741"/>
                  </a:lnTo>
                  <a:lnTo>
                    <a:pt x="241743" y="159015"/>
                  </a:lnTo>
                  <a:lnTo>
                    <a:pt x="241743" y="169379"/>
                  </a:lnTo>
                  <a:lnTo>
                    <a:pt x="269288" y="145195"/>
                  </a:lnTo>
                  <a:lnTo>
                    <a:pt x="279653" y="141741"/>
                  </a:lnTo>
                  <a:lnTo>
                    <a:pt x="296927" y="145195"/>
                  </a:lnTo>
                  <a:lnTo>
                    <a:pt x="307291" y="138286"/>
                  </a:lnTo>
                  <a:lnTo>
                    <a:pt x="314201" y="127921"/>
                  </a:lnTo>
                  <a:lnTo>
                    <a:pt x="303836" y="117557"/>
                  </a:lnTo>
                  <a:lnTo>
                    <a:pt x="296927" y="117557"/>
                  </a:lnTo>
                  <a:lnTo>
                    <a:pt x="283108" y="114102"/>
                  </a:lnTo>
                  <a:lnTo>
                    <a:pt x="259017" y="117557"/>
                  </a:lnTo>
                  <a:lnTo>
                    <a:pt x="262472" y="100283"/>
                  </a:lnTo>
                  <a:lnTo>
                    <a:pt x="259017" y="89918"/>
                  </a:lnTo>
                  <a:lnTo>
                    <a:pt x="245198" y="79461"/>
                  </a:lnTo>
                  <a:lnTo>
                    <a:pt x="248653" y="62187"/>
                  </a:lnTo>
                  <a:lnTo>
                    <a:pt x="238288" y="58732"/>
                  </a:lnTo>
                  <a:lnTo>
                    <a:pt x="224469" y="65641"/>
                  </a:lnTo>
                  <a:lnTo>
                    <a:pt x="217560" y="82915"/>
                  </a:lnTo>
                  <a:lnTo>
                    <a:pt x="203740" y="72551"/>
                  </a:lnTo>
                  <a:lnTo>
                    <a:pt x="203740" y="58732"/>
                  </a:lnTo>
                  <a:lnTo>
                    <a:pt x="169192" y="51822"/>
                  </a:lnTo>
                  <a:lnTo>
                    <a:pt x="120918" y="3455"/>
                  </a:lnTo>
                  <a:lnTo>
                    <a:pt x="79461" y="0"/>
                  </a:lnTo>
                  <a:lnTo>
                    <a:pt x="72551" y="6910"/>
                  </a:lnTo>
                  <a:lnTo>
                    <a:pt x="96735" y="10364"/>
                  </a:lnTo>
                  <a:lnTo>
                    <a:pt x="100189" y="17274"/>
                  </a:lnTo>
                  <a:lnTo>
                    <a:pt x="72551" y="20729"/>
                  </a:lnTo>
                  <a:lnTo>
                    <a:pt x="58732" y="17274"/>
                  </a:lnTo>
                  <a:lnTo>
                    <a:pt x="44912" y="17274"/>
                  </a:lnTo>
                  <a:lnTo>
                    <a:pt x="41458" y="31093"/>
                  </a:lnTo>
                  <a:lnTo>
                    <a:pt x="58732" y="38003"/>
                  </a:lnTo>
                  <a:lnTo>
                    <a:pt x="72551" y="44913"/>
                  </a:lnTo>
                  <a:lnTo>
                    <a:pt x="62187" y="51822"/>
                  </a:lnTo>
                  <a:lnTo>
                    <a:pt x="41458" y="48367"/>
                  </a:lnTo>
                  <a:lnTo>
                    <a:pt x="24184" y="48367"/>
                  </a:lnTo>
                  <a:lnTo>
                    <a:pt x="27639" y="65641"/>
                  </a:lnTo>
                  <a:lnTo>
                    <a:pt x="41458" y="69096"/>
                  </a:lnTo>
                  <a:lnTo>
                    <a:pt x="62187" y="72551"/>
                  </a:lnTo>
                  <a:lnTo>
                    <a:pt x="51822" y="86370"/>
                  </a:lnTo>
                  <a:lnTo>
                    <a:pt x="24184" y="82915"/>
                  </a:lnTo>
                  <a:lnTo>
                    <a:pt x="13819" y="76006"/>
                  </a:lnTo>
                  <a:lnTo>
                    <a:pt x="0" y="76006"/>
                  </a:lnTo>
                  <a:lnTo>
                    <a:pt x="10364" y="93373"/>
                  </a:lnTo>
                  <a:lnTo>
                    <a:pt x="41458" y="127921"/>
                  </a:lnTo>
                  <a:close/>
                </a:path>
              </a:pathLst>
            </a:custGeom>
            <a:solidFill>
              <a:srgbClr val="CEE3BF"/>
            </a:solidFill>
            <a:ln w="9334" cap="flat">
              <a:noFill/>
              <a:prstDash val="solid"/>
              <a:miter/>
            </a:ln>
          </p:spPr>
          <p:txBody>
            <a:bodyPr rtlCol="0" anchor="ctr"/>
            <a:lstStyle/>
            <a:p>
              <a:endParaRPr lang="en-GB" dirty="0"/>
            </a:p>
          </p:txBody>
        </p:sp>
        <p:sp>
          <p:nvSpPr>
            <p:cNvPr id="1329" name="Freeform: Shape 1328">
              <a:extLst>
                <a:ext uri="{FF2B5EF4-FFF2-40B4-BE49-F238E27FC236}">
                  <a16:creationId xmlns:a16="http://schemas.microsoft.com/office/drawing/2014/main" id="{4DAF5702-B0E0-40B1-90F2-BC067129C2F0}"/>
                </a:ext>
              </a:extLst>
            </p:cNvPr>
            <p:cNvSpPr/>
            <p:nvPr/>
          </p:nvSpPr>
          <p:spPr>
            <a:xfrm>
              <a:off x="3088565" y="1636307"/>
              <a:ext cx="44912" cy="27731"/>
            </a:xfrm>
            <a:custGeom>
              <a:avLst/>
              <a:gdLst>
                <a:gd name="connsiteX0" fmla="*/ 24184 w 44912"/>
                <a:gd name="connsiteY0" fmla="*/ 20822 h 27731"/>
                <a:gd name="connsiteX1" fmla="*/ 31093 w 44912"/>
                <a:gd name="connsiteY1" fmla="*/ 27732 h 27731"/>
                <a:gd name="connsiteX2" fmla="*/ 44912 w 44912"/>
                <a:gd name="connsiteY2" fmla="*/ 27732 h 27731"/>
                <a:gd name="connsiteX3" fmla="*/ 44912 w 44912"/>
                <a:gd name="connsiteY3" fmla="*/ 10364 h 27731"/>
                <a:gd name="connsiteX4" fmla="*/ 31093 w 44912"/>
                <a:gd name="connsiteY4" fmla="*/ 0 h 27731"/>
                <a:gd name="connsiteX5" fmla="*/ 13819 w 44912"/>
                <a:gd name="connsiteY5" fmla="*/ 0 h 27731"/>
                <a:gd name="connsiteX6" fmla="*/ 0 w 44912"/>
                <a:gd name="connsiteY6" fmla="*/ 6910 h 27731"/>
                <a:gd name="connsiteX7" fmla="*/ 6910 w 44912"/>
                <a:gd name="connsiteY7" fmla="*/ 20822 h 27731"/>
                <a:gd name="connsiteX8" fmla="*/ 24184 w 44912"/>
                <a:gd name="connsiteY8" fmla="*/ 20822 h 2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912" h="27731">
                  <a:moveTo>
                    <a:pt x="24184" y="20822"/>
                  </a:moveTo>
                  <a:lnTo>
                    <a:pt x="31093" y="27732"/>
                  </a:lnTo>
                  <a:lnTo>
                    <a:pt x="44912" y="27732"/>
                  </a:lnTo>
                  <a:lnTo>
                    <a:pt x="44912" y="10364"/>
                  </a:lnTo>
                  <a:lnTo>
                    <a:pt x="31093" y="0"/>
                  </a:lnTo>
                  <a:lnTo>
                    <a:pt x="13819" y="0"/>
                  </a:lnTo>
                  <a:lnTo>
                    <a:pt x="0" y="6910"/>
                  </a:lnTo>
                  <a:lnTo>
                    <a:pt x="6910" y="20822"/>
                  </a:lnTo>
                  <a:lnTo>
                    <a:pt x="24184" y="20822"/>
                  </a:lnTo>
                  <a:close/>
                </a:path>
              </a:pathLst>
            </a:custGeom>
            <a:solidFill>
              <a:srgbClr val="CEE3BF"/>
            </a:solidFill>
            <a:ln w="9334" cap="flat">
              <a:noFill/>
              <a:prstDash val="solid"/>
              <a:miter/>
            </a:ln>
          </p:spPr>
          <p:txBody>
            <a:bodyPr rtlCol="0" anchor="ctr"/>
            <a:lstStyle/>
            <a:p>
              <a:endParaRPr lang="en-GB" dirty="0"/>
            </a:p>
          </p:txBody>
        </p:sp>
        <p:sp>
          <p:nvSpPr>
            <p:cNvPr id="1330" name="Freeform: Shape 1329">
              <a:extLst>
                <a:ext uri="{FF2B5EF4-FFF2-40B4-BE49-F238E27FC236}">
                  <a16:creationId xmlns:a16="http://schemas.microsoft.com/office/drawing/2014/main" id="{4699FA98-A0E9-4DD3-891E-B1B89E54572D}"/>
                </a:ext>
              </a:extLst>
            </p:cNvPr>
            <p:cNvSpPr/>
            <p:nvPr/>
          </p:nvSpPr>
          <p:spPr>
            <a:xfrm>
              <a:off x="3627142" y="2009707"/>
              <a:ext cx="120824" cy="48367"/>
            </a:xfrm>
            <a:custGeom>
              <a:avLst/>
              <a:gdLst>
                <a:gd name="connsiteX0" fmla="*/ 6910 w 120824"/>
                <a:gd name="connsiteY0" fmla="*/ 0 h 48367"/>
                <a:gd name="connsiteX1" fmla="*/ 0 w 120824"/>
                <a:gd name="connsiteY1" fmla="*/ 0 h 48367"/>
                <a:gd name="connsiteX2" fmla="*/ 0 w 120824"/>
                <a:gd name="connsiteY2" fmla="*/ 17274 h 48367"/>
                <a:gd name="connsiteX3" fmla="*/ 17274 w 120824"/>
                <a:gd name="connsiteY3" fmla="*/ 27638 h 48367"/>
                <a:gd name="connsiteX4" fmla="*/ 24184 w 120824"/>
                <a:gd name="connsiteY4" fmla="*/ 44913 h 48367"/>
                <a:gd name="connsiteX5" fmla="*/ 44912 w 120824"/>
                <a:gd name="connsiteY5" fmla="*/ 48367 h 48367"/>
                <a:gd name="connsiteX6" fmla="*/ 55277 w 120824"/>
                <a:gd name="connsiteY6" fmla="*/ 41458 h 48367"/>
                <a:gd name="connsiteX7" fmla="*/ 79461 w 120824"/>
                <a:gd name="connsiteY7" fmla="*/ 41458 h 48367"/>
                <a:gd name="connsiteX8" fmla="*/ 103551 w 120824"/>
                <a:gd name="connsiteY8" fmla="*/ 41458 h 48367"/>
                <a:gd name="connsiteX9" fmla="*/ 120825 w 120824"/>
                <a:gd name="connsiteY9" fmla="*/ 38003 h 48367"/>
                <a:gd name="connsiteX10" fmla="*/ 107006 w 120824"/>
                <a:gd name="connsiteY10" fmla="*/ 20729 h 48367"/>
                <a:gd name="connsiteX11" fmla="*/ 72551 w 120824"/>
                <a:gd name="connsiteY11" fmla="*/ 3455 h 48367"/>
                <a:gd name="connsiteX12" fmla="*/ 38003 w 120824"/>
                <a:gd name="connsiteY12" fmla="*/ 0 h 48367"/>
                <a:gd name="connsiteX13" fmla="*/ 6910 w 120824"/>
                <a:gd name="connsiteY13" fmla="*/ 0 h 4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24" h="48367">
                  <a:moveTo>
                    <a:pt x="6910" y="0"/>
                  </a:moveTo>
                  <a:lnTo>
                    <a:pt x="0" y="0"/>
                  </a:lnTo>
                  <a:lnTo>
                    <a:pt x="0" y="17274"/>
                  </a:lnTo>
                  <a:lnTo>
                    <a:pt x="17274" y="27638"/>
                  </a:lnTo>
                  <a:lnTo>
                    <a:pt x="24184" y="44913"/>
                  </a:lnTo>
                  <a:lnTo>
                    <a:pt x="44912" y="48367"/>
                  </a:lnTo>
                  <a:lnTo>
                    <a:pt x="55277" y="41458"/>
                  </a:lnTo>
                  <a:lnTo>
                    <a:pt x="79461" y="41458"/>
                  </a:lnTo>
                  <a:lnTo>
                    <a:pt x="103551" y="41458"/>
                  </a:lnTo>
                  <a:lnTo>
                    <a:pt x="120825" y="38003"/>
                  </a:lnTo>
                  <a:lnTo>
                    <a:pt x="107006" y="20729"/>
                  </a:lnTo>
                  <a:lnTo>
                    <a:pt x="72551" y="3455"/>
                  </a:lnTo>
                  <a:lnTo>
                    <a:pt x="38003" y="0"/>
                  </a:lnTo>
                  <a:lnTo>
                    <a:pt x="6910" y="0"/>
                  </a:lnTo>
                  <a:close/>
                </a:path>
              </a:pathLst>
            </a:custGeom>
            <a:solidFill>
              <a:srgbClr val="CEE3BF"/>
            </a:solidFill>
            <a:ln w="9334" cap="flat">
              <a:noFill/>
              <a:prstDash val="solid"/>
              <a:miter/>
            </a:ln>
          </p:spPr>
          <p:txBody>
            <a:bodyPr rtlCol="0" anchor="ctr"/>
            <a:lstStyle/>
            <a:p>
              <a:endParaRPr lang="en-GB" dirty="0"/>
            </a:p>
          </p:txBody>
        </p:sp>
        <p:sp>
          <p:nvSpPr>
            <p:cNvPr id="1331" name="Freeform: Shape 1330">
              <a:extLst>
                <a:ext uri="{FF2B5EF4-FFF2-40B4-BE49-F238E27FC236}">
                  <a16:creationId xmlns:a16="http://schemas.microsoft.com/office/drawing/2014/main" id="{DA5801D7-0B7D-49D8-A7B0-1D9F96DA9E08}"/>
                </a:ext>
              </a:extLst>
            </p:cNvPr>
            <p:cNvSpPr/>
            <p:nvPr/>
          </p:nvSpPr>
          <p:spPr>
            <a:xfrm>
              <a:off x="3720422" y="2279275"/>
              <a:ext cx="62093" cy="51915"/>
            </a:xfrm>
            <a:custGeom>
              <a:avLst/>
              <a:gdLst>
                <a:gd name="connsiteX0" fmla="*/ 44819 w 62093"/>
                <a:gd name="connsiteY0" fmla="*/ 45006 h 51915"/>
                <a:gd name="connsiteX1" fmla="*/ 58638 w 62093"/>
                <a:gd name="connsiteY1" fmla="*/ 34641 h 51915"/>
                <a:gd name="connsiteX2" fmla="*/ 62093 w 62093"/>
                <a:gd name="connsiteY2" fmla="*/ 17274 h 51915"/>
                <a:gd name="connsiteX3" fmla="*/ 62093 w 62093"/>
                <a:gd name="connsiteY3" fmla="*/ 6910 h 51915"/>
                <a:gd name="connsiteX4" fmla="*/ 41364 w 62093"/>
                <a:gd name="connsiteY4" fmla="*/ 0 h 51915"/>
                <a:gd name="connsiteX5" fmla="*/ 20635 w 62093"/>
                <a:gd name="connsiteY5" fmla="*/ 3455 h 51915"/>
                <a:gd name="connsiteX6" fmla="*/ 10271 w 62093"/>
                <a:gd name="connsiteY6" fmla="*/ 6910 h 51915"/>
                <a:gd name="connsiteX7" fmla="*/ 3455 w 62093"/>
                <a:gd name="connsiteY7" fmla="*/ 20822 h 51915"/>
                <a:gd name="connsiteX8" fmla="*/ 0 w 62093"/>
                <a:gd name="connsiteY8" fmla="*/ 45006 h 51915"/>
                <a:gd name="connsiteX9" fmla="*/ 24090 w 62093"/>
                <a:gd name="connsiteY9" fmla="*/ 51915 h 51915"/>
                <a:gd name="connsiteX10" fmla="*/ 44819 w 62093"/>
                <a:gd name="connsiteY10" fmla="*/ 45006 h 5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93" h="51915">
                  <a:moveTo>
                    <a:pt x="44819" y="45006"/>
                  </a:moveTo>
                  <a:lnTo>
                    <a:pt x="58638" y="34641"/>
                  </a:lnTo>
                  <a:lnTo>
                    <a:pt x="62093" y="17274"/>
                  </a:lnTo>
                  <a:lnTo>
                    <a:pt x="62093" y="6910"/>
                  </a:lnTo>
                  <a:lnTo>
                    <a:pt x="41364" y="0"/>
                  </a:lnTo>
                  <a:lnTo>
                    <a:pt x="20635" y="3455"/>
                  </a:lnTo>
                  <a:lnTo>
                    <a:pt x="10271" y="6910"/>
                  </a:lnTo>
                  <a:lnTo>
                    <a:pt x="3455" y="20822"/>
                  </a:lnTo>
                  <a:lnTo>
                    <a:pt x="0" y="45006"/>
                  </a:lnTo>
                  <a:lnTo>
                    <a:pt x="24090" y="51915"/>
                  </a:lnTo>
                  <a:lnTo>
                    <a:pt x="44819" y="45006"/>
                  </a:lnTo>
                  <a:close/>
                </a:path>
              </a:pathLst>
            </a:custGeom>
            <a:solidFill>
              <a:srgbClr val="CEE3BF"/>
            </a:solidFill>
            <a:ln w="9334" cap="flat">
              <a:noFill/>
              <a:prstDash val="solid"/>
              <a:miter/>
            </a:ln>
          </p:spPr>
          <p:txBody>
            <a:bodyPr rtlCol="0" anchor="ctr"/>
            <a:lstStyle/>
            <a:p>
              <a:endParaRPr lang="en-GB" dirty="0"/>
            </a:p>
          </p:txBody>
        </p:sp>
        <p:sp>
          <p:nvSpPr>
            <p:cNvPr id="1332" name="Freeform: Shape 1331">
              <a:extLst>
                <a:ext uri="{FF2B5EF4-FFF2-40B4-BE49-F238E27FC236}">
                  <a16:creationId xmlns:a16="http://schemas.microsoft.com/office/drawing/2014/main" id="{1BA3B90D-D0E3-4DFC-860C-B2D8C461F65A}"/>
                </a:ext>
              </a:extLst>
            </p:cNvPr>
            <p:cNvSpPr/>
            <p:nvPr/>
          </p:nvSpPr>
          <p:spPr>
            <a:xfrm>
              <a:off x="3447679" y="2393377"/>
              <a:ext cx="189827" cy="121011"/>
            </a:xfrm>
            <a:custGeom>
              <a:avLst/>
              <a:gdLst>
                <a:gd name="connsiteX0" fmla="*/ 155280 w 189827"/>
                <a:gd name="connsiteY0" fmla="*/ 103738 h 121011"/>
                <a:gd name="connsiteX1" fmla="*/ 172554 w 189827"/>
                <a:gd name="connsiteY1" fmla="*/ 107192 h 121011"/>
                <a:gd name="connsiteX2" fmla="*/ 176008 w 189827"/>
                <a:gd name="connsiteY2" fmla="*/ 103738 h 121011"/>
                <a:gd name="connsiteX3" fmla="*/ 182918 w 189827"/>
                <a:gd name="connsiteY3" fmla="*/ 103738 h 121011"/>
                <a:gd name="connsiteX4" fmla="*/ 186373 w 189827"/>
                <a:gd name="connsiteY4" fmla="*/ 96828 h 121011"/>
                <a:gd name="connsiteX5" fmla="*/ 189828 w 189827"/>
                <a:gd name="connsiteY5" fmla="*/ 96828 h 121011"/>
                <a:gd name="connsiteX6" fmla="*/ 189828 w 189827"/>
                <a:gd name="connsiteY6" fmla="*/ 89918 h 121011"/>
                <a:gd name="connsiteX7" fmla="*/ 186373 w 189827"/>
                <a:gd name="connsiteY7" fmla="*/ 83009 h 121011"/>
                <a:gd name="connsiteX8" fmla="*/ 169099 w 189827"/>
                <a:gd name="connsiteY8" fmla="*/ 79554 h 121011"/>
                <a:gd name="connsiteX9" fmla="*/ 151825 w 189827"/>
                <a:gd name="connsiteY9" fmla="*/ 79554 h 121011"/>
                <a:gd name="connsiteX10" fmla="*/ 148370 w 189827"/>
                <a:gd name="connsiteY10" fmla="*/ 65735 h 121011"/>
                <a:gd name="connsiteX11" fmla="*/ 144915 w 189827"/>
                <a:gd name="connsiteY11" fmla="*/ 55277 h 121011"/>
                <a:gd name="connsiteX12" fmla="*/ 120825 w 189827"/>
                <a:gd name="connsiteY12" fmla="*/ 51822 h 121011"/>
                <a:gd name="connsiteX13" fmla="*/ 107006 w 189827"/>
                <a:gd name="connsiteY13" fmla="*/ 38003 h 121011"/>
                <a:gd name="connsiteX14" fmla="*/ 96641 w 189827"/>
                <a:gd name="connsiteY14" fmla="*/ 34548 h 121011"/>
                <a:gd name="connsiteX15" fmla="*/ 93186 w 189827"/>
                <a:gd name="connsiteY15" fmla="*/ 27638 h 121011"/>
                <a:gd name="connsiteX16" fmla="*/ 89732 w 189827"/>
                <a:gd name="connsiteY16" fmla="*/ 24184 h 121011"/>
                <a:gd name="connsiteX17" fmla="*/ 72458 w 189827"/>
                <a:gd name="connsiteY17" fmla="*/ 20729 h 121011"/>
                <a:gd name="connsiteX18" fmla="*/ 69003 w 189827"/>
                <a:gd name="connsiteY18" fmla="*/ 13819 h 121011"/>
                <a:gd name="connsiteX19" fmla="*/ 69003 w 189827"/>
                <a:gd name="connsiteY19" fmla="*/ 0 h 121011"/>
                <a:gd name="connsiteX20" fmla="*/ 48274 w 189827"/>
                <a:gd name="connsiteY20" fmla="*/ 0 h 121011"/>
                <a:gd name="connsiteX21" fmla="*/ 31000 w 189827"/>
                <a:gd name="connsiteY21" fmla="*/ 10364 h 121011"/>
                <a:gd name="connsiteX22" fmla="*/ 31000 w 189827"/>
                <a:gd name="connsiteY22" fmla="*/ 27638 h 121011"/>
                <a:gd name="connsiteX23" fmla="*/ 31000 w 189827"/>
                <a:gd name="connsiteY23" fmla="*/ 38003 h 121011"/>
                <a:gd name="connsiteX24" fmla="*/ 27545 w 189827"/>
                <a:gd name="connsiteY24" fmla="*/ 44912 h 121011"/>
                <a:gd name="connsiteX25" fmla="*/ 27545 w 189827"/>
                <a:gd name="connsiteY25" fmla="*/ 65735 h 121011"/>
                <a:gd name="connsiteX26" fmla="*/ 10271 w 189827"/>
                <a:gd name="connsiteY26" fmla="*/ 83009 h 121011"/>
                <a:gd name="connsiteX27" fmla="*/ 0 w 189827"/>
                <a:gd name="connsiteY27" fmla="*/ 96828 h 121011"/>
                <a:gd name="connsiteX28" fmla="*/ 10271 w 189827"/>
                <a:gd name="connsiteY28" fmla="*/ 107192 h 121011"/>
                <a:gd name="connsiteX29" fmla="*/ 17181 w 189827"/>
                <a:gd name="connsiteY29" fmla="*/ 96828 h 121011"/>
                <a:gd name="connsiteX30" fmla="*/ 24090 w 189827"/>
                <a:gd name="connsiteY30" fmla="*/ 96828 h 121011"/>
                <a:gd name="connsiteX31" fmla="*/ 44819 w 189827"/>
                <a:gd name="connsiteY31" fmla="*/ 96828 h 121011"/>
                <a:gd name="connsiteX32" fmla="*/ 41364 w 189827"/>
                <a:gd name="connsiteY32" fmla="*/ 121012 h 121011"/>
                <a:gd name="connsiteX33" fmla="*/ 69003 w 189827"/>
                <a:gd name="connsiteY33" fmla="*/ 117557 h 121011"/>
                <a:gd name="connsiteX34" fmla="*/ 89732 w 189827"/>
                <a:gd name="connsiteY34" fmla="*/ 96828 h 121011"/>
                <a:gd name="connsiteX35" fmla="*/ 100096 w 189827"/>
                <a:gd name="connsiteY35" fmla="*/ 83009 h 121011"/>
                <a:gd name="connsiteX36" fmla="*/ 103551 w 189827"/>
                <a:gd name="connsiteY36" fmla="*/ 76099 h 121011"/>
                <a:gd name="connsiteX37" fmla="*/ 110461 w 189827"/>
                <a:gd name="connsiteY37" fmla="*/ 72644 h 121011"/>
                <a:gd name="connsiteX38" fmla="*/ 117370 w 189827"/>
                <a:gd name="connsiteY38" fmla="*/ 79554 h 121011"/>
                <a:gd name="connsiteX39" fmla="*/ 131189 w 189827"/>
                <a:gd name="connsiteY39" fmla="*/ 89918 h 121011"/>
                <a:gd name="connsiteX40" fmla="*/ 144915 w 189827"/>
                <a:gd name="connsiteY40" fmla="*/ 100283 h 121011"/>
                <a:gd name="connsiteX41" fmla="*/ 155280 w 189827"/>
                <a:gd name="connsiteY41" fmla="*/ 103738 h 121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9827" h="121011">
                  <a:moveTo>
                    <a:pt x="155280" y="103738"/>
                  </a:moveTo>
                  <a:lnTo>
                    <a:pt x="172554" y="107192"/>
                  </a:lnTo>
                  <a:lnTo>
                    <a:pt x="176008" y="103738"/>
                  </a:lnTo>
                  <a:lnTo>
                    <a:pt x="182918" y="103738"/>
                  </a:lnTo>
                  <a:lnTo>
                    <a:pt x="186373" y="96828"/>
                  </a:lnTo>
                  <a:lnTo>
                    <a:pt x="189828" y="96828"/>
                  </a:lnTo>
                  <a:lnTo>
                    <a:pt x="189828" y="89918"/>
                  </a:lnTo>
                  <a:lnTo>
                    <a:pt x="186373" y="83009"/>
                  </a:lnTo>
                  <a:lnTo>
                    <a:pt x="169099" y="79554"/>
                  </a:lnTo>
                  <a:lnTo>
                    <a:pt x="151825" y="79554"/>
                  </a:lnTo>
                  <a:lnTo>
                    <a:pt x="148370" y="65735"/>
                  </a:lnTo>
                  <a:lnTo>
                    <a:pt x="144915" y="55277"/>
                  </a:lnTo>
                  <a:lnTo>
                    <a:pt x="120825" y="51822"/>
                  </a:lnTo>
                  <a:lnTo>
                    <a:pt x="107006" y="38003"/>
                  </a:lnTo>
                  <a:lnTo>
                    <a:pt x="96641" y="34548"/>
                  </a:lnTo>
                  <a:lnTo>
                    <a:pt x="93186" y="27638"/>
                  </a:lnTo>
                  <a:lnTo>
                    <a:pt x="89732" y="24184"/>
                  </a:lnTo>
                  <a:lnTo>
                    <a:pt x="72458" y="20729"/>
                  </a:lnTo>
                  <a:lnTo>
                    <a:pt x="69003" y="13819"/>
                  </a:lnTo>
                  <a:lnTo>
                    <a:pt x="69003" y="0"/>
                  </a:lnTo>
                  <a:lnTo>
                    <a:pt x="48274" y="0"/>
                  </a:lnTo>
                  <a:lnTo>
                    <a:pt x="31000" y="10364"/>
                  </a:lnTo>
                  <a:lnTo>
                    <a:pt x="31000" y="27638"/>
                  </a:lnTo>
                  <a:lnTo>
                    <a:pt x="31000" y="38003"/>
                  </a:lnTo>
                  <a:lnTo>
                    <a:pt x="27545" y="44912"/>
                  </a:lnTo>
                  <a:lnTo>
                    <a:pt x="27545" y="65735"/>
                  </a:lnTo>
                  <a:lnTo>
                    <a:pt x="10271" y="83009"/>
                  </a:lnTo>
                  <a:lnTo>
                    <a:pt x="0" y="96828"/>
                  </a:lnTo>
                  <a:lnTo>
                    <a:pt x="10271" y="107192"/>
                  </a:lnTo>
                  <a:lnTo>
                    <a:pt x="17181" y="96828"/>
                  </a:lnTo>
                  <a:lnTo>
                    <a:pt x="24090" y="96828"/>
                  </a:lnTo>
                  <a:lnTo>
                    <a:pt x="44819" y="96828"/>
                  </a:lnTo>
                  <a:lnTo>
                    <a:pt x="41364" y="121012"/>
                  </a:lnTo>
                  <a:lnTo>
                    <a:pt x="69003" y="117557"/>
                  </a:lnTo>
                  <a:lnTo>
                    <a:pt x="89732" y="96828"/>
                  </a:lnTo>
                  <a:lnTo>
                    <a:pt x="100096" y="83009"/>
                  </a:lnTo>
                  <a:lnTo>
                    <a:pt x="103551" y="76099"/>
                  </a:lnTo>
                  <a:lnTo>
                    <a:pt x="110461" y="72644"/>
                  </a:lnTo>
                  <a:lnTo>
                    <a:pt x="117370" y="79554"/>
                  </a:lnTo>
                  <a:lnTo>
                    <a:pt x="131189" y="89918"/>
                  </a:lnTo>
                  <a:lnTo>
                    <a:pt x="144915" y="100283"/>
                  </a:lnTo>
                  <a:lnTo>
                    <a:pt x="155280" y="103738"/>
                  </a:lnTo>
                  <a:close/>
                </a:path>
              </a:pathLst>
            </a:custGeom>
            <a:solidFill>
              <a:srgbClr val="CEE3BF"/>
            </a:solidFill>
            <a:ln w="9334" cap="flat">
              <a:noFill/>
              <a:prstDash val="solid"/>
              <a:miter/>
            </a:ln>
          </p:spPr>
          <p:txBody>
            <a:bodyPr rtlCol="0" anchor="ctr"/>
            <a:lstStyle/>
            <a:p>
              <a:endParaRPr lang="en-GB" dirty="0"/>
            </a:p>
          </p:txBody>
        </p:sp>
        <p:sp>
          <p:nvSpPr>
            <p:cNvPr id="1333" name="Freeform: Shape 1332">
              <a:extLst>
                <a:ext uri="{FF2B5EF4-FFF2-40B4-BE49-F238E27FC236}">
                  <a16:creationId xmlns:a16="http://schemas.microsoft.com/office/drawing/2014/main" id="{76FB0188-82EC-463C-9B15-0D7D1BF633E4}"/>
                </a:ext>
              </a:extLst>
            </p:cNvPr>
            <p:cNvSpPr/>
            <p:nvPr/>
          </p:nvSpPr>
          <p:spPr>
            <a:xfrm>
              <a:off x="3116204" y="2206724"/>
              <a:ext cx="117370" cy="62186"/>
            </a:xfrm>
            <a:custGeom>
              <a:avLst/>
              <a:gdLst>
                <a:gd name="connsiteX0" fmla="*/ 34548 w 117370"/>
                <a:gd name="connsiteY0" fmla="*/ 0 h 62186"/>
                <a:gd name="connsiteX1" fmla="*/ 31093 w 117370"/>
                <a:gd name="connsiteY1" fmla="*/ 17274 h 62186"/>
                <a:gd name="connsiteX2" fmla="*/ 17274 w 117370"/>
                <a:gd name="connsiteY2" fmla="*/ 27639 h 62186"/>
                <a:gd name="connsiteX3" fmla="*/ 0 w 117370"/>
                <a:gd name="connsiteY3" fmla="*/ 41458 h 62186"/>
                <a:gd name="connsiteX4" fmla="*/ 10364 w 117370"/>
                <a:gd name="connsiteY4" fmla="*/ 44913 h 62186"/>
                <a:gd name="connsiteX5" fmla="*/ 31093 w 117370"/>
                <a:gd name="connsiteY5" fmla="*/ 51822 h 62186"/>
                <a:gd name="connsiteX6" fmla="*/ 48367 w 117370"/>
                <a:gd name="connsiteY6" fmla="*/ 58732 h 62186"/>
                <a:gd name="connsiteX7" fmla="*/ 75912 w 117370"/>
                <a:gd name="connsiteY7" fmla="*/ 62187 h 62186"/>
                <a:gd name="connsiteX8" fmla="*/ 96641 w 117370"/>
                <a:gd name="connsiteY8" fmla="*/ 62187 h 62186"/>
                <a:gd name="connsiteX9" fmla="*/ 110461 w 117370"/>
                <a:gd name="connsiteY9" fmla="*/ 58732 h 62186"/>
                <a:gd name="connsiteX10" fmla="*/ 117370 w 117370"/>
                <a:gd name="connsiteY10" fmla="*/ 55277 h 62186"/>
                <a:gd name="connsiteX11" fmla="*/ 113915 w 117370"/>
                <a:gd name="connsiteY11" fmla="*/ 41458 h 62186"/>
                <a:gd name="connsiteX12" fmla="*/ 103551 w 117370"/>
                <a:gd name="connsiteY12" fmla="*/ 31093 h 62186"/>
                <a:gd name="connsiteX13" fmla="*/ 82822 w 117370"/>
                <a:gd name="connsiteY13" fmla="*/ 24184 h 62186"/>
                <a:gd name="connsiteX14" fmla="*/ 65641 w 117370"/>
                <a:gd name="connsiteY14" fmla="*/ 10364 h 62186"/>
                <a:gd name="connsiteX15" fmla="*/ 48367 w 117370"/>
                <a:gd name="connsiteY15" fmla="*/ 3455 h 62186"/>
                <a:gd name="connsiteX16" fmla="*/ 34548 w 117370"/>
                <a:gd name="connsiteY16" fmla="*/ 0 h 6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370" h="62186">
                  <a:moveTo>
                    <a:pt x="34548" y="0"/>
                  </a:moveTo>
                  <a:lnTo>
                    <a:pt x="31093" y="17274"/>
                  </a:lnTo>
                  <a:lnTo>
                    <a:pt x="17274" y="27639"/>
                  </a:lnTo>
                  <a:lnTo>
                    <a:pt x="0" y="41458"/>
                  </a:lnTo>
                  <a:lnTo>
                    <a:pt x="10364" y="44913"/>
                  </a:lnTo>
                  <a:lnTo>
                    <a:pt x="31093" y="51822"/>
                  </a:lnTo>
                  <a:lnTo>
                    <a:pt x="48367" y="58732"/>
                  </a:lnTo>
                  <a:lnTo>
                    <a:pt x="75912" y="62187"/>
                  </a:lnTo>
                  <a:lnTo>
                    <a:pt x="96641" y="62187"/>
                  </a:lnTo>
                  <a:lnTo>
                    <a:pt x="110461" y="58732"/>
                  </a:lnTo>
                  <a:lnTo>
                    <a:pt x="117370" y="55277"/>
                  </a:lnTo>
                  <a:lnTo>
                    <a:pt x="113915" y="41458"/>
                  </a:lnTo>
                  <a:lnTo>
                    <a:pt x="103551" y="31093"/>
                  </a:lnTo>
                  <a:lnTo>
                    <a:pt x="82822" y="24184"/>
                  </a:lnTo>
                  <a:lnTo>
                    <a:pt x="65641" y="10364"/>
                  </a:lnTo>
                  <a:lnTo>
                    <a:pt x="48367" y="3455"/>
                  </a:lnTo>
                  <a:lnTo>
                    <a:pt x="34548" y="0"/>
                  </a:lnTo>
                  <a:close/>
                </a:path>
              </a:pathLst>
            </a:custGeom>
            <a:solidFill>
              <a:srgbClr val="CEE3BF"/>
            </a:solidFill>
            <a:ln w="9334" cap="flat">
              <a:noFill/>
              <a:prstDash val="solid"/>
              <a:miter/>
            </a:ln>
          </p:spPr>
          <p:txBody>
            <a:bodyPr rtlCol="0" anchor="ctr"/>
            <a:lstStyle/>
            <a:p>
              <a:endParaRPr lang="en-GB" dirty="0"/>
            </a:p>
          </p:txBody>
        </p:sp>
        <p:sp>
          <p:nvSpPr>
            <p:cNvPr id="1334" name="Freeform: Shape 1333">
              <a:extLst>
                <a:ext uri="{FF2B5EF4-FFF2-40B4-BE49-F238E27FC236}">
                  <a16:creationId xmlns:a16="http://schemas.microsoft.com/office/drawing/2014/main" id="{7A16E0C0-6830-4DCD-85A0-E26802EEDBF0}"/>
                </a:ext>
              </a:extLst>
            </p:cNvPr>
            <p:cNvSpPr/>
            <p:nvPr/>
          </p:nvSpPr>
          <p:spPr>
            <a:xfrm>
              <a:off x="3375128" y="2002797"/>
              <a:ext cx="794045" cy="566868"/>
            </a:xfrm>
            <a:custGeom>
              <a:avLst/>
              <a:gdLst>
                <a:gd name="connsiteX0" fmla="*/ 510938 w 794045"/>
                <a:gd name="connsiteY0" fmla="*/ 131283 h 566868"/>
                <a:gd name="connsiteX1" fmla="*/ 500574 w 794045"/>
                <a:gd name="connsiteY1" fmla="*/ 120918 h 566868"/>
                <a:gd name="connsiteX2" fmla="*/ 483393 w 794045"/>
                <a:gd name="connsiteY2" fmla="*/ 117464 h 566868"/>
                <a:gd name="connsiteX3" fmla="*/ 455755 w 794045"/>
                <a:gd name="connsiteY3" fmla="*/ 127828 h 566868"/>
                <a:gd name="connsiteX4" fmla="*/ 438481 w 794045"/>
                <a:gd name="connsiteY4" fmla="*/ 127828 h 566868"/>
                <a:gd name="connsiteX5" fmla="*/ 448845 w 794045"/>
                <a:gd name="connsiteY5" fmla="*/ 114009 h 566868"/>
                <a:gd name="connsiteX6" fmla="*/ 445390 w 794045"/>
                <a:gd name="connsiteY6" fmla="*/ 100189 h 566868"/>
                <a:gd name="connsiteX7" fmla="*/ 424661 w 794045"/>
                <a:gd name="connsiteY7" fmla="*/ 114009 h 566868"/>
                <a:gd name="connsiteX8" fmla="*/ 410842 w 794045"/>
                <a:gd name="connsiteY8" fmla="*/ 117464 h 566868"/>
                <a:gd name="connsiteX9" fmla="*/ 421207 w 794045"/>
                <a:gd name="connsiteY9" fmla="*/ 103644 h 566868"/>
                <a:gd name="connsiteX10" fmla="*/ 431571 w 794045"/>
                <a:gd name="connsiteY10" fmla="*/ 93280 h 566868"/>
                <a:gd name="connsiteX11" fmla="*/ 414297 w 794045"/>
                <a:gd name="connsiteY11" fmla="*/ 89825 h 566868"/>
                <a:gd name="connsiteX12" fmla="*/ 390113 w 794045"/>
                <a:gd name="connsiteY12" fmla="*/ 100189 h 566868"/>
                <a:gd name="connsiteX13" fmla="*/ 393568 w 794045"/>
                <a:gd name="connsiteY13" fmla="*/ 86370 h 566868"/>
                <a:gd name="connsiteX14" fmla="*/ 410842 w 794045"/>
                <a:gd name="connsiteY14" fmla="*/ 76006 h 566868"/>
                <a:gd name="connsiteX15" fmla="*/ 397023 w 794045"/>
                <a:gd name="connsiteY15" fmla="*/ 69096 h 566868"/>
                <a:gd name="connsiteX16" fmla="*/ 369385 w 794045"/>
                <a:gd name="connsiteY16" fmla="*/ 58732 h 566868"/>
                <a:gd name="connsiteX17" fmla="*/ 341839 w 794045"/>
                <a:gd name="connsiteY17" fmla="*/ 58732 h 566868"/>
                <a:gd name="connsiteX18" fmla="*/ 317656 w 794045"/>
                <a:gd name="connsiteY18" fmla="*/ 62187 h 566868"/>
                <a:gd name="connsiteX19" fmla="*/ 310746 w 794045"/>
                <a:gd name="connsiteY19" fmla="*/ 86370 h 566868"/>
                <a:gd name="connsiteX20" fmla="*/ 290017 w 794045"/>
                <a:gd name="connsiteY20" fmla="*/ 72551 h 566868"/>
                <a:gd name="connsiteX21" fmla="*/ 272743 w 794045"/>
                <a:gd name="connsiteY21" fmla="*/ 72551 h 566868"/>
                <a:gd name="connsiteX22" fmla="*/ 265834 w 794045"/>
                <a:gd name="connsiteY22" fmla="*/ 89825 h 566868"/>
                <a:gd name="connsiteX23" fmla="*/ 248559 w 794045"/>
                <a:gd name="connsiteY23" fmla="*/ 89825 h 566868"/>
                <a:gd name="connsiteX24" fmla="*/ 248559 w 794045"/>
                <a:gd name="connsiteY24" fmla="*/ 72551 h 566868"/>
                <a:gd name="connsiteX25" fmla="*/ 255469 w 794045"/>
                <a:gd name="connsiteY25" fmla="*/ 65641 h 566868"/>
                <a:gd name="connsiteX26" fmla="*/ 255469 w 794045"/>
                <a:gd name="connsiteY26" fmla="*/ 51822 h 566868"/>
                <a:gd name="connsiteX27" fmla="*/ 252014 w 794045"/>
                <a:gd name="connsiteY27" fmla="*/ 38003 h 566868"/>
                <a:gd name="connsiteX28" fmla="*/ 241650 w 794045"/>
                <a:gd name="connsiteY28" fmla="*/ 24184 h 566868"/>
                <a:gd name="connsiteX29" fmla="*/ 231285 w 794045"/>
                <a:gd name="connsiteY29" fmla="*/ 10364 h 566868"/>
                <a:gd name="connsiteX30" fmla="*/ 210650 w 794045"/>
                <a:gd name="connsiteY30" fmla="*/ 3455 h 566868"/>
                <a:gd name="connsiteX31" fmla="*/ 186466 w 794045"/>
                <a:gd name="connsiteY31" fmla="*/ 6910 h 566868"/>
                <a:gd name="connsiteX32" fmla="*/ 145009 w 794045"/>
                <a:gd name="connsiteY32" fmla="*/ 27638 h 566868"/>
                <a:gd name="connsiteX33" fmla="*/ 124280 w 794045"/>
                <a:gd name="connsiteY33" fmla="*/ 44912 h 566868"/>
                <a:gd name="connsiteX34" fmla="*/ 120825 w 794045"/>
                <a:gd name="connsiteY34" fmla="*/ 65641 h 566868"/>
                <a:gd name="connsiteX35" fmla="*/ 134644 w 794045"/>
                <a:gd name="connsiteY35" fmla="*/ 79461 h 566868"/>
                <a:gd name="connsiteX36" fmla="*/ 113915 w 794045"/>
                <a:gd name="connsiteY36" fmla="*/ 86370 h 566868"/>
                <a:gd name="connsiteX37" fmla="*/ 131189 w 794045"/>
                <a:gd name="connsiteY37" fmla="*/ 110554 h 566868"/>
                <a:gd name="connsiteX38" fmla="*/ 141554 w 794045"/>
                <a:gd name="connsiteY38" fmla="*/ 124373 h 566868"/>
                <a:gd name="connsiteX39" fmla="*/ 117370 w 794045"/>
                <a:gd name="connsiteY39" fmla="*/ 131283 h 566868"/>
                <a:gd name="connsiteX40" fmla="*/ 93186 w 794045"/>
                <a:gd name="connsiteY40" fmla="*/ 86370 h 566868"/>
                <a:gd name="connsiteX41" fmla="*/ 93186 w 794045"/>
                <a:gd name="connsiteY41" fmla="*/ 69096 h 566868"/>
                <a:gd name="connsiteX42" fmla="*/ 93186 w 794045"/>
                <a:gd name="connsiteY42" fmla="*/ 48367 h 566868"/>
                <a:gd name="connsiteX43" fmla="*/ 110461 w 794045"/>
                <a:gd name="connsiteY43" fmla="*/ 20729 h 566868"/>
                <a:gd name="connsiteX44" fmla="*/ 131189 w 794045"/>
                <a:gd name="connsiteY44" fmla="*/ 13819 h 566868"/>
                <a:gd name="connsiteX45" fmla="*/ 141554 w 794045"/>
                <a:gd name="connsiteY45" fmla="*/ 3455 h 566868"/>
                <a:gd name="connsiteX46" fmla="*/ 89732 w 794045"/>
                <a:gd name="connsiteY46" fmla="*/ 0 h 566868"/>
                <a:gd name="connsiteX47" fmla="*/ 65641 w 794045"/>
                <a:gd name="connsiteY47" fmla="*/ 3455 h 566868"/>
                <a:gd name="connsiteX48" fmla="*/ 34548 w 794045"/>
                <a:gd name="connsiteY48" fmla="*/ 24184 h 566868"/>
                <a:gd name="connsiteX49" fmla="*/ 13819 w 794045"/>
                <a:gd name="connsiteY49" fmla="*/ 51822 h 566868"/>
                <a:gd name="connsiteX50" fmla="*/ 0 w 794045"/>
                <a:gd name="connsiteY50" fmla="*/ 86370 h 566868"/>
                <a:gd name="connsiteX51" fmla="*/ 0 w 794045"/>
                <a:gd name="connsiteY51" fmla="*/ 124373 h 566868"/>
                <a:gd name="connsiteX52" fmla="*/ 27639 w 794045"/>
                <a:gd name="connsiteY52" fmla="*/ 134831 h 566868"/>
                <a:gd name="connsiteX53" fmla="*/ 55277 w 794045"/>
                <a:gd name="connsiteY53" fmla="*/ 131283 h 566868"/>
                <a:gd name="connsiteX54" fmla="*/ 65641 w 794045"/>
                <a:gd name="connsiteY54" fmla="*/ 141741 h 566868"/>
                <a:gd name="connsiteX55" fmla="*/ 55277 w 794045"/>
                <a:gd name="connsiteY55" fmla="*/ 148650 h 566868"/>
                <a:gd name="connsiteX56" fmla="*/ 27639 w 794045"/>
                <a:gd name="connsiteY56" fmla="*/ 145195 h 566868"/>
                <a:gd name="connsiteX57" fmla="*/ 13819 w 794045"/>
                <a:gd name="connsiteY57" fmla="*/ 145195 h 566868"/>
                <a:gd name="connsiteX58" fmla="*/ 13819 w 794045"/>
                <a:gd name="connsiteY58" fmla="*/ 162469 h 566868"/>
                <a:gd name="connsiteX59" fmla="*/ 34548 w 794045"/>
                <a:gd name="connsiteY59" fmla="*/ 176289 h 566868"/>
                <a:gd name="connsiteX60" fmla="*/ 55277 w 794045"/>
                <a:gd name="connsiteY60" fmla="*/ 183198 h 566868"/>
                <a:gd name="connsiteX61" fmla="*/ 69096 w 794045"/>
                <a:gd name="connsiteY61" fmla="*/ 172834 h 566868"/>
                <a:gd name="connsiteX62" fmla="*/ 82822 w 794045"/>
                <a:gd name="connsiteY62" fmla="*/ 179743 h 566868"/>
                <a:gd name="connsiteX63" fmla="*/ 96641 w 794045"/>
                <a:gd name="connsiteY63" fmla="*/ 190108 h 566868"/>
                <a:gd name="connsiteX64" fmla="*/ 127735 w 794045"/>
                <a:gd name="connsiteY64" fmla="*/ 190108 h 566868"/>
                <a:gd name="connsiteX65" fmla="*/ 155373 w 794045"/>
                <a:gd name="connsiteY65" fmla="*/ 197017 h 566868"/>
                <a:gd name="connsiteX66" fmla="*/ 203740 w 794045"/>
                <a:gd name="connsiteY66" fmla="*/ 203927 h 566868"/>
                <a:gd name="connsiteX67" fmla="*/ 224376 w 794045"/>
                <a:gd name="connsiteY67" fmla="*/ 200472 h 566868"/>
                <a:gd name="connsiteX68" fmla="*/ 234740 w 794045"/>
                <a:gd name="connsiteY68" fmla="*/ 190108 h 566868"/>
                <a:gd name="connsiteX69" fmla="*/ 272743 w 794045"/>
                <a:gd name="connsiteY69" fmla="*/ 200472 h 566868"/>
                <a:gd name="connsiteX70" fmla="*/ 296927 w 794045"/>
                <a:gd name="connsiteY70" fmla="*/ 200472 h 566868"/>
                <a:gd name="connsiteX71" fmla="*/ 307291 w 794045"/>
                <a:gd name="connsiteY71" fmla="*/ 193563 h 566868"/>
                <a:gd name="connsiteX72" fmla="*/ 303836 w 794045"/>
                <a:gd name="connsiteY72" fmla="*/ 183198 h 566868"/>
                <a:gd name="connsiteX73" fmla="*/ 296927 w 794045"/>
                <a:gd name="connsiteY73" fmla="*/ 172834 h 566868"/>
                <a:gd name="connsiteX74" fmla="*/ 307291 w 794045"/>
                <a:gd name="connsiteY74" fmla="*/ 169379 h 566868"/>
                <a:gd name="connsiteX75" fmla="*/ 321110 w 794045"/>
                <a:gd name="connsiteY75" fmla="*/ 183198 h 566868"/>
                <a:gd name="connsiteX76" fmla="*/ 328020 w 794045"/>
                <a:gd name="connsiteY76" fmla="*/ 193563 h 566868"/>
                <a:gd name="connsiteX77" fmla="*/ 338385 w 794045"/>
                <a:gd name="connsiteY77" fmla="*/ 207382 h 566868"/>
                <a:gd name="connsiteX78" fmla="*/ 348749 w 794045"/>
                <a:gd name="connsiteY78" fmla="*/ 197017 h 566868"/>
                <a:gd name="connsiteX79" fmla="*/ 365929 w 794045"/>
                <a:gd name="connsiteY79" fmla="*/ 214291 h 566868"/>
                <a:gd name="connsiteX80" fmla="*/ 376294 w 794045"/>
                <a:gd name="connsiteY80" fmla="*/ 221201 h 566868"/>
                <a:gd name="connsiteX81" fmla="*/ 383204 w 794045"/>
                <a:gd name="connsiteY81" fmla="*/ 231566 h 566868"/>
                <a:gd name="connsiteX82" fmla="*/ 362475 w 794045"/>
                <a:gd name="connsiteY82" fmla="*/ 245385 h 566868"/>
                <a:gd name="connsiteX83" fmla="*/ 376294 w 794045"/>
                <a:gd name="connsiteY83" fmla="*/ 259204 h 566868"/>
                <a:gd name="connsiteX84" fmla="*/ 393568 w 794045"/>
                <a:gd name="connsiteY84" fmla="*/ 245385 h 566868"/>
                <a:gd name="connsiteX85" fmla="*/ 414297 w 794045"/>
                <a:gd name="connsiteY85" fmla="*/ 245385 h 566868"/>
                <a:gd name="connsiteX86" fmla="*/ 414297 w 794045"/>
                <a:gd name="connsiteY86" fmla="*/ 255749 h 566868"/>
                <a:gd name="connsiteX87" fmla="*/ 424661 w 794045"/>
                <a:gd name="connsiteY87" fmla="*/ 269568 h 566868"/>
                <a:gd name="connsiteX88" fmla="*/ 438481 w 794045"/>
                <a:gd name="connsiteY88" fmla="*/ 262659 h 566868"/>
                <a:gd name="connsiteX89" fmla="*/ 441935 w 794045"/>
                <a:gd name="connsiteY89" fmla="*/ 276478 h 566868"/>
                <a:gd name="connsiteX90" fmla="*/ 455755 w 794045"/>
                <a:gd name="connsiteY90" fmla="*/ 276478 h 566868"/>
                <a:gd name="connsiteX91" fmla="*/ 469574 w 794045"/>
                <a:gd name="connsiteY91" fmla="*/ 297300 h 566868"/>
                <a:gd name="connsiteX92" fmla="*/ 483393 w 794045"/>
                <a:gd name="connsiteY92" fmla="*/ 328394 h 566868"/>
                <a:gd name="connsiteX93" fmla="*/ 462664 w 794045"/>
                <a:gd name="connsiteY93" fmla="*/ 349122 h 566868"/>
                <a:gd name="connsiteX94" fmla="*/ 438481 w 794045"/>
                <a:gd name="connsiteY94" fmla="*/ 362942 h 566868"/>
                <a:gd name="connsiteX95" fmla="*/ 424661 w 794045"/>
                <a:gd name="connsiteY95" fmla="*/ 383670 h 566868"/>
                <a:gd name="connsiteX96" fmla="*/ 438481 w 794045"/>
                <a:gd name="connsiteY96" fmla="*/ 394035 h 566868"/>
                <a:gd name="connsiteX97" fmla="*/ 445390 w 794045"/>
                <a:gd name="connsiteY97" fmla="*/ 400945 h 566868"/>
                <a:gd name="connsiteX98" fmla="*/ 424661 w 794045"/>
                <a:gd name="connsiteY98" fmla="*/ 407854 h 566868"/>
                <a:gd name="connsiteX99" fmla="*/ 410842 w 794045"/>
                <a:gd name="connsiteY99" fmla="*/ 414764 h 566868"/>
                <a:gd name="connsiteX100" fmla="*/ 400478 w 794045"/>
                <a:gd name="connsiteY100" fmla="*/ 425128 h 566868"/>
                <a:gd name="connsiteX101" fmla="*/ 390113 w 794045"/>
                <a:gd name="connsiteY101" fmla="*/ 418219 h 566868"/>
                <a:gd name="connsiteX102" fmla="*/ 369385 w 794045"/>
                <a:gd name="connsiteY102" fmla="*/ 411309 h 566868"/>
                <a:gd name="connsiteX103" fmla="*/ 348749 w 794045"/>
                <a:gd name="connsiteY103" fmla="*/ 407854 h 566868"/>
                <a:gd name="connsiteX104" fmla="*/ 324565 w 794045"/>
                <a:gd name="connsiteY104" fmla="*/ 425128 h 566868"/>
                <a:gd name="connsiteX105" fmla="*/ 321110 w 794045"/>
                <a:gd name="connsiteY105" fmla="*/ 445857 h 566868"/>
                <a:gd name="connsiteX106" fmla="*/ 334930 w 794045"/>
                <a:gd name="connsiteY106" fmla="*/ 463224 h 566868"/>
                <a:gd name="connsiteX107" fmla="*/ 359020 w 794045"/>
                <a:gd name="connsiteY107" fmla="*/ 466679 h 566868"/>
                <a:gd name="connsiteX108" fmla="*/ 376294 w 794045"/>
                <a:gd name="connsiteY108" fmla="*/ 459770 h 566868"/>
                <a:gd name="connsiteX109" fmla="*/ 386658 w 794045"/>
                <a:gd name="connsiteY109" fmla="*/ 452767 h 566868"/>
                <a:gd name="connsiteX110" fmla="*/ 407387 w 794045"/>
                <a:gd name="connsiteY110" fmla="*/ 452767 h 566868"/>
                <a:gd name="connsiteX111" fmla="*/ 410842 w 794045"/>
                <a:gd name="connsiteY111" fmla="*/ 449312 h 566868"/>
                <a:gd name="connsiteX112" fmla="*/ 410842 w 794045"/>
                <a:gd name="connsiteY112" fmla="*/ 445857 h 566868"/>
                <a:gd name="connsiteX113" fmla="*/ 410842 w 794045"/>
                <a:gd name="connsiteY113" fmla="*/ 432038 h 566868"/>
                <a:gd name="connsiteX114" fmla="*/ 421207 w 794045"/>
                <a:gd name="connsiteY114" fmla="*/ 438947 h 566868"/>
                <a:gd name="connsiteX115" fmla="*/ 441935 w 794045"/>
                <a:gd name="connsiteY115" fmla="*/ 445857 h 566868"/>
                <a:gd name="connsiteX116" fmla="*/ 452300 w 794045"/>
                <a:gd name="connsiteY116" fmla="*/ 456315 h 566868"/>
                <a:gd name="connsiteX117" fmla="*/ 469574 w 794045"/>
                <a:gd name="connsiteY117" fmla="*/ 473589 h 566868"/>
                <a:gd name="connsiteX118" fmla="*/ 483393 w 794045"/>
                <a:gd name="connsiteY118" fmla="*/ 487408 h 566868"/>
                <a:gd name="connsiteX119" fmla="*/ 497119 w 794045"/>
                <a:gd name="connsiteY119" fmla="*/ 483953 h 566868"/>
                <a:gd name="connsiteX120" fmla="*/ 507483 w 794045"/>
                <a:gd name="connsiteY120" fmla="*/ 494318 h 566868"/>
                <a:gd name="connsiteX121" fmla="*/ 500574 w 794045"/>
                <a:gd name="connsiteY121" fmla="*/ 501227 h 566868"/>
                <a:gd name="connsiteX122" fmla="*/ 510938 w 794045"/>
                <a:gd name="connsiteY122" fmla="*/ 515047 h 566868"/>
                <a:gd name="connsiteX123" fmla="*/ 535122 w 794045"/>
                <a:gd name="connsiteY123" fmla="*/ 542685 h 566868"/>
                <a:gd name="connsiteX124" fmla="*/ 538577 w 794045"/>
                <a:gd name="connsiteY124" fmla="*/ 525411 h 566868"/>
                <a:gd name="connsiteX125" fmla="*/ 552396 w 794045"/>
                <a:gd name="connsiteY125" fmla="*/ 525411 h 566868"/>
                <a:gd name="connsiteX126" fmla="*/ 576580 w 794045"/>
                <a:gd name="connsiteY126" fmla="*/ 542685 h 566868"/>
                <a:gd name="connsiteX127" fmla="*/ 611034 w 794045"/>
                <a:gd name="connsiteY127" fmla="*/ 556504 h 566868"/>
                <a:gd name="connsiteX128" fmla="*/ 652492 w 794045"/>
                <a:gd name="connsiteY128" fmla="*/ 566869 h 566868"/>
                <a:gd name="connsiteX129" fmla="*/ 645582 w 794045"/>
                <a:gd name="connsiteY129" fmla="*/ 553050 h 566868"/>
                <a:gd name="connsiteX130" fmla="*/ 638673 w 794045"/>
                <a:gd name="connsiteY130" fmla="*/ 539230 h 566868"/>
                <a:gd name="connsiteX131" fmla="*/ 631763 w 794045"/>
                <a:gd name="connsiteY131" fmla="*/ 528866 h 566868"/>
                <a:gd name="connsiteX132" fmla="*/ 600763 w 794045"/>
                <a:gd name="connsiteY132" fmla="*/ 504682 h 566868"/>
                <a:gd name="connsiteX133" fmla="*/ 583489 w 794045"/>
                <a:gd name="connsiteY133" fmla="*/ 487408 h 566868"/>
                <a:gd name="connsiteX134" fmla="*/ 593854 w 794045"/>
                <a:gd name="connsiteY134" fmla="*/ 480498 h 566868"/>
                <a:gd name="connsiteX135" fmla="*/ 614582 w 794045"/>
                <a:gd name="connsiteY135" fmla="*/ 501227 h 566868"/>
                <a:gd name="connsiteX136" fmla="*/ 652492 w 794045"/>
                <a:gd name="connsiteY136" fmla="*/ 521956 h 566868"/>
                <a:gd name="connsiteX137" fmla="*/ 680131 w 794045"/>
                <a:gd name="connsiteY137" fmla="*/ 535775 h 566868"/>
                <a:gd name="connsiteX138" fmla="*/ 690495 w 794045"/>
                <a:gd name="connsiteY138" fmla="*/ 525411 h 566868"/>
                <a:gd name="connsiteX139" fmla="*/ 680131 w 794045"/>
                <a:gd name="connsiteY139" fmla="*/ 501227 h 566868"/>
                <a:gd name="connsiteX140" fmla="*/ 683585 w 794045"/>
                <a:gd name="connsiteY140" fmla="*/ 497773 h 566868"/>
                <a:gd name="connsiteX141" fmla="*/ 690495 w 794045"/>
                <a:gd name="connsiteY141" fmla="*/ 497773 h 566868"/>
                <a:gd name="connsiteX142" fmla="*/ 700859 w 794045"/>
                <a:gd name="connsiteY142" fmla="*/ 501227 h 566868"/>
                <a:gd name="connsiteX143" fmla="*/ 704314 w 794045"/>
                <a:gd name="connsiteY143" fmla="*/ 490863 h 566868"/>
                <a:gd name="connsiteX144" fmla="*/ 680131 w 794045"/>
                <a:gd name="connsiteY144" fmla="*/ 466679 h 566868"/>
                <a:gd name="connsiteX145" fmla="*/ 649037 w 794045"/>
                <a:gd name="connsiteY145" fmla="*/ 442402 h 566868"/>
                <a:gd name="connsiteX146" fmla="*/ 628308 w 794045"/>
                <a:gd name="connsiteY146" fmla="*/ 421673 h 566868"/>
                <a:gd name="connsiteX147" fmla="*/ 618037 w 794045"/>
                <a:gd name="connsiteY147" fmla="*/ 397490 h 566868"/>
                <a:gd name="connsiteX148" fmla="*/ 621399 w 794045"/>
                <a:gd name="connsiteY148" fmla="*/ 383670 h 566868"/>
                <a:gd name="connsiteX149" fmla="*/ 614582 w 794045"/>
                <a:gd name="connsiteY149" fmla="*/ 366396 h 566868"/>
                <a:gd name="connsiteX150" fmla="*/ 628308 w 794045"/>
                <a:gd name="connsiteY150" fmla="*/ 359487 h 566868"/>
                <a:gd name="connsiteX151" fmla="*/ 666311 w 794045"/>
                <a:gd name="connsiteY151" fmla="*/ 383670 h 566868"/>
                <a:gd name="connsiteX152" fmla="*/ 673221 w 794045"/>
                <a:gd name="connsiteY152" fmla="*/ 397490 h 566868"/>
                <a:gd name="connsiteX153" fmla="*/ 687040 w 794045"/>
                <a:gd name="connsiteY153" fmla="*/ 414764 h 566868"/>
                <a:gd name="connsiteX154" fmla="*/ 714678 w 794045"/>
                <a:gd name="connsiteY154" fmla="*/ 428583 h 566868"/>
                <a:gd name="connsiteX155" fmla="*/ 725043 w 794045"/>
                <a:gd name="connsiteY155" fmla="*/ 414764 h 566868"/>
                <a:gd name="connsiteX156" fmla="*/ 725043 w 794045"/>
                <a:gd name="connsiteY156" fmla="*/ 400945 h 566868"/>
                <a:gd name="connsiteX157" fmla="*/ 742317 w 794045"/>
                <a:gd name="connsiteY157" fmla="*/ 400945 h 566868"/>
                <a:gd name="connsiteX158" fmla="*/ 752681 w 794045"/>
                <a:gd name="connsiteY158" fmla="*/ 390580 h 566868"/>
                <a:gd name="connsiteX159" fmla="*/ 749133 w 794045"/>
                <a:gd name="connsiteY159" fmla="*/ 373306 h 566868"/>
                <a:gd name="connsiteX160" fmla="*/ 766407 w 794045"/>
                <a:gd name="connsiteY160" fmla="*/ 373306 h 566868"/>
                <a:gd name="connsiteX161" fmla="*/ 790591 w 794045"/>
                <a:gd name="connsiteY161" fmla="*/ 369851 h 566868"/>
                <a:gd name="connsiteX162" fmla="*/ 794046 w 794045"/>
                <a:gd name="connsiteY162" fmla="*/ 366396 h 566868"/>
                <a:gd name="connsiteX163" fmla="*/ 794046 w 794045"/>
                <a:gd name="connsiteY163" fmla="*/ 359487 h 566868"/>
                <a:gd name="connsiteX164" fmla="*/ 794046 w 794045"/>
                <a:gd name="connsiteY164" fmla="*/ 352577 h 566868"/>
                <a:gd name="connsiteX165" fmla="*/ 776772 w 794045"/>
                <a:gd name="connsiteY165" fmla="*/ 338758 h 566868"/>
                <a:gd name="connsiteX166" fmla="*/ 756043 w 794045"/>
                <a:gd name="connsiteY166" fmla="*/ 335303 h 566868"/>
                <a:gd name="connsiteX167" fmla="*/ 749133 w 794045"/>
                <a:gd name="connsiteY167" fmla="*/ 328394 h 566868"/>
                <a:gd name="connsiteX168" fmla="*/ 731953 w 794045"/>
                <a:gd name="connsiteY168" fmla="*/ 314574 h 566868"/>
                <a:gd name="connsiteX169" fmla="*/ 718133 w 794045"/>
                <a:gd name="connsiteY169" fmla="*/ 311120 h 566868"/>
                <a:gd name="connsiteX170" fmla="*/ 700859 w 794045"/>
                <a:gd name="connsiteY170" fmla="*/ 311120 h 566868"/>
                <a:gd name="connsiteX171" fmla="*/ 697404 w 794045"/>
                <a:gd name="connsiteY171" fmla="*/ 300755 h 566868"/>
                <a:gd name="connsiteX172" fmla="*/ 687040 w 794045"/>
                <a:gd name="connsiteY172" fmla="*/ 293752 h 566868"/>
                <a:gd name="connsiteX173" fmla="*/ 669766 w 794045"/>
                <a:gd name="connsiteY173" fmla="*/ 290297 h 566868"/>
                <a:gd name="connsiteX174" fmla="*/ 659402 w 794045"/>
                <a:gd name="connsiteY174" fmla="*/ 286842 h 566868"/>
                <a:gd name="connsiteX175" fmla="*/ 659402 w 794045"/>
                <a:gd name="connsiteY175" fmla="*/ 276478 h 566868"/>
                <a:gd name="connsiteX176" fmla="*/ 638673 w 794045"/>
                <a:gd name="connsiteY176" fmla="*/ 266114 h 566868"/>
                <a:gd name="connsiteX177" fmla="*/ 624853 w 794045"/>
                <a:gd name="connsiteY177" fmla="*/ 269568 h 566868"/>
                <a:gd name="connsiteX178" fmla="*/ 611034 w 794045"/>
                <a:gd name="connsiteY178" fmla="*/ 269568 h 566868"/>
                <a:gd name="connsiteX179" fmla="*/ 597308 w 794045"/>
                <a:gd name="connsiteY179" fmla="*/ 259204 h 566868"/>
                <a:gd name="connsiteX180" fmla="*/ 590399 w 794045"/>
                <a:gd name="connsiteY180" fmla="*/ 248840 h 566868"/>
                <a:gd name="connsiteX181" fmla="*/ 590399 w 794045"/>
                <a:gd name="connsiteY181" fmla="*/ 241930 h 566868"/>
                <a:gd name="connsiteX182" fmla="*/ 593854 w 794045"/>
                <a:gd name="connsiteY182" fmla="*/ 238475 h 566868"/>
                <a:gd name="connsiteX183" fmla="*/ 597308 w 794045"/>
                <a:gd name="connsiteY183" fmla="*/ 235020 h 566868"/>
                <a:gd name="connsiteX184" fmla="*/ 624853 w 794045"/>
                <a:gd name="connsiteY184" fmla="*/ 238475 h 566868"/>
                <a:gd name="connsiteX185" fmla="*/ 635218 w 794045"/>
                <a:gd name="connsiteY185" fmla="*/ 238475 h 566868"/>
                <a:gd name="connsiteX186" fmla="*/ 638673 w 794045"/>
                <a:gd name="connsiteY186" fmla="*/ 238475 h 566868"/>
                <a:gd name="connsiteX187" fmla="*/ 635218 w 794045"/>
                <a:gd name="connsiteY187" fmla="*/ 231566 h 566868"/>
                <a:gd name="connsiteX188" fmla="*/ 624853 w 794045"/>
                <a:gd name="connsiteY188" fmla="*/ 221201 h 566868"/>
                <a:gd name="connsiteX189" fmla="*/ 607673 w 794045"/>
                <a:gd name="connsiteY189" fmla="*/ 221201 h 566868"/>
                <a:gd name="connsiteX190" fmla="*/ 590399 w 794045"/>
                <a:gd name="connsiteY190" fmla="*/ 221201 h 566868"/>
                <a:gd name="connsiteX191" fmla="*/ 590399 w 794045"/>
                <a:gd name="connsiteY191" fmla="*/ 210837 h 566868"/>
                <a:gd name="connsiteX192" fmla="*/ 600763 w 794045"/>
                <a:gd name="connsiteY192" fmla="*/ 210837 h 566868"/>
                <a:gd name="connsiteX193" fmla="*/ 611034 w 794045"/>
                <a:gd name="connsiteY193" fmla="*/ 210837 h 566868"/>
                <a:gd name="connsiteX194" fmla="*/ 624853 w 794045"/>
                <a:gd name="connsiteY194" fmla="*/ 210837 h 566868"/>
                <a:gd name="connsiteX195" fmla="*/ 621399 w 794045"/>
                <a:gd name="connsiteY195" fmla="*/ 200472 h 566868"/>
                <a:gd name="connsiteX196" fmla="*/ 614582 w 794045"/>
                <a:gd name="connsiteY196" fmla="*/ 190108 h 566868"/>
                <a:gd name="connsiteX197" fmla="*/ 604218 w 794045"/>
                <a:gd name="connsiteY197" fmla="*/ 186653 h 566868"/>
                <a:gd name="connsiteX198" fmla="*/ 573125 w 794045"/>
                <a:gd name="connsiteY198" fmla="*/ 193563 h 566868"/>
                <a:gd name="connsiteX199" fmla="*/ 559306 w 794045"/>
                <a:gd name="connsiteY199" fmla="*/ 186653 h 566868"/>
                <a:gd name="connsiteX200" fmla="*/ 576580 w 794045"/>
                <a:gd name="connsiteY200" fmla="*/ 179743 h 566868"/>
                <a:gd name="connsiteX201" fmla="*/ 590399 w 794045"/>
                <a:gd name="connsiteY201" fmla="*/ 172834 h 566868"/>
                <a:gd name="connsiteX202" fmla="*/ 590399 w 794045"/>
                <a:gd name="connsiteY202" fmla="*/ 165924 h 566868"/>
                <a:gd name="connsiteX203" fmla="*/ 573125 w 794045"/>
                <a:gd name="connsiteY203" fmla="*/ 159015 h 566868"/>
                <a:gd name="connsiteX204" fmla="*/ 552396 w 794045"/>
                <a:gd name="connsiteY204" fmla="*/ 159015 h 566868"/>
                <a:gd name="connsiteX205" fmla="*/ 524757 w 794045"/>
                <a:gd name="connsiteY205" fmla="*/ 169379 h 566868"/>
                <a:gd name="connsiteX206" fmla="*/ 514393 w 794045"/>
                <a:gd name="connsiteY206" fmla="*/ 169379 h 566868"/>
                <a:gd name="connsiteX207" fmla="*/ 528212 w 794045"/>
                <a:gd name="connsiteY207" fmla="*/ 155560 h 566868"/>
                <a:gd name="connsiteX208" fmla="*/ 528212 w 794045"/>
                <a:gd name="connsiteY208" fmla="*/ 145195 h 566868"/>
                <a:gd name="connsiteX209" fmla="*/ 517848 w 794045"/>
                <a:gd name="connsiteY209" fmla="*/ 148650 h 566868"/>
                <a:gd name="connsiteX210" fmla="*/ 500574 w 794045"/>
                <a:gd name="connsiteY210" fmla="*/ 155560 h 566868"/>
                <a:gd name="connsiteX211" fmla="*/ 490209 w 794045"/>
                <a:gd name="connsiteY211" fmla="*/ 148650 h 566868"/>
                <a:gd name="connsiteX212" fmla="*/ 504029 w 794045"/>
                <a:gd name="connsiteY212" fmla="*/ 138286 h 566868"/>
                <a:gd name="connsiteX213" fmla="*/ 510938 w 794045"/>
                <a:gd name="connsiteY213" fmla="*/ 131283 h 56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794045" h="566868">
                  <a:moveTo>
                    <a:pt x="510938" y="131283"/>
                  </a:moveTo>
                  <a:lnTo>
                    <a:pt x="500574" y="120918"/>
                  </a:lnTo>
                  <a:lnTo>
                    <a:pt x="483393" y="117464"/>
                  </a:lnTo>
                  <a:lnTo>
                    <a:pt x="455755" y="127828"/>
                  </a:lnTo>
                  <a:lnTo>
                    <a:pt x="438481" y="127828"/>
                  </a:lnTo>
                  <a:lnTo>
                    <a:pt x="448845" y="114009"/>
                  </a:lnTo>
                  <a:lnTo>
                    <a:pt x="445390" y="100189"/>
                  </a:lnTo>
                  <a:lnTo>
                    <a:pt x="424661" y="114009"/>
                  </a:lnTo>
                  <a:lnTo>
                    <a:pt x="410842" y="117464"/>
                  </a:lnTo>
                  <a:lnTo>
                    <a:pt x="421207" y="103644"/>
                  </a:lnTo>
                  <a:lnTo>
                    <a:pt x="431571" y="93280"/>
                  </a:lnTo>
                  <a:lnTo>
                    <a:pt x="414297" y="89825"/>
                  </a:lnTo>
                  <a:lnTo>
                    <a:pt x="390113" y="100189"/>
                  </a:lnTo>
                  <a:lnTo>
                    <a:pt x="393568" y="86370"/>
                  </a:lnTo>
                  <a:lnTo>
                    <a:pt x="410842" y="76006"/>
                  </a:lnTo>
                  <a:lnTo>
                    <a:pt x="397023" y="69096"/>
                  </a:lnTo>
                  <a:lnTo>
                    <a:pt x="369385" y="58732"/>
                  </a:lnTo>
                  <a:lnTo>
                    <a:pt x="341839" y="58732"/>
                  </a:lnTo>
                  <a:lnTo>
                    <a:pt x="317656" y="62187"/>
                  </a:lnTo>
                  <a:lnTo>
                    <a:pt x="310746" y="86370"/>
                  </a:lnTo>
                  <a:lnTo>
                    <a:pt x="290017" y="72551"/>
                  </a:lnTo>
                  <a:lnTo>
                    <a:pt x="272743" y="72551"/>
                  </a:lnTo>
                  <a:lnTo>
                    <a:pt x="265834" y="89825"/>
                  </a:lnTo>
                  <a:lnTo>
                    <a:pt x="248559" y="89825"/>
                  </a:lnTo>
                  <a:lnTo>
                    <a:pt x="248559" y="72551"/>
                  </a:lnTo>
                  <a:lnTo>
                    <a:pt x="255469" y="65641"/>
                  </a:lnTo>
                  <a:lnTo>
                    <a:pt x="255469" y="51822"/>
                  </a:lnTo>
                  <a:lnTo>
                    <a:pt x="252014" y="38003"/>
                  </a:lnTo>
                  <a:lnTo>
                    <a:pt x="241650" y="24184"/>
                  </a:lnTo>
                  <a:lnTo>
                    <a:pt x="231285" y="10364"/>
                  </a:lnTo>
                  <a:lnTo>
                    <a:pt x="210650" y="3455"/>
                  </a:lnTo>
                  <a:lnTo>
                    <a:pt x="186466" y="6910"/>
                  </a:lnTo>
                  <a:lnTo>
                    <a:pt x="145009" y="27638"/>
                  </a:lnTo>
                  <a:lnTo>
                    <a:pt x="124280" y="44912"/>
                  </a:lnTo>
                  <a:lnTo>
                    <a:pt x="120825" y="65641"/>
                  </a:lnTo>
                  <a:lnTo>
                    <a:pt x="134644" y="79461"/>
                  </a:lnTo>
                  <a:lnTo>
                    <a:pt x="113915" y="86370"/>
                  </a:lnTo>
                  <a:lnTo>
                    <a:pt x="131189" y="110554"/>
                  </a:lnTo>
                  <a:lnTo>
                    <a:pt x="141554" y="124373"/>
                  </a:lnTo>
                  <a:lnTo>
                    <a:pt x="117370" y="131283"/>
                  </a:lnTo>
                  <a:lnTo>
                    <a:pt x="93186" y="86370"/>
                  </a:lnTo>
                  <a:lnTo>
                    <a:pt x="93186" y="69096"/>
                  </a:lnTo>
                  <a:lnTo>
                    <a:pt x="93186" y="48367"/>
                  </a:lnTo>
                  <a:lnTo>
                    <a:pt x="110461" y="20729"/>
                  </a:lnTo>
                  <a:lnTo>
                    <a:pt x="131189" y="13819"/>
                  </a:lnTo>
                  <a:lnTo>
                    <a:pt x="141554" y="3455"/>
                  </a:lnTo>
                  <a:lnTo>
                    <a:pt x="89732" y="0"/>
                  </a:lnTo>
                  <a:lnTo>
                    <a:pt x="65641" y="3455"/>
                  </a:lnTo>
                  <a:lnTo>
                    <a:pt x="34548" y="24184"/>
                  </a:lnTo>
                  <a:lnTo>
                    <a:pt x="13819" y="51822"/>
                  </a:lnTo>
                  <a:lnTo>
                    <a:pt x="0" y="86370"/>
                  </a:lnTo>
                  <a:lnTo>
                    <a:pt x="0" y="124373"/>
                  </a:lnTo>
                  <a:lnTo>
                    <a:pt x="27639" y="134831"/>
                  </a:lnTo>
                  <a:lnTo>
                    <a:pt x="55277" y="131283"/>
                  </a:lnTo>
                  <a:lnTo>
                    <a:pt x="65641" y="141741"/>
                  </a:lnTo>
                  <a:lnTo>
                    <a:pt x="55277" y="148650"/>
                  </a:lnTo>
                  <a:lnTo>
                    <a:pt x="27639" y="145195"/>
                  </a:lnTo>
                  <a:lnTo>
                    <a:pt x="13819" y="145195"/>
                  </a:lnTo>
                  <a:lnTo>
                    <a:pt x="13819" y="162469"/>
                  </a:lnTo>
                  <a:lnTo>
                    <a:pt x="34548" y="176289"/>
                  </a:lnTo>
                  <a:lnTo>
                    <a:pt x="55277" y="183198"/>
                  </a:lnTo>
                  <a:lnTo>
                    <a:pt x="69096" y="172834"/>
                  </a:lnTo>
                  <a:lnTo>
                    <a:pt x="82822" y="179743"/>
                  </a:lnTo>
                  <a:lnTo>
                    <a:pt x="96641" y="190108"/>
                  </a:lnTo>
                  <a:lnTo>
                    <a:pt x="127735" y="190108"/>
                  </a:lnTo>
                  <a:lnTo>
                    <a:pt x="155373" y="197017"/>
                  </a:lnTo>
                  <a:lnTo>
                    <a:pt x="203740" y="203927"/>
                  </a:lnTo>
                  <a:lnTo>
                    <a:pt x="224376" y="200472"/>
                  </a:lnTo>
                  <a:lnTo>
                    <a:pt x="234740" y="190108"/>
                  </a:lnTo>
                  <a:lnTo>
                    <a:pt x="272743" y="200472"/>
                  </a:lnTo>
                  <a:lnTo>
                    <a:pt x="296927" y="200472"/>
                  </a:lnTo>
                  <a:lnTo>
                    <a:pt x="307291" y="193563"/>
                  </a:lnTo>
                  <a:lnTo>
                    <a:pt x="303836" y="183198"/>
                  </a:lnTo>
                  <a:lnTo>
                    <a:pt x="296927" y="172834"/>
                  </a:lnTo>
                  <a:lnTo>
                    <a:pt x="307291" y="169379"/>
                  </a:lnTo>
                  <a:lnTo>
                    <a:pt x="321110" y="183198"/>
                  </a:lnTo>
                  <a:lnTo>
                    <a:pt x="328020" y="193563"/>
                  </a:lnTo>
                  <a:lnTo>
                    <a:pt x="338385" y="207382"/>
                  </a:lnTo>
                  <a:lnTo>
                    <a:pt x="348749" y="197017"/>
                  </a:lnTo>
                  <a:lnTo>
                    <a:pt x="365929" y="214291"/>
                  </a:lnTo>
                  <a:lnTo>
                    <a:pt x="376294" y="221201"/>
                  </a:lnTo>
                  <a:lnTo>
                    <a:pt x="383204" y="231566"/>
                  </a:lnTo>
                  <a:lnTo>
                    <a:pt x="362475" y="245385"/>
                  </a:lnTo>
                  <a:lnTo>
                    <a:pt x="376294" y="259204"/>
                  </a:lnTo>
                  <a:lnTo>
                    <a:pt x="393568" y="245385"/>
                  </a:lnTo>
                  <a:lnTo>
                    <a:pt x="414297" y="245385"/>
                  </a:lnTo>
                  <a:lnTo>
                    <a:pt x="414297" y="255749"/>
                  </a:lnTo>
                  <a:lnTo>
                    <a:pt x="424661" y="269568"/>
                  </a:lnTo>
                  <a:lnTo>
                    <a:pt x="438481" y="262659"/>
                  </a:lnTo>
                  <a:lnTo>
                    <a:pt x="441935" y="276478"/>
                  </a:lnTo>
                  <a:lnTo>
                    <a:pt x="455755" y="276478"/>
                  </a:lnTo>
                  <a:lnTo>
                    <a:pt x="469574" y="297300"/>
                  </a:lnTo>
                  <a:lnTo>
                    <a:pt x="483393" y="328394"/>
                  </a:lnTo>
                  <a:lnTo>
                    <a:pt x="462664" y="349122"/>
                  </a:lnTo>
                  <a:lnTo>
                    <a:pt x="438481" y="362942"/>
                  </a:lnTo>
                  <a:lnTo>
                    <a:pt x="424661" y="383670"/>
                  </a:lnTo>
                  <a:lnTo>
                    <a:pt x="438481" y="394035"/>
                  </a:lnTo>
                  <a:lnTo>
                    <a:pt x="445390" y="400945"/>
                  </a:lnTo>
                  <a:lnTo>
                    <a:pt x="424661" y="407854"/>
                  </a:lnTo>
                  <a:lnTo>
                    <a:pt x="410842" y="414764"/>
                  </a:lnTo>
                  <a:lnTo>
                    <a:pt x="400478" y="425128"/>
                  </a:lnTo>
                  <a:lnTo>
                    <a:pt x="390113" y="418219"/>
                  </a:lnTo>
                  <a:lnTo>
                    <a:pt x="369385" y="411309"/>
                  </a:lnTo>
                  <a:lnTo>
                    <a:pt x="348749" y="407854"/>
                  </a:lnTo>
                  <a:lnTo>
                    <a:pt x="324565" y="425128"/>
                  </a:lnTo>
                  <a:lnTo>
                    <a:pt x="321110" y="445857"/>
                  </a:lnTo>
                  <a:lnTo>
                    <a:pt x="334930" y="463224"/>
                  </a:lnTo>
                  <a:lnTo>
                    <a:pt x="359020" y="466679"/>
                  </a:lnTo>
                  <a:lnTo>
                    <a:pt x="376294" y="459770"/>
                  </a:lnTo>
                  <a:lnTo>
                    <a:pt x="386658" y="452767"/>
                  </a:lnTo>
                  <a:lnTo>
                    <a:pt x="407387" y="452767"/>
                  </a:lnTo>
                  <a:lnTo>
                    <a:pt x="410842" y="449312"/>
                  </a:lnTo>
                  <a:lnTo>
                    <a:pt x="410842" y="445857"/>
                  </a:lnTo>
                  <a:lnTo>
                    <a:pt x="410842" y="432038"/>
                  </a:lnTo>
                  <a:lnTo>
                    <a:pt x="421207" y="438947"/>
                  </a:lnTo>
                  <a:lnTo>
                    <a:pt x="441935" y="445857"/>
                  </a:lnTo>
                  <a:lnTo>
                    <a:pt x="452300" y="456315"/>
                  </a:lnTo>
                  <a:lnTo>
                    <a:pt x="469574" y="473589"/>
                  </a:lnTo>
                  <a:lnTo>
                    <a:pt x="483393" y="487408"/>
                  </a:lnTo>
                  <a:lnTo>
                    <a:pt x="497119" y="483953"/>
                  </a:lnTo>
                  <a:lnTo>
                    <a:pt x="507483" y="494318"/>
                  </a:lnTo>
                  <a:lnTo>
                    <a:pt x="500574" y="501227"/>
                  </a:lnTo>
                  <a:lnTo>
                    <a:pt x="510938" y="515047"/>
                  </a:lnTo>
                  <a:lnTo>
                    <a:pt x="535122" y="542685"/>
                  </a:lnTo>
                  <a:lnTo>
                    <a:pt x="538577" y="525411"/>
                  </a:lnTo>
                  <a:lnTo>
                    <a:pt x="552396" y="525411"/>
                  </a:lnTo>
                  <a:lnTo>
                    <a:pt x="576580" y="542685"/>
                  </a:lnTo>
                  <a:lnTo>
                    <a:pt x="611034" y="556504"/>
                  </a:lnTo>
                  <a:lnTo>
                    <a:pt x="652492" y="566869"/>
                  </a:lnTo>
                  <a:lnTo>
                    <a:pt x="645582" y="553050"/>
                  </a:lnTo>
                  <a:lnTo>
                    <a:pt x="638673" y="539230"/>
                  </a:lnTo>
                  <a:lnTo>
                    <a:pt x="631763" y="528866"/>
                  </a:lnTo>
                  <a:lnTo>
                    <a:pt x="600763" y="504682"/>
                  </a:lnTo>
                  <a:lnTo>
                    <a:pt x="583489" y="487408"/>
                  </a:lnTo>
                  <a:lnTo>
                    <a:pt x="593854" y="480498"/>
                  </a:lnTo>
                  <a:lnTo>
                    <a:pt x="614582" y="501227"/>
                  </a:lnTo>
                  <a:lnTo>
                    <a:pt x="652492" y="521956"/>
                  </a:lnTo>
                  <a:lnTo>
                    <a:pt x="680131" y="535775"/>
                  </a:lnTo>
                  <a:lnTo>
                    <a:pt x="690495" y="525411"/>
                  </a:lnTo>
                  <a:lnTo>
                    <a:pt x="680131" y="501227"/>
                  </a:lnTo>
                  <a:lnTo>
                    <a:pt x="683585" y="497773"/>
                  </a:lnTo>
                  <a:lnTo>
                    <a:pt x="690495" y="497773"/>
                  </a:lnTo>
                  <a:lnTo>
                    <a:pt x="700859" y="501227"/>
                  </a:lnTo>
                  <a:lnTo>
                    <a:pt x="704314" y="490863"/>
                  </a:lnTo>
                  <a:lnTo>
                    <a:pt x="680131" y="466679"/>
                  </a:lnTo>
                  <a:lnTo>
                    <a:pt x="649037" y="442402"/>
                  </a:lnTo>
                  <a:lnTo>
                    <a:pt x="628308" y="421673"/>
                  </a:lnTo>
                  <a:lnTo>
                    <a:pt x="618037" y="397490"/>
                  </a:lnTo>
                  <a:lnTo>
                    <a:pt x="621399" y="383670"/>
                  </a:lnTo>
                  <a:lnTo>
                    <a:pt x="614582" y="366396"/>
                  </a:lnTo>
                  <a:lnTo>
                    <a:pt x="628308" y="359487"/>
                  </a:lnTo>
                  <a:lnTo>
                    <a:pt x="666311" y="383670"/>
                  </a:lnTo>
                  <a:lnTo>
                    <a:pt x="673221" y="397490"/>
                  </a:lnTo>
                  <a:lnTo>
                    <a:pt x="687040" y="414764"/>
                  </a:lnTo>
                  <a:lnTo>
                    <a:pt x="714678" y="428583"/>
                  </a:lnTo>
                  <a:lnTo>
                    <a:pt x="725043" y="414764"/>
                  </a:lnTo>
                  <a:lnTo>
                    <a:pt x="725043" y="400945"/>
                  </a:lnTo>
                  <a:lnTo>
                    <a:pt x="742317" y="400945"/>
                  </a:lnTo>
                  <a:lnTo>
                    <a:pt x="752681" y="390580"/>
                  </a:lnTo>
                  <a:lnTo>
                    <a:pt x="749133" y="373306"/>
                  </a:lnTo>
                  <a:lnTo>
                    <a:pt x="766407" y="373306"/>
                  </a:lnTo>
                  <a:lnTo>
                    <a:pt x="790591" y="369851"/>
                  </a:lnTo>
                  <a:lnTo>
                    <a:pt x="794046" y="366396"/>
                  </a:lnTo>
                  <a:lnTo>
                    <a:pt x="794046" y="359487"/>
                  </a:lnTo>
                  <a:lnTo>
                    <a:pt x="794046" y="352577"/>
                  </a:lnTo>
                  <a:lnTo>
                    <a:pt x="776772" y="338758"/>
                  </a:lnTo>
                  <a:lnTo>
                    <a:pt x="756043" y="335303"/>
                  </a:lnTo>
                  <a:lnTo>
                    <a:pt x="749133" y="328394"/>
                  </a:lnTo>
                  <a:lnTo>
                    <a:pt x="731953" y="314574"/>
                  </a:lnTo>
                  <a:lnTo>
                    <a:pt x="718133" y="311120"/>
                  </a:lnTo>
                  <a:lnTo>
                    <a:pt x="700859" y="311120"/>
                  </a:lnTo>
                  <a:lnTo>
                    <a:pt x="697404" y="300755"/>
                  </a:lnTo>
                  <a:lnTo>
                    <a:pt x="687040" y="293752"/>
                  </a:lnTo>
                  <a:lnTo>
                    <a:pt x="669766" y="290297"/>
                  </a:lnTo>
                  <a:lnTo>
                    <a:pt x="659402" y="286842"/>
                  </a:lnTo>
                  <a:lnTo>
                    <a:pt x="659402" y="276478"/>
                  </a:lnTo>
                  <a:lnTo>
                    <a:pt x="638673" y="266114"/>
                  </a:lnTo>
                  <a:lnTo>
                    <a:pt x="624853" y="269568"/>
                  </a:lnTo>
                  <a:lnTo>
                    <a:pt x="611034" y="269568"/>
                  </a:lnTo>
                  <a:lnTo>
                    <a:pt x="597308" y="259204"/>
                  </a:lnTo>
                  <a:lnTo>
                    <a:pt x="590399" y="248840"/>
                  </a:lnTo>
                  <a:lnTo>
                    <a:pt x="590399" y="241930"/>
                  </a:lnTo>
                  <a:lnTo>
                    <a:pt x="593854" y="238475"/>
                  </a:lnTo>
                  <a:lnTo>
                    <a:pt x="597308" y="235020"/>
                  </a:lnTo>
                  <a:lnTo>
                    <a:pt x="624853" y="238475"/>
                  </a:lnTo>
                  <a:lnTo>
                    <a:pt x="635218" y="238475"/>
                  </a:lnTo>
                  <a:lnTo>
                    <a:pt x="638673" y="238475"/>
                  </a:lnTo>
                  <a:lnTo>
                    <a:pt x="635218" y="231566"/>
                  </a:lnTo>
                  <a:lnTo>
                    <a:pt x="624853" y="221201"/>
                  </a:lnTo>
                  <a:lnTo>
                    <a:pt x="607673" y="221201"/>
                  </a:lnTo>
                  <a:lnTo>
                    <a:pt x="590399" y="221201"/>
                  </a:lnTo>
                  <a:lnTo>
                    <a:pt x="590399" y="210837"/>
                  </a:lnTo>
                  <a:lnTo>
                    <a:pt x="600763" y="210837"/>
                  </a:lnTo>
                  <a:lnTo>
                    <a:pt x="611034" y="210837"/>
                  </a:lnTo>
                  <a:lnTo>
                    <a:pt x="624853" y="210837"/>
                  </a:lnTo>
                  <a:lnTo>
                    <a:pt x="621399" y="200472"/>
                  </a:lnTo>
                  <a:lnTo>
                    <a:pt x="614582" y="190108"/>
                  </a:lnTo>
                  <a:lnTo>
                    <a:pt x="604218" y="186653"/>
                  </a:lnTo>
                  <a:lnTo>
                    <a:pt x="573125" y="193563"/>
                  </a:lnTo>
                  <a:lnTo>
                    <a:pt x="559306" y="186653"/>
                  </a:lnTo>
                  <a:lnTo>
                    <a:pt x="576580" y="179743"/>
                  </a:lnTo>
                  <a:lnTo>
                    <a:pt x="590399" y="172834"/>
                  </a:lnTo>
                  <a:lnTo>
                    <a:pt x="590399" y="165924"/>
                  </a:lnTo>
                  <a:lnTo>
                    <a:pt x="573125" y="159015"/>
                  </a:lnTo>
                  <a:lnTo>
                    <a:pt x="552396" y="159015"/>
                  </a:lnTo>
                  <a:lnTo>
                    <a:pt x="524757" y="169379"/>
                  </a:lnTo>
                  <a:lnTo>
                    <a:pt x="514393" y="169379"/>
                  </a:lnTo>
                  <a:lnTo>
                    <a:pt x="528212" y="155560"/>
                  </a:lnTo>
                  <a:lnTo>
                    <a:pt x="528212" y="145195"/>
                  </a:lnTo>
                  <a:lnTo>
                    <a:pt x="517848" y="148650"/>
                  </a:lnTo>
                  <a:lnTo>
                    <a:pt x="500574" y="155560"/>
                  </a:lnTo>
                  <a:lnTo>
                    <a:pt x="490209" y="148650"/>
                  </a:lnTo>
                  <a:lnTo>
                    <a:pt x="504029" y="138286"/>
                  </a:lnTo>
                  <a:lnTo>
                    <a:pt x="510938" y="131283"/>
                  </a:lnTo>
                  <a:close/>
                </a:path>
              </a:pathLst>
            </a:custGeom>
            <a:solidFill>
              <a:srgbClr val="CEE3BF"/>
            </a:solidFill>
            <a:ln w="9334" cap="flat">
              <a:noFill/>
              <a:prstDash val="solid"/>
              <a:miter/>
            </a:ln>
          </p:spPr>
          <p:txBody>
            <a:bodyPr rtlCol="0" anchor="ctr"/>
            <a:lstStyle/>
            <a:p>
              <a:endParaRPr lang="en-GB" dirty="0"/>
            </a:p>
          </p:txBody>
        </p:sp>
        <p:sp>
          <p:nvSpPr>
            <p:cNvPr id="1335" name="Freeform: Shape 1334">
              <a:extLst>
                <a:ext uri="{FF2B5EF4-FFF2-40B4-BE49-F238E27FC236}">
                  <a16:creationId xmlns:a16="http://schemas.microsoft.com/office/drawing/2014/main" id="{BF1D7DD8-6CEE-48D6-891D-68274E8D591C}"/>
                </a:ext>
              </a:extLst>
            </p:cNvPr>
            <p:cNvSpPr/>
            <p:nvPr/>
          </p:nvSpPr>
          <p:spPr>
            <a:xfrm>
              <a:off x="3530501" y="2521298"/>
              <a:ext cx="62093" cy="38002"/>
            </a:xfrm>
            <a:custGeom>
              <a:avLst/>
              <a:gdLst>
                <a:gd name="connsiteX0" fmla="*/ 13819 w 62093"/>
                <a:gd name="connsiteY0" fmla="*/ 10364 h 38002"/>
                <a:gd name="connsiteX1" fmla="*/ 6910 w 62093"/>
                <a:gd name="connsiteY1" fmla="*/ 17274 h 38002"/>
                <a:gd name="connsiteX2" fmla="*/ 3455 w 62093"/>
                <a:gd name="connsiteY2" fmla="*/ 20729 h 38002"/>
                <a:gd name="connsiteX3" fmla="*/ 0 w 62093"/>
                <a:gd name="connsiteY3" fmla="*/ 24184 h 38002"/>
                <a:gd name="connsiteX4" fmla="*/ 10364 w 62093"/>
                <a:gd name="connsiteY4" fmla="*/ 31093 h 38002"/>
                <a:gd name="connsiteX5" fmla="*/ 17274 w 62093"/>
                <a:gd name="connsiteY5" fmla="*/ 38003 h 38002"/>
                <a:gd name="connsiteX6" fmla="*/ 38003 w 62093"/>
                <a:gd name="connsiteY6" fmla="*/ 31093 h 38002"/>
                <a:gd name="connsiteX7" fmla="*/ 51822 w 62093"/>
                <a:gd name="connsiteY7" fmla="*/ 20729 h 38002"/>
                <a:gd name="connsiteX8" fmla="*/ 62093 w 62093"/>
                <a:gd name="connsiteY8" fmla="*/ 6910 h 38002"/>
                <a:gd name="connsiteX9" fmla="*/ 58732 w 62093"/>
                <a:gd name="connsiteY9" fmla="*/ 0 h 38002"/>
                <a:gd name="connsiteX10" fmla="*/ 38003 w 62093"/>
                <a:gd name="connsiteY10" fmla="*/ 0 h 38002"/>
                <a:gd name="connsiteX11" fmla="*/ 13819 w 62093"/>
                <a:gd name="connsiteY11" fmla="*/ 10364 h 3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093" h="38002">
                  <a:moveTo>
                    <a:pt x="13819" y="10364"/>
                  </a:moveTo>
                  <a:lnTo>
                    <a:pt x="6910" y="17274"/>
                  </a:lnTo>
                  <a:lnTo>
                    <a:pt x="3455" y="20729"/>
                  </a:lnTo>
                  <a:lnTo>
                    <a:pt x="0" y="24184"/>
                  </a:lnTo>
                  <a:lnTo>
                    <a:pt x="10364" y="31093"/>
                  </a:lnTo>
                  <a:lnTo>
                    <a:pt x="17274" y="38003"/>
                  </a:lnTo>
                  <a:lnTo>
                    <a:pt x="38003" y="31093"/>
                  </a:lnTo>
                  <a:lnTo>
                    <a:pt x="51822" y="20729"/>
                  </a:lnTo>
                  <a:lnTo>
                    <a:pt x="62093" y="6910"/>
                  </a:lnTo>
                  <a:lnTo>
                    <a:pt x="58732" y="0"/>
                  </a:lnTo>
                  <a:lnTo>
                    <a:pt x="38003" y="0"/>
                  </a:lnTo>
                  <a:lnTo>
                    <a:pt x="13819" y="10364"/>
                  </a:lnTo>
                  <a:close/>
                </a:path>
              </a:pathLst>
            </a:custGeom>
            <a:solidFill>
              <a:srgbClr val="CEE3BF"/>
            </a:solidFill>
            <a:ln w="9334" cap="flat">
              <a:noFill/>
              <a:prstDash val="solid"/>
              <a:miter/>
            </a:ln>
          </p:spPr>
          <p:txBody>
            <a:bodyPr rtlCol="0" anchor="ctr"/>
            <a:lstStyle/>
            <a:p>
              <a:endParaRPr lang="en-GB" dirty="0"/>
            </a:p>
          </p:txBody>
        </p:sp>
        <p:sp>
          <p:nvSpPr>
            <p:cNvPr id="1336" name="Freeform: Shape 1335">
              <a:extLst>
                <a:ext uri="{FF2B5EF4-FFF2-40B4-BE49-F238E27FC236}">
                  <a16:creationId xmlns:a16="http://schemas.microsoft.com/office/drawing/2014/main" id="{25345493-5EB7-49E1-978D-D574F9775720}"/>
                </a:ext>
              </a:extLst>
            </p:cNvPr>
            <p:cNvSpPr/>
            <p:nvPr/>
          </p:nvSpPr>
          <p:spPr>
            <a:xfrm>
              <a:off x="3637507" y="2545482"/>
              <a:ext cx="27638" cy="38002"/>
            </a:xfrm>
            <a:custGeom>
              <a:avLst/>
              <a:gdLst>
                <a:gd name="connsiteX0" fmla="*/ 27639 w 27638"/>
                <a:gd name="connsiteY0" fmla="*/ 3455 h 38002"/>
                <a:gd name="connsiteX1" fmla="*/ 13819 w 27638"/>
                <a:gd name="connsiteY1" fmla="*/ 0 h 38002"/>
                <a:gd name="connsiteX2" fmla="*/ 3455 w 27638"/>
                <a:gd name="connsiteY2" fmla="*/ 10364 h 38002"/>
                <a:gd name="connsiteX3" fmla="*/ 0 w 27638"/>
                <a:gd name="connsiteY3" fmla="*/ 24184 h 38002"/>
                <a:gd name="connsiteX4" fmla="*/ 13819 w 27638"/>
                <a:gd name="connsiteY4" fmla="*/ 38003 h 38002"/>
                <a:gd name="connsiteX5" fmla="*/ 27639 w 27638"/>
                <a:gd name="connsiteY5" fmla="*/ 3455 h 3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38" h="38002">
                  <a:moveTo>
                    <a:pt x="27639" y="3455"/>
                  </a:moveTo>
                  <a:lnTo>
                    <a:pt x="13819" y="0"/>
                  </a:lnTo>
                  <a:lnTo>
                    <a:pt x="3455" y="10364"/>
                  </a:lnTo>
                  <a:lnTo>
                    <a:pt x="0" y="24184"/>
                  </a:lnTo>
                  <a:lnTo>
                    <a:pt x="13819" y="38003"/>
                  </a:lnTo>
                  <a:lnTo>
                    <a:pt x="27639" y="3455"/>
                  </a:lnTo>
                  <a:close/>
                </a:path>
              </a:pathLst>
            </a:custGeom>
            <a:solidFill>
              <a:srgbClr val="CEE3BF"/>
            </a:solidFill>
            <a:ln w="9334" cap="flat">
              <a:noFill/>
              <a:prstDash val="solid"/>
              <a:miter/>
            </a:ln>
          </p:spPr>
          <p:txBody>
            <a:bodyPr rtlCol="0" anchor="ctr"/>
            <a:lstStyle/>
            <a:p>
              <a:endParaRPr lang="en-GB" dirty="0"/>
            </a:p>
          </p:txBody>
        </p:sp>
        <p:sp>
          <p:nvSpPr>
            <p:cNvPr id="1337" name="Freeform: Shape 1336">
              <a:extLst>
                <a:ext uri="{FF2B5EF4-FFF2-40B4-BE49-F238E27FC236}">
                  <a16:creationId xmlns:a16="http://schemas.microsoft.com/office/drawing/2014/main" id="{74E22F7E-2F9F-4DA1-B30D-874CBBD6E3F5}"/>
                </a:ext>
              </a:extLst>
            </p:cNvPr>
            <p:cNvSpPr/>
            <p:nvPr/>
          </p:nvSpPr>
          <p:spPr>
            <a:xfrm>
              <a:off x="2688088" y="1764229"/>
              <a:ext cx="38002" cy="24183"/>
            </a:xfrm>
            <a:custGeom>
              <a:avLst/>
              <a:gdLst>
                <a:gd name="connsiteX0" fmla="*/ 17274 w 38002"/>
                <a:gd name="connsiteY0" fmla="*/ 24184 h 24183"/>
                <a:gd name="connsiteX1" fmla="*/ 38003 w 38002"/>
                <a:gd name="connsiteY1" fmla="*/ 13819 h 24183"/>
                <a:gd name="connsiteX2" fmla="*/ 27639 w 38002"/>
                <a:gd name="connsiteY2" fmla="*/ 3455 h 24183"/>
                <a:gd name="connsiteX3" fmla="*/ 13819 w 38002"/>
                <a:gd name="connsiteY3" fmla="*/ 0 h 24183"/>
                <a:gd name="connsiteX4" fmla="*/ 0 w 38002"/>
                <a:gd name="connsiteY4" fmla="*/ 3455 h 24183"/>
                <a:gd name="connsiteX5" fmla="*/ 3455 w 38002"/>
                <a:gd name="connsiteY5" fmla="*/ 13819 h 24183"/>
                <a:gd name="connsiteX6" fmla="*/ 17274 w 38002"/>
                <a:gd name="connsiteY6" fmla="*/ 24184 h 24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02" h="24183">
                  <a:moveTo>
                    <a:pt x="17274" y="24184"/>
                  </a:moveTo>
                  <a:lnTo>
                    <a:pt x="38003" y="13819"/>
                  </a:lnTo>
                  <a:lnTo>
                    <a:pt x="27639" y="3455"/>
                  </a:lnTo>
                  <a:lnTo>
                    <a:pt x="13819" y="0"/>
                  </a:lnTo>
                  <a:lnTo>
                    <a:pt x="0" y="3455"/>
                  </a:lnTo>
                  <a:lnTo>
                    <a:pt x="3455" y="13819"/>
                  </a:lnTo>
                  <a:lnTo>
                    <a:pt x="17274" y="24184"/>
                  </a:lnTo>
                  <a:close/>
                </a:path>
              </a:pathLst>
            </a:custGeom>
            <a:solidFill>
              <a:srgbClr val="CEE3BF"/>
            </a:solidFill>
            <a:ln w="9334" cap="flat">
              <a:noFill/>
              <a:prstDash val="solid"/>
              <a:miter/>
            </a:ln>
          </p:spPr>
          <p:txBody>
            <a:bodyPr rtlCol="0" anchor="ctr"/>
            <a:lstStyle/>
            <a:p>
              <a:endParaRPr lang="en-GB" dirty="0"/>
            </a:p>
          </p:txBody>
        </p:sp>
        <p:sp>
          <p:nvSpPr>
            <p:cNvPr id="1338" name="Freeform: Shape 1337">
              <a:extLst>
                <a:ext uri="{FF2B5EF4-FFF2-40B4-BE49-F238E27FC236}">
                  <a16:creationId xmlns:a16="http://schemas.microsoft.com/office/drawing/2014/main" id="{B55788C4-853D-4EF1-9F7A-A9E9B28D325D}"/>
                </a:ext>
              </a:extLst>
            </p:cNvPr>
            <p:cNvSpPr/>
            <p:nvPr/>
          </p:nvSpPr>
          <p:spPr>
            <a:xfrm>
              <a:off x="3792880" y="2282730"/>
              <a:ext cx="34547" cy="27731"/>
            </a:xfrm>
            <a:custGeom>
              <a:avLst/>
              <a:gdLst>
                <a:gd name="connsiteX0" fmla="*/ 27638 w 34547"/>
                <a:gd name="connsiteY0" fmla="*/ 27732 h 27731"/>
                <a:gd name="connsiteX1" fmla="*/ 34548 w 34547"/>
                <a:gd name="connsiteY1" fmla="*/ 20822 h 27731"/>
                <a:gd name="connsiteX2" fmla="*/ 27638 w 34547"/>
                <a:gd name="connsiteY2" fmla="*/ 10364 h 27731"/>
                <a:gd name="connsiteX3" fmla="*/ 13819 w 34547"/>
                <a:gd name="connsiteY3" fmla="*/ 0 h 27731"/>
                <a:gd name="connsiteX4" fmla="*/ 0 w 34547"/>
                <a:gd name="connsiteY4" fmla="*/ 3455 h 27731"/>
                <a:gd name="connsiteX5" fmla="*/ 0 w 34547"/>
                <a:gd name="connsiteY5" fmla="*/ 17367 h 27731"/>
                <a:gd name="connsiteX6" fmla="*/ 10364 w 34547"/>
                <a:gd name="connsiteY6" fmla="*/ 24277 h 27731"/>
                <a:gd name="connsiteX7" fmla="*/ 27638 w 34547"/>
                <a:gd name="connsiteY7" fmla="*/ 27732 h 2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47" h="27731">
                  <a:moveTo>
                    <a:pt x="27638" y="27732"/>
                  </a:moveTo>
                  <a:lnTo>
                    <a:pt x="34548" y="20822"/>
                  </a:lnTo>
                  <a:lnTo>
                    <a:pt x="27638" y="10364"/>
                  </a:lnTo>
                  <a:lnTo>
                    <a:pt x="13819" y="0"/>
                  </a:lnTo>
                  <a:lnTo>
                    <a:pt x="0" y="3455"/>
                  </a:lnTo>
                  <a:lnTo>
                    <a:pt x="0" y="17367"/>
                  </a:lnTo>
                  <a:lnTo>
                    <a:pt x="10364" y="24277"/>
                  </a:lnTo>
                  <a:lnTo>
                    <a:pt x="27638" y="27732"/>
                  </a:lnTo>
                  <a:close/>
                </a:path>
              </a:pathLst>
            </a:custGeom>
            <a:solidFill>
              <a:srgbClr val="CEE3BF"/>
            </a:solidFill>
            <a:ln w="9334" cap="flat">
              <a:noFill/>
              <a:prstDash val="solid"/>
              <a:miter/>
            </a:ln>
          </p:spPr>
          <p:txBody>
            <a:bodyPr rtlCol="0" anchor="ctr"/>
            <a:lstStyle/>
            <a:p>
              <a:endParaRPr lang="en-GB" dirty="0"/>
            </a:p>
          </p:txBody>
        </p:sp>
        <p:sp>
          <p:nvSpPr>
            <p:cNvPr id="1339" name="Freeform: Shape 1338">
              <a:extLst>
                <a:ext uri="{FF2B5EF4-FFF2-40B4-BE49-F238E27FC236}">
                  <a16:creationId xmlns:a16="http://schemas.microsoft.com/office/drawing/2014/main" id="{4DC07F20-B745-4F28-8CF0-BE090658150B}"/>
                </a:ext>
              </a:extLst>
            </p:cNvPr>
            <p:cNvSpPr/>
            <p:nvPr/>
          </p:nvSpPr>
          <p:spPr>
            <a:xfrm>
              <a:off x="4079442" y="3032890"/>
              <a:ext cx="65547" cy="31093"/>
            </a:xfrm>
            <a:custGeom>
              <a:avLst/>
              <a:gdLst>
                <a:gd name="connsiteX0" fmla="*/ 13819 w 65547"/>
                <a:gd name="connsiteY0" fmla="*/ 0 h 31093"/>
                <a:gd name="connsiteX1" fmla="*/ 0 w 65547"/>
                <a:gd name="connsiteY1" fmla="*/ 3455 h 31093"/>
                <a:gd name="connsiteX2" fmla="*/ 13819 w 65547"/>
                <a:gd name="connsiteY2" fmla="*/ 13819 h 31093"/>
                <a:gd name="connsiteX3" fmla="*/ 31093 w 65547"/>
                <a:gd name="connsiteY3" fmla="*/ 24184 h 31093"/>
                <a:gd name="connsiteX4" fmla="*/ 58638 w 65547"/>
                <a:gd name="connsiteY4" fmla="*/ 31093 h 31093"/>
                <a:gd name="connsiteX5" fmla="*/ 65548 w 65547"/>
                <a:gd name="connsiteY5" fmla="*/ 20729 h 31093"/>
                <a:gd name="connsiteX6" fmla="*/ 38003 w 65547"/>
                <a:gd name="connsiteY6" fmla="*/ 3455 h 31093"/>
                <a:gd name="connsiteX7" fmla="*/ 24184 w 65547"/>
                <a:gd name="connsiteY7" fmla="*/ 0 h 31093"/>
                <a:gd name="connsiteX8" fmla="*/ 13819 w 65547"/>
                <a:gd name="connsiteY8" fmla="*/ 0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47" h="31093">
                  <a:moveTo>
                    <a:pt x="13819" y="0"/>
                  </a:moveTo>
                  <a:lnTo>
                    <a:pt x="0" y="3455"/>
                  </a:lnTo>
                  <a:lnTo>
                    <a:pt x="13819" y="13819"/>
                  </a:lnTo>
                  <a:lnTo>
                    <a:pt x="31093" y="24184"/>
                  </a:lnTo>
                  <a:lnTo>
                    <a:pt x="58638" y="31093"/>
                  </a:lnTo>
                  <a:lnTo>
                    <a:pt x="65548" y="20729"/>
                  </a:lnTo>
                  <a:lnTo>
                    <a:pt x="38003" y="3455"/>
                  </a:lnTo>
                  <a:lnTo>
                    <a:pt x="24184" y="0"/>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340" name="Freeform: Shape 1339">
              <a:extLst>
                <a:ext uri="{FF2B5EF4-FFF2-40B4-BE49-F238E27FC236}">
                  <a16:creationId xmlns:a16="http://schemas.microsoft.com/office/drawing/2014/main" id="{594F66FC-D55F-4FE5-88F3-C120FA6566E8}"/>
                </a:ext>
              </a:extLst>
            </p:cNvPr>
            <p:cNvSpPr/>
            <p:nvPr/>
          </p:nvSpPr>
          <p:spPr>
            <a:xfrm>
              <a:off x="2329068" y="2998342"/>
              <a:ext cx="124279" cy="86370"/>
            </a:xfrm>
            <a:custGeom>
              <a:avLst/>
              <a:gdLst>
                <a:gd name="connsiteX0" fmla="*/ 96641 w 124279"/>
                <a:gd name="connsiteY0" fmla="*/ 86370 h 86370"/>
                <a:gd name="connsiteX1" fmla="*/ 113915 w 124279"/>
                <a:gd name="connsiteY1" fmla="*/ 82915 h 86370"/>
                <a:gd name="connsiteX2" fmla="*/ 124280 w 124279"/>
                <a:gd name="connsiteY2" fmla="*/ 79461 h 86370"/>
                <a:gd name="connsiteX3" fmla="*/ 120825 w 124279"/>
                <a:gd name="connsiteY3" fmla="*/ 72551 h 86370"/>
                <a:gd name="connsiteX4" fmla="*/ 113915 w 124279"/>
                <a:gd name="connsiteY4" fmla="*/ 62187 h 86370"/>
                <a:gd name="connsiteX5" fmla="*/ 96641 w 124279"/>
                <a:gd name="connsiteY5" fmla="*/ 51822 h 86370"/>
                <a:gd name="connsiteX6" fmla="*/ 86277 w 124279"/>
                <a:gd name="connsiteY6" fmla="*/ 44912 h 86370"/>
                <a:gd name="connsiteX7" fmla="*/ 72458 w 124279"/>
                <a:gd name="connsiteY7" fmla="*/ 27638 h 86370"/>
                <a:gd name="connsiteX8" fmla="*/ 55277 w 124279"/>
                <a:gd name="connsiteY8" fmla="*/ 17274 h 86370"/>
                <a:gd name="connsiteX9" fmla="*/ 41458 w 124279"/>
                <a:gd name="connsiteY9" fmla="*/ 10364 h 86370"/>
                <a:gd name="connsiteX10" fmla="*/ 20729 w 124279"/>
                <a:gd name="connsiteY10" fmla="*/ 3455 h 86370"/>
                <a:gd name="connsiteX11" fmla="*/ 0 w 124279"/>
                <a:gd name="connsiteY11" fmla="*/ 0 h 86370"/>
                <a:gd name="connsiteX12" fmla="*/ 0 w 124279"/>
                <a:gd name="connsiteY12" fmla="*/ 17274 h 86370"/>
                <a:gd name="connsiteX13" fmla="*/ 10364 w 124279"/>
                <a:gd name="connsiteY13" fmla="*/ 24184 h 86370"/>
                <a:gd name="connsiteX14" fmla="*/ 24184 w 124279"/>
                <a:gd name="connsiteY14" fmla="*/ 31093 h 86370"/>
                <a:gd name="connsiteX15" fmla="*/ 34548 w 124279"/>
                <a:gd name="connsiteY15" fmla="*/ 31093 h 86370"/>
                <a:gd name="connsiteX16" fmla="*/ 38003 w 124279"/>
                <a:gd name="connsiteY16" fmla="*/ 41458 h 86370"/>
                <a:gd name="connsiteX17" fmla="*/ 48367 w 124279"/>
                <a:gd name="connsiteY17" fmla="*/ 41458 h 86370"/>
                <a:gd name="connsiteX18" fmla="*/ 58638 w 124279"/>
                <a:gd name="connsiteY18" fmla="*/ 55277 h 86370"/>
                <a:gd name="connsiteX19" fmla="*/ 69003 w 124279"/>
                <a:gd name="connsiteY19" fmla="*/ 65641 h 86370"/>
                <a:gd name="connsiteX20" fmla="*/ 79367 w 124279"/>
                <a:gd name="connsiteY20" fmla="*/ 65641 h 86370"/>
                <a:gd name="connsiteX21" fmla="*/ 79367 w 124279"/>
                <a:gd name="connsiteY21" fmla="*/ 79461 h 86370"/>
                <a:gd name="connsiteX22" fmla="*/ 96641 w 124279"/>
                <a:gd name="connsiteY22" fmla="*/ 86370 h 8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4279" h="86370">
                  <a:moveTo>
                    <a:pt x="96641" y="86370"/>
                  </a:moveTo>
                  <a:lnTo>
                    <a:pt x="113915" y="82915"/>
                  </a:lnTo>
                  <a:lnTo>
                    <a:pt x="124280" y="79461"/>
                  </a:lnTo>
                  <a:lnTo>
                    <a:pt x="120825" y="72551"/>
                  </a:lnTo>
                  <a:lnTo>
                    <a:pt x="113915" y="62187"/>
                  </a:lnTo>
                  <a:lnTo>
                    <a:pt x="96641" y="51822"/>
                  </a:lnTo>
                  <a:lnTo>
                    <a:pt x="86277" y="44912"/>
                  </a:lnTo>
                  <a:lnTo>
                    <a:pt x="72458" y="27638"/>
                  </a:lnTo>
                  <a:lnTo>
                    <a:pt x="55277" y="17274"/>
                  </a:lnTo>
                  <a:lnTo>
                    <a:pt x="41458" y="10364"/>
                  </a:lnTo>
                  <a:lnTo>
                    <a:pt x="20729" y="3455"/>
                  </a:lnTo>
                  <a:lnTo>
                    <a:pt x="0" y="0"/>
                  </a:lnTo>
                  <a:lnTo>
                    <a:pt x="0" y="17274"/>
                  </a:lnTo>
                  <a:lnTo>
                    <a:pt x="10364" y="24184"/>
                  </a:lnTo>
                  <a:lnTo>
                    <a:pt x="24184" y="31093"/>
                  </a:lnTo>
                  <a:lnTo>
                    <a:pt x="34548" y="31093"/>
                  </a:lnTo>
                  <a:lnTo>
                    <a:pt x="38003" y="41458"/>
                  </a:lnTo>
                  <a:lnTo>
                    <a:pt x="48367" y="41458"/>
                  </a:lnTo>
                  <a:lnTo>
                    <a:pt x="58638" y="55277"/>
                  </a:lnTo>
                  <a:lnTo>
                    <a:pt x="69003" y="65641"/>
                  </a:lnTo>
                  <a:lnTo>
                    <a:pt x="79367" y="65641"/>
                  </a:lnTo>
                  <a:lnTo>
                    <a:pt x="79367" y="79461"/>
                  </a:lnTo>
                  <a:lnTo>
                    <a:pt x="96641" y="86370"/>
                  </a:lnTo>
                  <a:close/>
                </a:path>
              </a:pathLst>
            </a:custGeom>
            <a:solidFill>
              <a:srgbClr val="CEE3BF"/>
            </a:solidFill>
            <a:ln w="9334" cap="flat">
              <a:noFill/>
              <a:prstDash val="solid"/>
              <a:miter/>
            </a:ln>
          </p:spPr>
          <p:txBody>
            <a:bodyPr rtlCol="0" anchor="ctr"/>
            <a:lstStyle/>
            <a:p>
              <a:endParaRPr lang="en-GB" dirty="0"/>
            </a:p>
          </p:txBody>
        </p:sp>
        <p:sp>
          <p:nvSpPr>
            <p:cNvPr id="1341" name="Freeform: Shape 1340">
              <a:extLst>
                <a:ext uri="{FF2B5EF4-FFF2-40B4-BE49-F238E27FC236}">
                  <a16:creationId xmlns:a16="http://schemas.microsoft.com/office/drawing/2014/main" id="{78B90717-195C-445E-A8D3-047606FD4D7D}"/>
                </a:ext>
              </a:extLst>
            </p:cNvPr>
            <p:cNvSpPr/>
            <p:nvPr/>
          </p:nvSpPr>
          <p:spPr>
            <a:xfrm>
              <a:off x="1607480" y="2725225"/>
              <a:ext cx="65641" cy="45005"/>
            </a:xfrm>
            <a:custGeom>
              <a:avLst/>
              <a:gdLst>
                <a:gd name="connsiteX0" fmla="*/ 48367 w 65641"/>
                <a:gd name="connsiteY0" fmla="*/ 3455 h 45005"/>
                <a:gd name="connsiteX1" fmla="*/ 34548 w 65641"/>
                <a:gd name="connsiteY1" fmla="*/ 6910 h 45005"/>
                <a:gd name="connsiteX2" fmla="*/ 24184 w 65641"/>
                <a:gd name="connsiteY2" fmla="*/ 10364 h 45005"/>
                <a:gd name="connsiteX3" fmla="*/ 24184 w 65641"/>
                <a:gd name="connsiteY3" fmla="*/ 24184 h 45005"/>
                <a:gd name="connsiteX4" fmla="*/ 13819 w 65641"/>
                <a:gd name="connsiteY4" fmla="*/ 20729 h 45005"/>
                <a:gd name="connsiteX5" fmla="*/ 6910 w 65641"/>
                <a:gd name="connsiteY5" fmla="*/ 13819 h 45005"/>
                <a:gd name="connsiteX6" fmla="*/ 0 w 65641"/>
                <a:gd name="connsiteY6" fmla="*/ 20729 h 45005"/>
                <a:gd name="connsiteX7" fmla="*/ 3455 w 65641"/>
                <a:gd name="connsiteY7" fmla="*/ 34548 h 45005"/>
                <a:gd name="connsiteX8" fmla="*/ 13819 w 65641"/>
                <a:gd name="connsiteY8" fmla="*/ 45006 h 45005"/>
                <a:gd name="connsiteX9" fmla="*/ 44912 w 65641"/>
                <a:gd name="connsiteY9" fmla="*/ 41458 h 45005"/>
                <a:gd name="connsiteX10" fmla="*/ 55277 w 65641"/>
                <a:gd name="connsiteY10" fmla="*/ 27638 h 45005"/>
                <a:gd name="connsiteX11" fmla="*/ 65641 w 65641"/>
                <a:gd name="connsiteY11" fmla="*/ 17274 h 45005"/>
                <a:gd name="connsiteX12" fmla="*/ 58732 w 65641"/>
                <a:gd name="connsiteY12" fmla="*/ 0 h 45005"/>
                <a:gd name="connsiteX13" fmla="*/ 48367 w 65641"/>
                <a:gd name="connsiteY13" fmla="*/ 3455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641" h="45005">
                  <a:moveTo>
                    <a:pt x="48367" y="3455"/>
                  </a:moveTo>
                  <a:lnTo>
                    <a:pt x="34548" y="6910"/>
                  </a:lnTo>
                  <a:lnTo>
                    <a:pt x="24184" y="10364"/>
                  </a:lnTo>
                  <a:lnTo>
                    <a:pt x="24184" y="24184"/>
                  </a:lnTo>
                  <a:lnTo>
                    <a:pt x="13819" y="20729"/>
                  </a:lnTo>
                  <a:lnTo>
                    <a:pt x="6910" y="13819"/>
                  </a:lnTo>
                  <a:lnTo>
                    <a:pt x="0" y="20729"/>
                  </a:lnTo>
                  <a:lnTo>
                    <a:pt x="3455" y="34548"/>
                  </a:lnTo>
                  <a:lnTo>
                    <a:pt x="13819" y="45006"/>
                  </a:lnTo>
                  <a:lnTo>
                    <a:pt x="44912" y="41458"/>
                  </a:lnTo>
                  <a:lnTo>
                    <a:pt x="55277" y="27638"/>
                  </a:lnTo>
                  <a:lnTo>
                    <a:pt x="65641" y="17274"/>
                  </a:lnTo>
                  <a:lnTo>
                    <a:pt x="58732" y="0"/>
                  </a:lnTo>
                  <a:lnTo>
                    <a:pt x="48367" y="3455"/>
                  </a:lnTo>
                  <a:close/>
                </a:path>
              </a:pathLst>
            </a:custGeom>
            <a:solidFill>
              <a:srgbClr val="CEE3BF"/>
            </a:solidFill>
            <a:ln w="9334" cap="flat">
              <a:noFill/>
              <a:prstDash val="solid"/>
              <a:miter/>
            </a:ln>
          </p:spPr>
          <p:txBody>
            <a:bodyPr rtlCol="0" anchor="ctr"/>
            <a:lstStyle/>
            <a:p>
              <a:endParaRPr lang="en-GB" dirty="0"/>
            </a:p>
          </p:txBody>
        </p:sp>
        <p:sp>
          <p:nvSpPr>
            <p:cNvPr id="1342" name="Freeform: Shape 1341">
              <a:extLst>
                <a:ext uri="{FF2B5EF4-FFF2-40B4-BE49-F238E27FC236}">
                  <a16:creationId xmlns:a16="http://schemas.microsoft.com/office/drawing/2014/main" id="{EC1AFFC5-94C2-4926-B86B-DC2DB3EAC5CB}"/>
                </a:ext>
              </a:extLst>
            </p:cNvPr>
            <p:cNvSpPr/>
            <p:nvPr/>
          </p:nvSpPr>
          <p:spPr>
            <a:xfrm>
              <a:off x="1262279" y="2631946"/>
              <a:ext cx="44912" cy="27638"/>
            </a:xfrm>
            <a:custGeom>
              <a:avLst/>
              <a:gdLst>
                <a:gd name="connsiteX0" fmla="*/ 13819 w 44912"/>
                <a:gd name="connsiteY0" fmla="*/ 0 h 27638"/>
                <a:gd name="connsiteX1" fmla="*/ 3455 w 44912"/>
                <a:gd name="connsiteY1" fmla="*/ 0 h 27638"/>
                <a:gd name="connsiteX2" fmla="*/ 0 w 44912"/>
                <a:gd name="connsiteY2" fmla="*/ 10364 h 27638"/>
                <a:gd name="connsiteX3" fmla="*/ 6910 w 44912"/>
                <a:gd name="connsiteY3" fmla="*/ 17274 h 27638"/>
                <a:gd name="connsiteX4" fmla="*/ 17274 w 44912"/>
                <a:gd name="connsiteY4" fmla="*/ 27639 h 27638"/>
                <a:gd name="connsiteX5" fmla="*/ 24184 w 44912"/>
                <a:gd name="connsiteY5" fmla="*/ 24184 h 27638"/>
                <a:gd name="connsiteX6" fmla="*/ 38003 w 44912"/>
                <a:gd name="connsiteY6" fmla="*/ 27639 h 27638"/>
                <a:gd name="connsiteX7" fmla="*/ 44913 w 44912"/>
                <a:gd name="connsiteY7" fmla="*/ 13819 h 27638"/>
                <a:gd name="connsiteX8" fmla="*/ 44913 w 44912"/>
                <a:gd name="connsiteY8" fmla="*/ 6910 h 27638"/>
                <a:gd name="connsiteX9" fmla="*/ 38003 w 44912"/>
                <a:gd name="connsiteY9" fmla="*/ 0 h 27638"/>
                <a:gd name="connsiteX10" fmla="*/ 13819 w 44912"/>
                <a:gd name="connsiteY10" fmla="*/ 0 h 2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912" h="27638">
                  <a:moveTo>
                    <a:pt x="13819" y="0"/>
                  </a:moveTo>
                  <a:lnTo>
                    <a:pt x="3455" y="0"/>
                  </a:lnTo>
                  <a:lnTo>
                    <a:pt x="0" y="10364"/>
                  </a:lnTo>
                  <a:lnTo>
                    <a:pt x="6910" y="17274"/>
                  </a:lnTo>
                  <a:lnTo>
                    <a:pt x="17274" y="27639"/>
                  </a:lnTo>
                  <a:lnTo>
                    <a:pt x="24184" y="24184"/>
                  </a:lnTo>
                  <a:lnTo>
                    <a:pt x="38003" y="27639"/>
                  </a:lnTo>
                  <a:lnTo>
                    <a:pt x="44913" y="13819"/>
                  </a:lnTo>
                  <a:lnTo>
                    <a:pt x="44913" y="6910"/>
                  </a:lnTo>
                  <a:lnTo>
                    <a:pt x="38003" y="0"/>
                  </a:lnTo>
                  <a:lnTo>
                    <a:pt x="13819" y="0"/>
                  </a:lnTo>
                  <a:close/>
                </a:path>
              </a:pathLst>
            </a:custGeom>
            <a:solidFill>
              <a:srgbClr val="CEE3BF"/>
            </a:solidFill>
            <a:ln w="9334" cap="flat">
              <a:noFill/>
              <a:prstDash val="solid"/>
              <a:miter/>
            </a:ln>
          </p:spPr>
          <p:txBody>
            <a:bodyPr rtlCol="0" anchor="ctr"/>
            <a:lstStyle/>
            <a:p>
              <a:endParaRPr lang="en-GB" dirty="0"/>
            </a:p>
          </p:txBody>
        </p:sp>
        <p:sp>
          <p:nvSpPr>
            <p:cNvPr id="1343" name="Freeform: Shape 1342">
              <a:extLst>
                <a:ext uri="{FF2B5EF4-FFF2-40B4-BE49-F238E27FC236}">
                  <a16:creationId xmlns:a16="http://schemas.microsoft.com/office/drawing/2014/main" id="{83D9B05A-82DC-4BC9-9CAF-CCDDDC3C92C0}"/>
                </a:ext>
              </a:extLst>
            </p:cNvPr>
            <p:cNvSpPr/>
            <p:nvPr/>
          </p:nvSpPr>
          <p:spPr>
            <a:xfrm>
              <a:off x="2108147" y="2721771"/>
              <a:ext cx="41364" cy="69189"/>
            </a:xfrm>
            <a:custGeom>
              <a:avLst/>
              <a:gdLst>
                <a:gd name="connsiteX0" fmla="*/ 27545 w 41364"/>
                <a:gd name="connsiteY0" fmla="*/ 10364 h 69189"/>
                <a:gd name="connsiteX1" fmla="*/ 17181 w 41364"/>
                <a:gd name="connsiteY1" fmla="*/ 3455 h 69189"/>
                <a:gd name="connsiteX2" fmla="*/ 0 w 41364"/>
                <a:gd name="connsiteY2" fmla="*/ 0 h 69189"/>
                <a:gd name="connsiteX3" fmla="*/ 0 w 41364"/>
                <a:gd name="connsiteY3" fmla="*/ 13819 h 69189"/>
                <a:gd name="connsiteX4" fmla="*/ 6910 w 41364"/>
                <a:gd name="connsiteY4" fmla="*/ 27639 h 69189"/>
                <a:gd name="connsiteX5" fmla="*/ 13726 w 41364"/>
                <a:gd name="connsiteY5" fmla="*/ 38003 h 69189"/>
                <a:gd name="connsiteX6" fmla="*/ 27545 w 41364"/>
                <a:gd name="connsiteY6" fmla="*/ 55370 h 69189"/>
                <a:gd name="connsiteX7" fmla="*/ 41364 w 41364"/>
                <a:gd name="connsiteY7" fmla="*/ 69190 h 69189"/>
                <a:gd name="connsiteX8" fmla="*/ 41364 w 41364"/>
                <a:gd name="connsiteY8" fmla="*/ 51916 h 69189"/>
                <a:gd name="connsiteX9" fmla="*/ 31000 w 41364"/>
                <a:gd name="connsiteY9" fmla="*/ 34548 h 69189"/>
                <a:gd name="connsiteX10" fmla="*/ 27545 w 41364"/>
                <a:gd name="connsiteY10" fmla="*/ 10364 h 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64" h="69189">
                  <a:moveTo>
                    <a:pt x="27545" y="10364"/>
                  </a:moveTo>
                  <a:lnTo>
                    <a:pt x="17181" y="3455"/>
                  </a:lnTo>
                  <a:lnTo>
                    <a:pt x="0" y="0"/>
                  </a:lnTo>
                  <a:lnTo>
                    <a:pt x="0" y="13819"/>
                  </a:lnTo>
                  <a:lnTo>
                    <a:pt x="6910" y="27639"/>
                  </a:lnTo>
                  <a:lnTo>
                    <a:pt x="13726" y="38003"/>
                  </a:lnTo>
                  <a:lnTo>
                    <a:pt x="27545" y="55370"/>
                  </a:lnTo>
                  <a:lnTo>
                    <a:pt x="41364" y="69190"/>
                  </a:lnTo>
                  <a:lnTo>
                    <a:pt x="41364" y="51916"/>
                  </a:lnTo>
                  <a:lnTo>
                    <a:pt x="31000" y="34548"/>
                  </a:lnTo>
                  <a:lnTo>
                    <a:pt x="27545" y="10364"/>
                  </a:lnTo>
                  <a:close/>
                </a:path>
              </a:pathLst>
            </a:custGeom>
            <a:solidFill>
              <a:srgbClr val="CEE3BF"/>
            </a:solidFill>
            <a:ln w="9334" cap="flat">
              <a:noFill/>
              <a:prstDash val="solid"/>
              <a:miter/>
            </a:ln>
          </p:spPr>
          <p:txBody>
            <a:bodyPr rtlCol="0" anchor="ctr"/>
            <a:lstStyle/>
            <a:p>
              <a:endParaRPr lang="en-GB" dirty="0"/>
            </a:p>
          </p:txBody>
        </p:sp>
        <p:sp>
          <p:nvSpPr>
            <p:cNvPr id="1344" name="Freeform: Shape 1343">
              <a:extLst>
                <a:ext uri="{FF2B5EF4-FFF2-40B4-BE49-F238E27FC236}">
                  <a16:creationId xmlns:a16="http://schemas.microsoft.com/office/drawing/2014/main" id="{E675677F-5022-4D28-8A16-6B14574CFE32}"/>
                </a:ext>
              </a:extLst>
            </p:cNvPr>
            <p:cNvSpPr/>
            <p:nvPr/>
          </p:nvSpPr>
          <p:spPr>
            <a:xfrm>
              <a:off x="2184059" y="2790960"/>
              <a:ext cx="38002" cy="65641"/>
            </a:xfrm>
            <a:custGeom>
              <a:avLst/>
              <a:gdLst>
                <a:gd name="connsiteX0" fmla="*/ 10364 w 38002"/>
                <a:gd name="connsiteY0" fmla="*/ 41458 h 65641"/>
                <a:gd name="connsiteX1" fmla="*/ 20729 w 38002"/>
                <a:gd name="connsiteY1" fmla="*/ 51822 h 65641"/>
                <a:gd name="connsiteX2" fmla="*/ 31093 w 38002"/>
                <a:gd name="connsiteY2" fmla="*/ 65641 h 65641"/>
                <a:gd name="connsiteX3" fmla="*/ 38003 w 38002"/>
                <a:gd name="connsiteY3" fmla="*/ 55277 h 65641"/>
                <a:gd name="connsiteX4" fmla="*/ 38003 w 38002"/>
                <a:gd name="connsiteY4" fmla="*/ 41458 h 65641"/>
                <a:gd name="connsiteX5" fmla="*/ 24184 w 38002"/>
                <a:gd name="connsiteY5" fmla="*/ 24184 h 65641"/>
                <a:gd name="connsiteX6" fmla="*/ 13819 w 38002"/>
                <a:gd name="connsiteY6" fmla="*/ 3455 h 65641"/>
                <a:gd name="connsiteX7" fmla="*/ 0 w 38002"/>
                <a:gd name="connsiteY7" fmla="*/ 0 h 65641"/>
                <a:gd name="connsiteX8" fmla="*/ 0 w 38002"/>
                <a:gd name="connsiteY8" fmla="*/ 13819 h 65641"/>
                <a:gd name="connsiteX9" fmla="*/ 6910 w 38002"/>
                <a:gd name="connsiteY9" fmla="*/ 27639 h 65641"/>
                <a:gd name="connsiteX10" fmla="*/ 10364 w 38002"/>
                <a:gd name="connsiteY10" fmla="*/ 41458 h 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002" h="65641">
                  <a:moveTo>
                    <a:pt x="10364" y="41458"/>
                  </a:moveTo>
                  <a:lnTo>
                    <a:pt x="20729" y="51822"/>
                  </a:lnTo>
                  <a:lnTo>
                    <a:pt x="31093" y="65641"/>
                  </a:lnTo>
                  <a:lnTo>
                    <a:pt x="38003" y="55277"/>
                  </a:lnTo>
                  <a:lnTo>
                    <a:pt x="38003" y="41458"/>
                  </a:lnTo>
                  <a:lnTo>
                    <a:pt x="24184" y="24184"/>
                  </a:lnTo>
                  <a:lnTo>
                    <a:pt x="13819" y="3455"/>
                  </a:lnTo>
                  <a:lnTo>
                    <a:pt x="0" y="0"/>
                  </a:lnTo>
                  <a:lnTo>
                    <a:pt x="0" y="13819"/>
                  </a:lnTo>
                  <a:lnTo>
                    <a:pt x="6910" y="27639"/>
                  </a:lnTo>
                  <a:lnTo>
                    <a:pt x="10364" y="41458"/>
                  </a:lnTo>
                  <a:close/>
                </a:path>
              </a:pathLst>
            </a:custGeom>
            <a:solidFill>
              <a:srgbClr val="CEE3BF"/>
            </a:solidFill>
            <a:ln w="9334" cap="flat">
              <a:noFill/>
              <a:prstDash val="solid"/>
              <a:miter/>
            </a:ln>
          </p:spPr>
          <p:txBody>
            <a:bodyPr rtlCol="0" anchor="ctr"/>
            <a:lstStyle/>
            <a:p>
              <a:endParaRPr lang="en-GB" dirty="0"/>
            </a:p>
          </p:txBody>
        </p:sp>
        <p:sp>
          <p:nvSpPr>
            <p:cNvPr id="1345" name="Freeform: Shape 1344">
              <a:extLst>
                <a:ext uri="{FF2B5EF4-FFF2-40B4-BE49-F238E27FC236}">
                  <a16:creationId xmlns:a16="http://schemas.microsoft.com/office/drawing/2014/main" id="{12FCB075-94C1-453F-877B-EEA90EA98198}"/>
                </a:ext>
              </a:extLst>
            </p:cNvPr>
            <p:cNvSpPr/>
            <p:nvPr/>
          </p:nvSpPr>
          <p:spPr>
            <a:xfrm>
              <a:off x="2190969" y="2877330"/>
              <a:ext cx="44912" cy="58731"/>
            </a:xfrm>
            <a:custGeom>
              <a:avLst/>
              <a:gdLst>
                <a:gd name="connsiteX0" fmla="*/ 31093 w 44912"/>
                <a:gd name="connsiteY0" fmla="*/ 27639 h 58731"/>
                <a:gd name="connsiteX1" fmla="*/ 34548 w 44912"/>
                <a:gd name="connsiteY1" fmla="*/ 13819 h 58731"/>
                <a:gd name="connsiteX2" fmla="*/ 31093 w 44912"/>
                <a:gd name="connsiteY2" fmla="*/ 6910 h 58731"/>
                <a:gd name="connsiteX3" fmla="*/ 17274 w 44912"/>
                <a:gd name="connsiteY3" fmla="*/ 6910 h 58731"/>
                <a:gd name="connsiteX4" fmla="*/ 0 w 44912"/>
                <a:gd name="connsiteY4" fmla="*/ 0 h 58731"/>
                <a:gd name="connsiteX5" fmla="*/ 3455 w 44912"/>
                <a:gd name="connsiteY5" fmla="*/ 20729 h 58731"/>
                <a:gd name="connsiteX6" fmla="*/ 13819 w 44912"/>
                <a:gd name="connsiteY6" fmla="*/ 34548 h 58731"/>
                <a:gd name="connsiteX7" fmla="*/ 31093 w 44912"/>
                <a:gd name="connsiteY7" fmla="*/ 55277 h 58731"/>
                <a:gd name="connsiteX8" fmla="*/ 44912 w 44912"/>
                <a:gd name="connsiteY8" fmla="*/ 58732 h 58731"/>
                <a:gd name="connsiteX9" fmla="*/ 38003 w 44912"/>
                <a:gd name="connsiteY9" fmla="*/ 38003 h 58731"/>
                <a:gd name="connsiteX10" fmla="*/ 31093 w 44912"/>
                <a:gd name="connsiteY10" fmla="*/ 27639 h 5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912" h="58731">
                  <a:moveTo>
                    <a:pt x="31093" y="27639"/>
                  </a:moveTo>
                  <a:lnTo>
                    <a:pt x="34548" y="13819"/>
                  </a:lnTo>
                  <a:lnTo>
                    <a:pt x="31093" y="6910"/>
                  </a:lnTo>
                  <a:lnTo>
                    <a:pt x="17274" y="6910"/>
                  </a:lnTo>
                  <a:lnTo>
                    <a:pt x="0" y="0"/>
                  </a:lnTo>
                  <a:lnTo>
                    <a:pt x="3455" y="20729"/>
                  </a:lnTo>
                  <a:lnTo>
                    <a:pt x="13819" y="34548"/>
                  </a:lnTo>
                  <a:lnTo>
                    <a:pt x="31093" y="55277"/>
                  </a:lnTo>
                  <a:lnTo>
                    <a:pt x="44912" y="58732"/>
                  </a:lnTo>
                  <a:lnTo>
                    <a:pt x="38003" y="38003"/>
                  </a:lnTo>
                  <a:lnTo>
                    <a:pt x="31093" y="27639"/>
                  </a:lnTo>
                  <a:close/>
                </a:path>
              </a:pathLst>
            </a:custGeom>
            <a:solidFill>
              <a:srgbClr val="CEE3BF"/>
            </a:solidFill>
            <a:ln w="9334" cap="flat">
              <a:noFill/>
              <a:prstDash val="solid"/>
              <a:miter/>
            </a:ln>
          </p:spPr>
          <p:txBody>
            <a:bodyPr rtlCol="0" anchor="ctr"/>
            <a:lstStyle/>
            <a:p>
              <a:endParaRPr lang="en-GB" dirty="0"/>
            </a:p>
          </p:txBody>
        </p:sp>
        <p:sp>
          <p:nvSpPr>
            <p:cNvPr id="1346" name="Freeform: Shape 1345">
              <a:extLst>
                <a:ext uri="{FF2B5EF4-FFF2-40B4-BE49-F238E27FC236}">
                  <a16:creationId xmlns:a16="http://schemas.microsoft.com/office/drawing/2014/main" id="{C5A4FE04-E8B4-45B8-B8CE-E25EEE3E4D78}"/>
                </a:ext>
              </a:extLst>
            </p:cNvPr>
            <p:cNvSpPr/>
            <p:nvPr/>
          </p:nvSpPr>
          <p:spPr>
            <a:xfrm>
              <a:off x="1320917" y="2835873"/>
              <a:ext cx="55276" cy="34548"/>
            </a:xfrm>
            <a:custGeom>
              <a:avLst/>
              <a:gdLst>
                <a:gd name="connsiteX0" fmla="*/ 24184 w 55276"/>
                <a:gd name="connsiteY0" fmla="*/ 6910 h 34548"/>
                <a:gd name="connsiteX1" fmla="*/ 10364 w 55276"/>
                <a:gd name="connsiteY1" fmla="*/ 13819 h 34548"/>
                <a:gd name="connsiteX2" fmla="*/ 0 w 55276"/>
                <a:gd name="connsiteY2" fmla="*/ 31093 h 34548"/>
                <a:gd name="connsiteX3" fmla="*/ 10364 w 55276"/>
                <a:gd name="connsiteY3" fmla="*/ 34548 h 34548"/>
                <a:gd name="connsiteX4" fmla="*/ 20729 w 55276"/>
                <a:gd name="connsiteY4" fmla="*/ 24184 h 34548"/>
                <a:gd name="connsiteX5" fmla="*/ 38003 w 55276"/>
                <a:gd name="connsiteY5" fmla="*/ 20729 h 34548"/>
                <a:gd name="connsiteX6" fmla="*/ 48367 w 55276"/>
                <a:gd name="connsiteY6" fmla="*/ 17274 h 34548"/>
                <a:gd name="connsiteX7" fmla="*/ 55277 w 55276"/>
                <a:gd name="connsiteY7" fmla="*/ 6910 h 34548"/>
                <a:gd name="connsiteX8" fmla="*/ 44913 w 55276"/>
                <a:gd name="connsiteY8" fmla="*/ 0 h 34548"/>
                <a:gd name="connsiteX9" fmla="*/ 24184 w 55276"/>
                <a:gd name="connsiteY9" fmla="*/ 6910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76" h="34548">
                  <a:moveTo>
                    <a:pt x="24184" y="6910"/>
                  </a:moveTo>
                  <a:lnTo>
                    <a:pt x="10364" y="13819"/>
                  </a:lnTo>
                  <a:lnTo>
                    <a:pt x="0" y="31093"/>
                  </a:lnTo>
                  <a:lnTo>
                    <a:pt x="10364" y="34548"/>
                  </a:lnTo>
                  <a:lnTo>
                    <a:pt x="20729" y="24184"/>
                  </a:lnTo>
                  <a:lnTo>
                    <a:pt x="38003" y="20729"/>
                  </a:lnTo>
                  <a:lnTo>
                    <a:pt x="48367" y="17274"/>
                  </a:lnTo>
                  <a:lnTo>
                    <a:pt x="55277" y="6910"/>
                  </a:lnTo>
                  <a:lnTo>
                    <a:pt x="44913" y="0"/>
                  </a:lnTo>
                  <a:lnTo>
                    <a:pt x="24184" y="6910"/>
                  </a:lnTo>
                  <a:close/>
                </a:path>
              </a:pathLst>
            </a:custGeom>
            <a:solidFill>
              <a:srgbClr val="CEE3BF"/>
            </a:solidFill>
            <a:ln w="9334" cap="flat">
              <a:noFill/>
              <a:prstDash val="solid"/>
              <a:miter/>
            </a:ln>
          </p:spPr>
          <p:txBody>
            <a:bodyPr rtlCol="0" anchor="ctr"/>
            <a:lstStyle/>
            <a:p>
              <a:endParaRPr lang="en-GB" dirty="0"/>
            </a:p>
          </p:txBody>
        </p:sp>
        <p:sp>
          <p:nvSpPr>
            <p:cNvPr id="1347" name="Freeform: Shape 1346">
              <a:extLst>
                <a:ext uri="{FF2B5EF4-FFF2-40B4-BE49-F238E27FC236}">
                  <a16:creationId xmlns:a16="http://schemas.microsoft.com/office/drawing/2014/main" id="{4B7A07B0-5B59-4694-BBB7-141BD524B497}"/>
                </a:ext>
              </a:extLst>
            </p:cNvPr>
            <p:cNvSpPr/>
            <p:nvPr/>
          </p:nvSpPr>
          <p:spPr>
            <a:xfrm>
              <a:off x="2142601" y="2718316"/>
              <a:ext cx="27638" cy="51915"/>
            </a:xfrm>
            <a:custGeom>
              <a:avLst/>
              <a:gdLst>
                <a:gd name="connsiteX0" fmla="*/ 17274 w 27638"/>
                <a:gd name="connsiteY0" fmla="*/ 6910 h 51915"/>
                <a:gd name="connsiteX1" fmla="*/ 0 w 27638"/>
                <a:gd name="connsiteY1" fmla="*/ 0 h 51915"/>
                <a:gd name="connsiteX2" fmla="*/ 0 w 27638"/>
                <a:gd name="connsiteY2" fmla="*/ 13819 h 51915"/>
                <a:gd name="connsiteX3" fmla="*/ 6910 w 27638"/>
                <a:gd name="connsiteY3" fmla="*/ 27639 h 51915"/>
                <a:gd name="connsiteX4" fmla="*/ 6910 w 27638"/>
                <a:gd name="connsiteY4" fmla="*/ 38003 h 51915"/>
                <a:gd name="connsiteX5" fmla="*/ 17274 w 27638"/>
                <a:gd name="connsiteY5" fmla="*/ 51915 h 51915"/>
                <a:gd name="connsiteX6" fmla="*/ 24184 w 27638"/>
                <a:gd name="connsiteY6" fmla="*/ 41458 h 51915"/>
                <a:gd name="connsiteX7" fmla="*/ 27638 w 27638"/>
                <a:gd name="connsiteY7" fmla="*/ 27639 h 51915"/>
                <a:gd name="connsiteX8" fmla="*/ 17274 w 27638"/>
                <a:gd name="connsiteY8" fmla="*/ 6910 h 5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38" h="51915">
                  <a:moveTo>
                    <a:pt x="17274" y="6910"/>
                  </a:moveTo>
                  <a:lnTo>
                    <a:pt x="0" y="0"/>
                  </a:lnTo>
                  <a:lnTo>
                    <a:pt x="0" y="13819"/>
                  </a:lnTo>
                  <a:lnTo>
                    <a:pt x="6910" y="27639"/>
                  </a:lnTo>
                  <a:lnTo>
                    <a:pt x="6910" y="38003"/>
                  </a:lnTo>
                  <a:lnTo>
                    <a:pt x="17274" y="51915"/>
                  </a:lnTo>
                  <a:lnTo>
                    <a:pt x="24184" y="41458"/>
                  </a:lnTo>
                  <a:lnTo>
                    <a:pt x="27638" y="27639"/>
                  </a:lnTo>
                  <a:lnTo>
                    <a:pt x="17274" y="6910"/>
                  </a:lnTo>
                  <a:close/>
                </a:path>
              </a:pathLst>
            </a:custGeom>
            <a:solidFill>
              <a:srgbClr val="CEE3BF"/>
            </a:solidFill>
            <a:ln w="9334" cap="flat">
              <a:noFill/>
              <a:prstDash val="solid"/>
              <a:miter/>
            </a:ln>
          </p:spPr>
          <p:txBody>
            <a:bodyPr rtlCol="0" anchor="ctr"/>
            <a:lstStyle/>
            <a:p>
              <a:endParaRPr lang="en-GB" dirty="0"/>
            </a:p>
          </p:txBody>
        </p:sp>
        <p:sp>
          <p:nvSpPr>
            <p:cNvPr id="1348" name="Freeform: Shape 1347">
              <a:extLst>
                <a:ext uri="{FF2B5EF4-FFF2-40B4-BE49-F238E27FC236}">
                  <a16:creationId xmlns:a16="http://schemas.microsoft.com/office/drawing/2014/main" id="{0E8C586F-B8F7-4779-A999-FA34E6A3B2A3}"/>
                </a:ext>
              </a:extLst>
            </p:cNvPr>
            <p:cNvSpPr/>
            <p:nvPr/>
          </p:nvSpPr>
          <p:spPr>
            <a:xfrm>
              <a:off x="2225517" y="2808234"/>
              <a:ext cx="24183" cy="34548"/>
            </a:xfrm>
            <a:custGeom>
              <a:avLst/>
              <a:gdLst>
                <a:gd name="connsiteX0" fmla="*/ 24184 w 24183"/>
                <a:gd name="connsiteY0" fmla="*/ 10364 h 34548"/>
                <a:gd name="connsiteX1" fmla="*/ 10364 w 24183"/>
                <a:gd name="connsiteY1" fmla="*/ 6910 h 34548"/>
                <a:gd name="connsiteX2" fmla="*/ 0 w 24183"/>
                <a:gd name="connsiteY2" fmla="*/ 0 h 34548"/>
                <a:gd name="connsiteX3" fmla="*/ 0 w 24183"/>
                <a:gd name="connsiteY3" fmla="*/ 20729 h 34548"/>
                <a:gd name="connsiteX4" fmla="*/ 10364 w 24183"/>
                <a:gd name="connsiteY4" fmla="*/ 34548 h 34548"/>
                <a:gd name="connsiteX5" fmla="*/ 20729 w 24183"/>
                <a:gd name="connsiteY5" fmla="*/ 27638 h 34548"/>
                <a:gd name="connsiteX6" fmla="*/ 24184 w 24183"/>
                <a:gd name="connsiteY6" fmla="*/ 10364 h 3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83" h="34548">
                  <a:moveTo>
                    <a:pt x="24184" y="10364"/>
                  </a:moveTo>
                  <a:lnTo>
                    <a:pt x="10364" y="6910"/>
                  </a:lnTo>
                  <a:lnTo>
                    <a:pt x="0" y="0"/>
                  </a:lnTo>
                  <a:lnTo>
                    <a:pt x="0" y="20729"/>
                  </a:lnTo>
                  <a:lnTo>
                    <a:pt x="10364" y="34548"/>
                  </a:lnTo>
                  <a:lnTo>
                    <a:pt x="20729" y="27638"/>
                  </a:lnTo>
                  <a:lnTo>
                    <a:pt x="24184" y="10364"/>
                  </a:lnTo>
                  <a:close/>
                </a:path>
              </a:pathLst>
            </a:custGeom>
            <a:solidFill>
              <a:srgbClr val="CEE3BF"/>
            </a:solidFill>
            <a:ln w="9334" cap="flat">
              <a:noFill/>
              <a:prstDash val="solid"/>
              <a:miter/>
            </a:ln>
          </p:spPr>
          <p:txBody>
            <a:bodyPr rtlCol="0" anchor="ctr"/>
            <a:lstStyle/>
            <a:p>
              <a:endParaRPr lang="en-GB" dirty="0"/>
            </a:p>
          </p:txBody>
        </p:sp>
        <p:sp>
          <p:nvSpPr>
            <p:cNvPr id="1349" name="Freeform: Shape 1348">
              <a:extLst>
                <a:ext uri="{FF2B5EF4-FFF2-40B4-BE49-F238E27FC236}">
                  <a16:creationId xmlns:a16="http://schemas.microsoft.com/office/drawing/2014/main" id="{11D2214C-2E0A-40D0-8DEF-CD7A5A9C9015}"/>
                </a:ext>
              </a:extLst>
            </p:cNvPr>
            <p:cNvSpPr/>
            <p:nvPr/>
          </p:nvSpPr>
          <p:spPr>
            <a:xfrm>
              <a:off x="2170240" y="2766683"/>
              <a:ext cx="24183" cy="24276"/>
            </a:xfrm>
            <a:custGeom>
              <a:avLst/>
              <a:gdLst>
                <a:gd name="connsiteX0" fmla="*/ 24184 w 24183"/>
                <a:gd name="connsiteY0" fmla="*/ 10458 h 24276"/>
                <a:gd name="connsiteX1" fmla="*/ 13819 w 24183"/>
                <a:gd name="connsiteY1" fmla="*/ 0 h 24276"/>
                <a:gd name="connsiteX2" fmla="*/ 6910 w 24183"/>
                <a:gd name="connsiteY2" fmla="*/ 0 h 24276"/>
                <a:gd name="connsiteX3" fmla="*/ 0 w 24183"/>
                <a:gd name="connsiteY3" fmla="*/ 10458 h 24276"/>
                <a:gd name="connsiteX4" fmla="*/ 3455 w 24183"/>
                <a:gd name="connsiteY4" fmla="*/ 24277 h 24276"/>
                <a:gd name="connsiteX5" fmla="*/ 13819 w 24183"/>
                <a:gd name="connsiteY5" fmla="*/ 17367 h 24276"/>
                <a:gd name="connsiteX6" fmla="*/ 24184 w 24183"/>
                <a:gd name="connsiteY6" fmla="*/ 10458 h 2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83" h="24276">
                  <a:moveTo>
                    <a:pt x="24184" y="10458"/>
                  </a:moveTo>
                  <a:lnTo>
                    <a:pt x="13819" y="0"/>
                  </a:lnTo>
                  <a:lnTo>
                    <a:pt x="6910" y="0"/>
                  </a:lnTo>
                  <a:lnTo>
                    <a:pt x="0" y="10458"/>
                  </a:lnTo>
                  <a:lnTo>
                    <a:pt x="3455" y="24277"/>
                  </a:lnTo>
                  <a:lnTo>
                    <a:pt x="13819" y="17367"/>
                  </a:lnTo>
                  <a:lnTo>
                    <a:pt x="24184" y="10458"/>
                  </a:lnTo>
                  <a:close/>
                </a:path>
              </a:pathLst>
            </a:custGeom>
            <a:solidFill>
              <a:srgbClr val="CEE3BF"/>
            </a:solidFill>
            <a:ln w="9334" cap="flat">
              <a:noFill/>
              <a:prstDash val="solid"/>
              <a:miter/>
            </a:ln>
          </p:spPr>
          <p:txBody>
            <a:bodyPr rtlCol="0" anchor="ctr"/>
            <a:lstStyle/>
            <a:p>
              <a:endParaRPr lang="en-GB" dirty="0"/>
            </a:p>
          </p:txBody>
        </p:sp>
        <p:sp>
          <p:nvSpPr>
            <p:cNvPr id="1350" name="Freeform: Shape 1349">
              <a:extLst>
                <a:ext uri="{FF2B5EF4-FFF2-40B4-BE49-F238E27FC236}">
                  <a16:creationId xmlns:a16="http://schemas.microsoft.com/office/drawing/2014/main" id="{64282250-173B-4B77-A3EC-71A8F7D0317A}"/>
                </a:ext>
              </a:extLst>
            </p:cNvPr>
            <p:cNvSpPr/>
            <p:nvPr/>
          </p:nvSpPr>
          <p:spPr>
            <a:xfrm>
              <a:off x="6293881" y="5141630"/>
              <a:ext cx="449125" cy="376667"/>
            </a:xfrm>
            <a:custGeom>
              <a:avLst/>
              <a:gdLst>
                <a:gd name="connsiteX0" fmla="*/ 421487 w 449125"/>
                <a:gd name="connsiteY0" fmla="*/ 117464 h 376667"/>
                <a:gd name="connsiteX1" fmla="*/ 421487 w 449125"/>
                <a:gd name="connsiteY1" fmla="*/ 55277 h 376667"/>
                <a:gd name="connsiteX2" fmla="*/ 407668 w 449125"/>
                <a:gd name="connsiteY2" fmla="*/ 13819 h 376667"/>
                <a:gd name="connsiteX3" fmla="*/ 393848 w 449125"/>
                <a:gd name="connsiteY3" fmla="*/ 3455 h 376667"/>
                <a:gd name="connsiteX4" fmla="*/ 342026 w 449125"/>
                <a:gd name="connsiteY4" fmla="*/ 0 h 376667"/>
                <a:gd name="connsiteX5" fmla="*/ 338571 w 449125"/>
                <a:gd name="connsiteY5" fmla="*/ 10365 h 376667"/>
                <a:gd name="connsiteX6" fmla="*/ 321298 w 449125"/>
                <a:gd name="connsiteY6" fmla="*/ 10365 h 376667"/>
                <a:gd name="connsiteX7" fmla="*/ 255656 w 449125"/>
                <a:gd name="connsiteY7" fmla="*/ 79461 h 376667"/>
                <a:gd name="connsiteX8" fmla="*/ 241837 w 449125"/>
                <a:gd name="connsiteY8" fmla="*/ 103644 h 376667"/>
                <a:gd name="connsiteX9" fmla="*/ 207289 w 449125"/>
                <a:gd name="connsiteY9" fmla="*/ 107099 h 376667"/>
                <a:gd name="connsiteX10" fmla="*/ 190015 w 449125"/>
                <a:gd name="connsiteY10" fmla="*/ 93280 h 376667"/>
                <a:gd name="connsiteX11" fmla="*/ 172740 w 449125"/>
                <a:gd name="connsiteY11" fmla="*/ 93280 h 376667"/>
                <a:gd name="connsiteX12" fmla="*/ 165831 w 449125"/>
                <a:gd name="connsiteY12" fmla="*/ 114009 h 376667"/>
                <a:gd name="connsiteX13" fmla="*/ 141648 w 449125"/>
                <a:gd name="connsiteY13" fmla="*/ 134737 h 376667"/>
                <a:gd name="connsiteX14" fmla="*/ 114009 w 449125"/>
                <a:gd name="connsiteY14" fmla="*/ 134737 h 376667"/>
                <a:gd name="connsiteX15" fmla="*/ 114009 w 449125"/>
                <a:gd name="connsiteY15" fmla="*/ 100190 h 376667"/>
                <a:gd name="connsiteX16" fmla="*/ 93280 w 449125"/>
                <a:gd name="connsiteY16" fmla="*/ 79461 h 376667"/>
                <a:gd name="connsiteX17" fmla="*/ 93280 w 449125"/>
                <a:gd name="connsiteY17" fmla="*/ 179743 h 376667"/>
                <a:gd name="connsiteX18" fmla="*/ 65642 w 449125"/>
                <a:gd name="connsiteY18" fmla="*/ 197018 h 376667"/>
                <a:gd name="connsiteX19" fmla="*/ 38003 w 449125"/>
                <a:gd name="connsiteY19" fmla="*/ 197018 h 376667"/>
                <a:gd name="connsiteX20" fmla="*/ 24184 w 449125"/>
                <a:gd name="connsiteY20" fmla="*/ 190108 h 376667"/>
                <a:gd name="connsiteX21" fmla="*/ 13820 w 449125"/>
                <a:gd name="connsiteY21" fmla="*/ 176289 h 376667"/>
                <a:gd name="connsiteX22" fmla="*/ 10365 w 449125"/>
                <a:gd name="connsiteY22" fmla="*/ 176289 h 376667"/>
                <a:gd name="connsiteX23" fmla="*/ 3455 w 449125"/>
                <a:gd name="connsiteY23" fmla="*/ 179743 h 376667"/>
                <a:gd name="connsiteX24" fmla="*/ 0 w 449125"/>
                <a:gd name="connsiteY24" fmla="*/ 186653 h 376667"/>
                <a:gd name="connsiteX25" fmla="*/ 10365 w 449125"/>
                <a:gd name="connsiteY25" fmla="*/ 210837 h 376667"/>
                <a:gd name="connsiteX26" fmla="*/ 20729 w 449125"/>
                <a:gd name="connsiteY26" fmla="*/ 248840 h 376667"/>
                <a:gd name="connsiteX27" fmla="*/ 38003 w 449125"/>
                <a:gd name="connsiteY27" fmla="*/ 273023 h 376667"/>
                <a:gd name="connsiteX28" fmla="*/ 51823 w 449125"/>
                <a:gd name="connsiteY28" fmla="*/ 297207 h 376667"/>
                <a:gd name="connsiteX29" fmla="*/ 34548 w 449125"/>
                <a:gd name="connsiteY29" fmla="*/ 317936 h 376667"/>
                <a:gd name="connsiteX30" fmla="*/ 48367 w 449125"/>
                <a:gd name="connsiteY30" fmla="*/ 342120 h 376667"/>
                <a:gd name="connsiteX31" fmla="*/ 58732 w 449125"/>
                <a:gd name="connsiteY31" fmla="*/ 362848 h 376667"/>
                <a:gd name="connsiteX32" fmla="*/ 86370 w 449125"/>
                <a:gd name="connsiteY32" fmla="*/ 376667 h 376667"/>
                <a:gd name="connsiteX33" fmla="*/ 120918 w 449125"/>
                <a:gd name="connsiteY33" fmla="*/ 366303 h 376667"/>
                <a:gd name="connsiteX34" fmla="*/ 152012 w 449125"/>
                <a:gd name="connsiteY34" fmla="*/ 355939 h 376667"/>
                <a:gd name="connsiteX35" fmla="*/ 190015 w 449125"/>
                <a:gd name="connsiteY35" fmla="*/ 355939 h 376667"/>
                <a:gd name="connsiteX36" fmla="*/ 221108 w 449125"/>
                <a:gd name="connsiteY36" fmla="*/ 359393 h 376667"/>
                <a:gd name="connsiteX37" fmla="*/ 245292 w 449125"/>
                <a:gd name="connsiteY37" fmla="*/ 349029 h 376667"/>
                <a:gd name="connsiteX38" fmla="*/ 283295 w 449125"/>
                <a:gd name="connsiteY38" fmla="*/ 342120 h 376667"/>
                <a:gd name="connsiteX39" fmla="*/ 324752 w 449125"/>
                <a:gd name="connsiteY39" fmla="*/ 304117 h 376667"/>
                <a:gd name="connsiteX40" fmla="*/ 362755 w 449125"/>
                <a:gd name="connsiteY40" fmla="*/ 276478 h 376667"/>
                <a:gd name="connsiteX41" fmla="*/ 386939 w 449125"/>
                <a:gd name="connsiteY41" fmla="*/ 245385 h 376667"/>
                <a:gd name="connsiteX42" fmla="*/ 397303 w 449125"/>
                <a:gd name="connsiteY42" fmla="*/ 224656 h 376667"/>
                <a:gd name="connsiteX43" fmla="*/ 424942 w 449125"/>
                <a:gd name="connsiteY43" fmla="*/ 190108 h 376667"/>
                <a:gd name="connsiteX44" fmla="*/ 438761 w 449125"/>
                <a:gd name="connsiteY44" fmla="*/ 179743 h 376667"/>
                <a:gd name="connsiteX45" fmla="*/ 438761 w 449125"/>
                <a:gd name="connsiteY45" fmla="*/ 155560 h 376667"/>
                <a:gd name="connsiteX46" fmla="*/ 449125 w 449125"/>
                <a:gd name="connsiteY46" fmla="*/ 138286 h 376667"/>
                <a:gd name="connsiteX47" fmla="*/ 421487 w 449125"/>
                <a:gd name="connsiteY47" fmla="*/ 134831 h 376667"/>
                <a:gd name="connsiteX48" fmla="*/ 421487 w 449125"/>
                <a:gd name="connsiteY48" fmla="*/ 117557 h 376667"/>
                <a:gd name="connsiteX49" fmla="*/ 354072 w 449125"/>
                <a:gd name="connsiteY49" fmla="*/ 222882 h 376667"/>
                <a:gd name="connsiteX50" fmla="*/ 346415 w 449125"/>
                <a:gd name="connsiteY50" fmla="*/ 226150 h 376667"/>
                <a:gd name="connsiteX51" fmla="*/ 338384 w 449125"/>
                <a:gd name="connsiteY51" fmla="*/ 235394 h 376667"/>
                <a:gd name="connsiteX52" fmla="*/ 325406 w 449125"/>
                <a:gd name="connsiteY52" fmla="*/ 217186 h 376667"/>
                <a:gd name="connsiteX53" fmla="*/ 336797 w 449125"/>
                <a:gd name="connsiteY53" fmla="*/ 201313 h 376667"/>
                <a:gd name="connsiteX54" fmla="*/ 352671 w 449125"/>
                <a:gd name="connsiteY54" fmla="*/ 199072 h 376667"/>
                <a:gd name="connsiteX55" fmla="*/ 360421 w 449125"/>
                <a:gd name="connsiteY55" fmla="*/ 215319 h 376667"/>
                <a:gd name="connsiteX56" fmla="*/ 354072 w 449125"/>
                <a:gd name="connsiteY56" fmla="*/ 222975 h 37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49125" h="376667">
                  <a:moveTo>
                    <a:pt x="421487" y="117464"/>
                  </a:moveTo>
                  <a:lnTo>
                    <a:pt x="421487" y="55277"/>
                  </a:lnTo>
                  <a:lnTo>
                    <a:pt x="407668" y="13819"/>
                  </a:lnTo>
                  <a:lnTo>
                    <a:pt x="393848" y="3455"/>
                  </a:lnTo>
                  <a:lnTo>
                    <a:pt x="342026" y="0"/>
                  </a:lnTo>
                  <a:lnTo>
                    <a:pt x="338571" y="10365"/>
                  </a:lnTo>
                  <a:lnTo>
                    <a:pt x="321298" y="10365"/>
                  </a:lnTo>
                  <a:lnTo>
                    <a:pt x="255656" y="79461"/>
                  </a:lnTo>
                  <a:lnTo>
                    <a:pt x="241837" y="103644"/>
                  </a:lnTo>
                  <a:lnTo>
                    <a:pt x="207289" y="107099"/>
                  </a:lnTo>
                  <a:lnTo>
                    <a:pt x="190015" y="93280"/>
                  </a:lnTo>
                  <a:lnTo>
                    <a:pt x="172740" y="93280"/>
                  </a:lnTo>
                  <a:lnTo>
                    <a:pt x="165831" y="114009"/>
                  </a:lnTo>
                  <a:lnTo>
                    <a:pt x="141648" y="134737"/>
                  </a:lnTo>
                  <a:lnTo>
                    <a:pt x="114009" y="134737"/>
                  </a:lnTo>
                  <a:lnTo>
                    <a:pt x="114009" y="100190"/>
                  </a:lnTo>
                  <a:lnTo>
                    <a:pt x="93280" y="79461"/>
                  </a:lnTo>
                  <a:lnTo>
                    <a:pt x="93280" y="179743"/>
                  </a:lnTo>
                  <a:lnTo>
                    <a:pt x="65642" y="197018"/>
                  </a:lnTo>
                  <a:lnTo>
                    <a:pt x="38003" y="197018"/>
                  </a:lnTo>
                  <a:lnTo>
                    <a:pt x="24184" y="190108"/>
                  </a:lnTo>
                  <a:lnTo>
                    <a:pt x="13820" y="176289"/>
                  </a:lnTo>
                  <a:lnTo>
                    <a:pt x="10365" y="176289"/>
                  </a:lnTo>
                  <a:lnTo>
                    <a:pt x="3455" y="179743"/>
                  </a:lnTo>
                  <a:lnTo>
                    <a:pt x="0" y="186653"/>
                  </a:lnTo>
                  <a:lnTo>
                    <a:pt x="10365" y="210837"/>
                  </a:lnTo>
                  <a:lnTo>
                    <a:pt x="20729" y="248840"/>
                  </a:lnTo>
                  <a:lnTo>
                    <a:pt x="38003" y="273023"/>
                  </a:lnTo>
                  <a:lnTo>
                    <a:pt x="51823" y="297207"/>
                  </a:lnTo>
                  <a:lnTo>
                    <a:pt x="34548" y="317936"/>
                  </a:lnTo>
                  <a:lnTo>
                    <a:pt x="48367" y="342120"/>
                  </a:lnTo>
                  <a:lnTo>
                    <a:pt x="58732" y="362848"/>
                  </a:lnTo>
                  <a:lnTo>
                    <a:pt x="86370" y="376667"/>
                  </a:lnTo>
                  <a:lnTo>
                    <a:pt x="120918" y="366303"/>
                  </a:lnTo>
                  <a:lnTo>
                    <a:pt x="152012" y="355939"/>
                  </a:lnTo>
                  <a:lnTo>
                    <a:pt x="190015" y="355939"/>
                  </a:lnTo>
                  <a:lnTo>
                    <a:pt x="221108" y="359393"/>
                  </a:lnTo>
                  <a:lnTo>
                    <a:pt x="245292" y="349029"/>
                  </a:lnTo>
                  <a:lnTo>
                    <a:pt x="283295" y="342120"/>
                  </a:lnTo>
                  <a:lnTo>
                    <a:pt x="324752" y="304117"/>
                  </a:lnTo>
                  <a:lnTo>
                    <a:pt x="362755" y="276478"/>
                  </a:lnTo>
                  <a:lnTo>
                    <a:pt x="386939" y="245385"/>
                  </a:lnTo>
                  <a:lnTo>
                    <a:pt x="397303" y="224656"/>
                  </a:lnTo>
                  <a:lnTo>
                    <a:pt x="424942" y="190108"/>
                  </a:lnTo>
                  <a:lnTo>
                    <a:pt x="438761" y="179743"/>
                  </a:lnTo>
                  <a:lnTo>
                    <a:pt x="438761" y="155560"/>
                  </a:lnTo>
                  <a:lnTo>
                    <a:pt x="449125" y="138286"/>
                  </a:lnTo>
                  <a:lnTo>
                    <a:pt x="421487" y="134831"/>
                  </a:lnTo>
                  <a:lnTo>
                    <a:pt x="421487" y="117557"/>
                  </a:lnTo>
                  <a:close/>
                  <a:moveTo>
                    <a:pt x="354072" y="222882"/>
                  </a:moveTo>
                  <a:lnTo>
                    <a:pt x="346415" y="226150"/>
                  </a:lnTo>
                  <a:lnTo>
                    <a:pt x="338384" y="235394"/>
                  </a:lnTo>
                  <a:lnTo>
                    <a:pt x="325406" y="217186"/>
                  </a:lnTo>
                  <a:lnTo>
                    <a:pt x="336797" y="201313"/>
                  </a:lnTo>
                  <a:lnTo>
                    <a:pt x="352671" y="199072"/>
                  </a:lnTo>
                  <a:lnTo>
                    <a:pt x="360421" y="215319"/>
                  </a:lnTo>
                  <a:lnTo>
                    <a:pt x="354072" y="222975"/>
                  </a:lnTo>
                  <a:close/>
                </a:path>
              </a:pathLst>
            </a:custGeom>
            <a:solidFill>
              <a:srgbClr val="CEE3BF"/>
            </a:solidFill>
            <a:ln w="9334" cap="flat">
              <a:noFill/>
              <a:prstDash val="solid"/>
              <a:miter/>
            </a:ln>
          </p:spPr>
          <p:txBody>
            <a:bodyPr rtlCol="0" anchor="ctr"/>
            <a:lstStyle/>
            <a:p>
              <a:endParaRPr lang="en-GB" dirty="0"/>
            </a:p>
          </p:txBody>
        </p:sp>
        <p:sp>
          <p:nvSpPr>
            <p:cNvPr id="1351" name="Freeform: Shape 1350">
              <a:extLst>
                <a:ext uri="{FF2B5EF4-FFF2-40B4-BE49-F238E27FC236}">
                  <a16:creationId xmlns:a16="http://schemas.microsoft.com/office/drawing/2014/main" id="{8370D71C-0438-43C8-8F6A-1C00EEB36EF3}"/>
                </a:ext>
              </a:extLst>
            </p:cNvPr>
            <p:cNvSpPr/>
            <p:nvPr/>
          </p:nvSpPr>
          <p:spPr>
            <a:xfrm>
              <a:off x="8783304" y="4595397"/>
              <a:ext cx="27638" cy="24183"/>
            </a:xfrm>
            <a:custGeom>
              <a:avLst/>
              <a:gdLst>
                <a:gd name="connsiteX0" fmla="*/ 27638 w 27638"/>
                <a:gd name="connsiteY0" fmla="*/ 6910 h 24183"/>
                <a:gd name="connsiteX1" fmla="*/ 10364 w 27638"/>
                <a:gd name="connsiteY1" fmla="*/ 0 h 24183"/>
                <a:gd name="connsiteX2" fmla="*/ 0 w 27638"/>
                <a:gd name="connsiteY2" fmla="*/ 10365 h 24183"/>
                <a:gd name="connsiteX3" fmla="*/ 10364 w 27638"/>
                <a:gd name="connsiteY3" fmla="*/ 24184 h 24183"/>
                <a:gd name="connsiteX4" fmla="*/ 24183 w 27638"/>
                <a:gd name="connsiteY4" fmla="*/ 20729 h 24183"/>
                <a:gd name="connsiteX5" fmla="*/ 27638 w 27638"/>
                <a:gd name="connsiteY5" fmla="*/ 6910 h 24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38" h="24183">
                  <a:moveTo>
                    <a:pt x="27638" y="6910"/>
                  </a:moveTo>
                  <a:lnTo>
                    <a:pt x="10364" y="0"/>
                  </a:lnTo>
                  <a:lnTo>
                    <a:pt x="0" y="10365"/>
                  </a:lnTo>
                  <a:lnTo>
                    <a:pt x="10364" y="24184"/>
                  </a:lnTo>
                  <a:lnTo>
                    <a:pt x="24183" y="20729"/>
                  </a:lnTo>
                  <a:lnTo>
                    <a:pt x="27638" y="6910"/>
                  </a:lnTo>
                  <a:close/>
                </a:path>
              </a:pathLst>
            </a:custGeom>
            <a:solidFill>
              <a:srgbClr val="CEE3BF"/>
            </a:solidFill>
            <a:ln w="9334" cap="flat">
              <a:noFill/>
              <a:prstDash val="solid"/>
              <a:miter/>
            </a:ln>
          </p:spPr>
          <p:txBody>
            <a:bodyPr rtlCol="0" anchor="ctr"/>
            <a:lstStyle/>
            <a:p>
              <a:endParaRPr lang="en-GB" dirty="0"/>
            </a:p>
          </p:txBody>
        </p:sp>
        <p:sp>
          <p:nvSpPr>
            <p:cNvPr id="1352" name="Freeform: Shape 1351">
              <a:extLst>
                <a:ext uri="{FF2B5EF4-FFF2-40B4-BE49-F238E27FC236}">
                  <a16:creationId xmlns:a16="http://schemas.microsoft.com/office/drawing/2014/main" id="{2EA9D8E9-BF52-44FD-A46A-C011A24CAFC6}"/>
                </a:ext>
              </a:extLst>
            </p:cNvPr>
            <p:cNvSpPr/>
            <p:nvPr/>
          </p:nvSpPr>
          <p:spPr>
            <a:xfrm>
              <a:off x="8724665" y="4567759"/>
              <a:ext cx="44819" cy="48367"/>
            </a:xfrm>
            <a:custGeom>
              <a:avLst/>
              <a:gdLst>
                <a:gd name="connsiteX0" fmla="*/ 24090 w 44819"/>
                <a:gd name="connsiteY0" fmla="*/ 41458 h 48367"/>
                <a:gd name="connsiteX1" fmla="*/ 34455 w 44819"/>
                <a:gd name="connsiteY1" fmla="*/ 48367 h 48367"/>
                <a:gd name="connsiteX2" fmla="*/ 44819 w 44819"/>
                <a:gd name="connsiteY2" fmla="*/ 44912 h 48367"/>
                <a:gd name="connsiteX3" fmla="*/ 41364 w 44819"/>
                <a:gd name="connsiteY3" fmla="*/ 31093 h 48367"/>
                <a:gd name="connsiteX4" fmla="*/ 31000 w 44819"/>
                <a:gd name="connsiteY4" fmla="*/ 27638 h 48367"/>
                <a:gd name="connsiteX5" fmla="*/ 24090 w 44819"/>
                <a:gd name="connsiteY5" fmla="*/ 17274 h 48367"/>
                <a:gd name="connsiteX6" fmla="*/ 20636 w 44819"/>
                <a:gd name="connsiteY6" fmla="*/ 0 h 48367"/>
                <a:gd name="connsiteX7" fmla="*/ 0 w 44819"/>
                <a:gd name="connsiteY7" fmla="*/ 0 h 48367"/>
                <a:gd name="connsiteX8" fmla="*/ 0 w 44819"/>
                <a:gd name="connsiteY8" fmla="*/ 13819 h 48367"/>
                <a:gd name="connsiteX9" fmla="*/ 10364 w 44819"/>
                <a:gd name="connsiteY9" fmla="*/ 17274 h 48367"/>
                <a:gd name="connsiteX10" fmla="*/ 20636 w 44819"/>
                <a:gd name="connsiteY10" fmla="*/ 27638 h 48367"/>
                <a:gd name="connsiteX11" fmla="*/ 24090 w 44819"/>
                <a:gd name="connsiteY11" fmla="*/ 41458 h 4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819" h="48367">
                  <a:moveTo>
                    <a:pt x="24090" y="41458"/>
                  </a:moveTo>
                  <a:lnTo>
                    <a:pt x="34455" y="48367"/>
                  </a:lnTo>
                  <a:lnTo>
                    <a:pt x="44819" y="44912"/>
                  </a:lnTo>
                  <a:lnTo>
                    <a:pt x="41364" y="31093"/>
                  </a:lnTo>
                  <a:lnTo>
                    <a:pt x="31000" y="27638"/>
                  </a:lnTo>
                  <a:lnTo>
                    <a:pt x="24090" y="17274"/>
                  </a:lnTo>
                  <a:lnTo>
                    <a:pt x="20636" y="0"/>
                  </a:lnTo>
                  <a:lnTo>
                    <a:pt x="0" y="0"/>
                  </a:lnTo>
                  <a:lnTo>
                    <a:pt x="0" y="13819"/>
                  </a:lnTo>
                  <a:lnTo>
                    <a:pt x="10364" y="17274"/>
                  </a:lnTo>
                  <a:lnTo>
                    <a:pt x="20636" y="27638"/>
                  </a:lnTo>
                  <a:lnTo>
                    <a:pt x="24090" y="41458"/>
                  </a:lnTo>
                  <a:close/>
                </a:path>
              </a:pathLst>
            </a:custGeom>
            <a:solidFill>
              <a:srgbClr val="CEE3BF"/>
            </a:solidFill>
            <a:ln w="9334" cap="flat">
              <a:noFill/>
              <a:prstDash val="solid"/>
              <a:miter/>
            </a:ln>
          </p:spPr>
          <p:txBody>
            <a:bodyPr rtlCol="0" anchor="ctr"/>
            <a:lstStyle/>
            <a:p>
              <a:endParaRPr lang="en-GB" dirty="0"/>
            </a:p>
          </p:txBody>
        </p:sp>
        <p:sp>
          <p:nvSpPr>
            <p:cNvPr id="1353" name="Freeform: Shape 1352">
              <a:extLst>
                <a:ext uri="{FF2B5EF4-FFF2-40B4-BE49-F238E27FC236}">
                  <a16:creationId xmlns:a16="http://schemas.microsoft.com/office/drawing/2014/main" id="{D70219C1-75E0-4774-9C6C-BCAD9DFE46B2}"/>
                </a:ext>
              </a:extLst>
            </p:cNvPr>
            <p:cNvSpPr/>
            <p:nvPr/>
          </p:nvSpPr>
          <p:spPr>
            <a:xfrm>
              <a:off x="5708991" y="2987978"/>
              <a:ext cx="352110" cy="297300"/>
            </a:xfrm>
            <a:custGeom>
              <a:avLst/>
              <a:gdLst>
                <a:gd name="connsiteX0" fmla="*/ 321017 w 352110"/>
                <a:gd name="connsiteY0" fmla="*/ 241930 h 297300"/>
                <a:gd name="connsiteX1" fmla="*/ 317562 w 352110"/>
                <a:gd name="connsiteY1" fmla="*/ 214291 h 297300"/>
                <a:gd name="connsiteX2" fmla="*/ 324472 w 352110"/>
                <a:gd name="connsiteY2" fmla="*/ 200472 h 297300"/>
                <a:gd name="connsiteX3" fmla="*/ 321017 w 352110"/>
                <a:gd name="connsiteY3" fmla="*/ 193563 h 297300"/>
                <a:gd name="connsiteX4" fmla="*/ 321017 w 352110"/>
                <a:gd name="connsiteY4" fmla="*/ 183198 h 297300"/>
                <a:gd name="connsiteX5" fmla="*/ 321017 w 352110"/>
                <a:gd name="connsiteY5" fmla="*/ 165924 h 297300"/>
                <a:gd name="connsiteX6" fmla="*/ 293379 w 352110"/>
                <a:gd name="connsiteY6" fmla="*/ 165924 h 297300"/>
                <a:gd name="connsiteX7" fmla="*/ 307198 w 352110"/>
                <a:gd name="connsiteY7" fmla="*/ 145195 h 297300"/>
                <a:gd name="connsiteX8" fmla="*/ 324472 w 352110"/>
                <a:gd name="connsiteY8" fmla="*/ 127921 h 297300"/>
                <a:gd name="connsiteX9" fmla="*/ 331382 w 352110"/>
                <a:gd name="connsiteY9" fmla="*/ 127921 h 297300"/>
                <a:gd name="connsiteX10" fmla="*/ 334836 w 352110"/>
                <a:gd name="connsiteY10" fmla="*/ 121012 h 297300"/>
                <a:gd name="connsiteX11" fmla="*/ 334836 w 352110"/>
                <a:gd name="connsiteY11" fmla="*/ 110647 h 297300"/>
                <a:gd name="connsiteX12" fmla="*/ 341746 w 352110"/>
                <a:gd name="connsiteY12" fmla="*/ 96735 h 297300"/>
                <a:gd name="connsiteX13" fmla="*/ 352110 w 352110"/>
                <a:gd name="connsiteY13" fmla="*/ 76006 h 297300"/>
                <a:gd name="connsiteX14" fmla="*/ 348656 w 352110"/>
                <a:gd name="connsiteY14" fmla="*/ 69096 h 297300"/>
                <a:gd name="connsiteX15" fmla="*/ 317562 w 352110"/>
                <a:gd name="connsiteY15" fmla="*/ 69096 h 297300"/>
                <a:gd name="connsiteX16" fmla="*/ 310653 w 352110"/>
                <a:gd name="connsiteY16" fmla="*/ 62187 h 297300"/>
                <a:gd name="connsiteX17" fmla="*/ 300288 w 352110"/>
                <a:gd name="connsiteY17" fmla="*/ 55277 h 297300"/>
                <a:gd name="connsiteX18" fmla="*/ 289924 w 352110"/>
                <a:gd name="connsiteY18" fmla="*/ 55277 h 297300"/>
                <a:gd name="connsiteX19" fmla="*/ 279653 w 352110"/>
                <a:gd name="connsiteY19" fmla="*/ 55277 h 297300"/>
                <a:gd name="connsiteX20" fmla="*/ 265834 w 352110"/>
                <a:gd name="connsiteY20" fmla="*/ 48367 h 297300"/>
                <a:gd name="connsiteX21" fmla="*/ 262379 w 352110"/>
                <a:gd name="connsiteY21" fmla="*/ 41458 h 297300"/>
                <a:gd name="connsiteX22" fmla="*/ 241650 w 352110"/>
                <a:gd name="connsiteY22" fmla="*/ 34548 h 297300"/>
                <a:gd name="connsiteX23" fmla="*/ 217466 w 352110"/>
                <a:gd name="connsiteY23" fmla="*/ 13819 h 297300"/>
                <a:gd name="connsiteX24" fmla="*/ 200192 w 352110"/>
                <a:gd name="connsiteY24" fmla="*/ 0 h 297300"/>
                <a:gd name="connsiteX25" fmla="*/ 182918 w 352110"/>
                <a:gd name="connsiteY25" fmla="*/ 6910 h 297300"/>
                <a:gd name="connsiteX26" fmla="*/ 182918 w 352110"/>
                <a:gd name="connsiteY26" fmla="*/ 31093 h 297300"/>
                <a:gd name="connsiteX27" fmla="*/ 165644 w 352110"/>
                <a:gd name="connsiteY27" fmla="*/ 38003 h 297300"/>
                <a:gd name="connsiteX28" fmla="*/ 145009 w 352110"/>
                <a:gd name="connsiteY28" fmla="*/ 48367 h 297300"/>
                <a:gd name="connsiteX29" fmla="*/ 131190 w 352110"/>
                <a:gd name="connsiteY29" fmla="*/ 58732 h 297300"/>
                <a:gd name="connsiteX30" fmla="*/ 107006 w 352110"/>
                <a:gd name="connsiteY30" fmla="*/ 62187 h 297300"/>
                <a:gd name="connsiteX31" fmla="*/ 93187 w 352110"/>
                <a:gd name="connsiteY31" fmla="*/ 51822 h 297300"/>
                <a:gd name="connsiteX32" fmla="*/ 82822 w 352110"/>
                <a:gd name="connsiteY32" fmla="*/ 51822 h 297300"/>
                <a:gd name="connsiteX33" fmla="*/ 86277 w 352110"/>
                <a:gd name="connsiteY33" fmla="*/ 62187 h 297300"/>
                <a:gd name="connsiteX34" fmla="*/ 93187 w 352110"/>
                <a:gd name="connsiteY34" fmla="*/ 79461 h 297300"/>
                <a:gd name="connsiteX35" fmla="*/ 82822 w 352110"/>
                <a:gd name="connsiteY35" fmla="*/ 89825 h 297300"/>
                <a:gd name="connsiteX36" fmla="*/ 69003 w 352110"/>
                <a:gd name="connsiteY36" fmla="*/ 86370 h 297300"/>
                <a:gd name="connsiteX37" fmla="*/ 55184 w 352110"/>
                <a:gd name="connsiteY37" fmla="*/ 93280 h 297300"/>
                <a:gd name="connsiteX38" fmla="*/ 44819 w 352110"/>
                <a:gd name="connsiteY38" fmla="*/ 82915 h 297300"/>
                <a:gd name="connsiteX39" fmla="*/ 31000 w 352110"/>
                <a:gd name="connsiteY39" fmla="*/ 82915 h 297300"/>
                <a:gd name="connsiteX40" fmla="*/ 13819 w 352110"/>
                <a:gd name="connsiteY40" fmla="*/ 86370 h 297300"/>
                <a:gd name="connsiteX41" fmla="*/ 3455 w 352110"/>
                <a:gd name="connsiteY41" fmla="*/ 89825 h 297300"/>
                <a:gd name="connsiteX42" fmla="*/ 0 w 352110"/>
                <a:gd name="connsiteY42" fmla="*/ 103738 h 297300"/>
                <a:gd name="connsiteX43" fmla="*/ 10365 w 352110"/>
                <a:gd name="connsiteY43" fmla="*/ 114102 h 297300"/>
                <a:gd name="connsiteX44" fmla="*/ 31000 w 352110"/>
                <a:gd name="connsiteY44" fmla="*/ 114102 h 297300"/>
                <a:gd name="connsiteX45" fmla="*/ 44819 w 352110"/>
                <a:gd name="connsiteY45" fmla="*/ 121012 h 297300"/>
                <a:gd name="connsiteX46" fmla="*/ 62093 w 352110"/>
                <a:gd name="connsiteY46" fmla="*/ 131376 h 297300"/>
                <a:gd name="connsiteX47" fmla="*/ 72458 w 352110"/>
                <a:gd name="connsiteY47" fmla="*/ 141740 h 297300"/>
                <a:gd name="connsiteX48" fmla="*/ 75912 w 352110"/>
                <a:gd name="connsiteY48" fmla="*/ 155560 h 297300"/>
                <a:gd name="connsiteX49" fmla="*/ 96641 w 352110"/>
                <a:gd name="connsiteY49" fmla="*/ 169379 h 297300"/>
                <a:gd name="connsiteX50" fmla="*/ 110461 w 352110"/>
                <a:gd name="connsiteY50" fmla="*/ 200472 h 297300"/>
                <a:gd name="connsiteX51" fmla="*/ 96641 w 352110"/>
                <a:gd name="connsiteY51" fmla="*/ 200472 h 297300"/>
                <a:gd name="connsiteX52" fmla="*/ 96641 w 352110"/>
                <a:gd name="connsiteY52" fmla="*/ 221201 h 297300"/>
                <a:gd name="connsiteX53" fmla="*/ 86277 w 352110"/>
                <a:gd name="connsiteY53" fmla="*/ 248840 h 297300"/>
                <a:gd name="connsiteX54" fmla="*/ 86277 w 352110"/>
                <a:gd name="connsiteY54" fmla="*/ 269568 h 297300"/>
                <a:gd name="connsiteX55" fmla="*/ 110461 w 352110"/>
                <a:gd name="connsiteY55" fmla="*/ 280026 h 297300"/>
                <a:gd name="connsiteX56" fmla="*/ 138099 w 352110"/>
                <a:gd name="connsiteY56" fmla="*/ 290391 h 297300"/>
                <a:gd name="connsiteX57" fmla="*/ 158734 w 352110"/>
                <a:gd name="connsiteY57" fmla="*/ 286936 h 297300"/>
                <a:gd name="connsiteX58" fmla="*/ 182918 w 352110"/>
                <a:gd name="connsiteY58" fmla="*/ 297300 h 297300"/>
                <a:gd name="connsiteX59" fmla="*/ 210557 w 352110"/>
                <a:gd name="connsiteY59" fmla="*/ 297300 h 297300"/>
                <a:gd name="connsiteX60" fmla="*/ 210557 w 352110"/>
                <a:gd name="connsiteY60" fmla="*/ 280026 h 297300"/>
                <a:gd name="connsiteX61" fmla="*/ 220921 w 352110"/>
                <a:gd name="connsiteY61" fmla="*/ 269568 h 297300"/>
                <a:gd name="connsiteX62" fmla="*/ 238195 w 352110"/>
                <a:gd name="connsiteY62" fmla="*/ 262659 h 297300"/>
                <a:gd name="connsiteX63" fmla="*/ 258924 w 352110"/>
                <a:gd name="connsiteY63" fmla="*/ 266207 h 297300"/>
                <a:gd name="connsiteX64" fmla="*/ 276198 w 352110"/>
                <a:gd name="connsiteY64" fmla="*/ 269568 h 297300"/>
                <a:gd name="connsiteX65" fmla="*/ 296834 w 352110"/>
                <a:gd name="connsiteY65" fmla="*/ 280026 h 297300"/>
                <a:gd name="connsiteX66" fmla="*/ 314108 w 352110"/>
                <a:gd name="connsiteY66" fmla="*/ 273117 h 297300"/>
                <a:gd name="connsiteX67" fmla="*/ 321017 w 352110"/>
                <a:gd name="connsiteY67" fmla="*/ 259204 h 297300"/>
                <a:gd name="connsiteX68" fmla="*/ 334836 w 352110"/>
                <a:gd name="connsiteY68" fmla="*/ 255749 h 297300"/>
                <a:gd name="connsiteX69" fmla="*/ 334836 w 352110"/>
                <a:gd name="connsiteY69" fmla="*/ 241930 h 297300"/>
                <a:gd name="connsiteX70" fmla="*/ 321017 w 352110"/>
                <a:gd name="connsiteY70" fmla="*/ 241930 h 29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52110" h="297300">
                  <a:moveTo>
                    <a:pt x="321017" y="241930"/>
                  </a:moveTo>
                  <a:lnTo>
                    <a:pt x="317562" y="214291"/>
                  </a:lnTo>
                  <a:lnTo>
                    <a:pt x="324472" y="200472"/>
                  </a:lnTo>
                  <a:lnTo>
                    <a:pt x="321017" y="193563"/>
                  </a:lnTo>
                  <a:lnTo>
                    <a:pt x="321017" y="183198"/>
                  </a:lnTo>
                  <a:lnTo>
                    <a:pt x="321017" y="165924"/>
                  </a:lnTo>
                  <a:lnTo>
                    <a:pt x="293379" y="165924"/>
                  </a:lnTo>
                  <a:lnTo>
                    <a:pt x="307198" y="145195"/>
                  </a:lnTo>
                  <a:lnTo>
                    <a:pt x="324472" y="127921"/>
                  </a:lnTo>
                  <a:lnTo>
                    <a:pt x="331382" y="127921"/>
                  </a:lnTo>
                  <a:lnTo>
                    <a:pt x="334836" y="121012"/>
                  </a:lnTo>
                  <a:lnTo>
                    <a:pt x="334836" y="110647"/>
                  </a:lnTo>
                  <a:lnTo>
                    <a:pt x="341746" y="96735"/>
                  </a:lnTo>
                  <a:lnTo>
                    <a:pt x="352110" y="76006"/>
                  </a:lnTo>
                  <a:lnTo>
                    <a:pt x="348656" y="69096"/>
                  </a:lnTo>
                  <a:lnTo>
                    <a:pt x="317562" y="69096"/>
                  </a:lnTo>
                  <a:lnTo>
                    <a:pt x="310653" y="62187"/>
                  </a:lnTo>
                  <a:lnTo>
                    <a:pt x="300288" y="55277"/>
                  </a:lnTo>
                  <a:lnTo>
                    <a:pt x="289924" y="55277"/>
                  </a:lnTo>
                  <a:lnTo>
                    <a:pt x="279653" y="55277"/>
                  </a:lnTo>
                  <a:lnTo>
                    <a:pt x="265834" y="48367"/>
                  </a:lnTo>
                  <a:lnTo>
                    <a:pt x="262379" y="41458"/>
                  </a:lnTo>
                  <a:lnTo>
                    <a:pt x="241650" y="34548"/>
                  </a:lnTo>
                  <a:lnTo>
                    <a:pt x="217466" y="13819"/>
                  </a:lnTo>
                  <a:lnTo>
                    <a:pt x="200192" y="0"/>
                  </a:lnTo>
                  <a:lnTo>
                    <a:pt x="182918" y="6910"/>
                  </a:lnTo>
                  <a:lnTo>
                    <a:pt x="182918" y="31093"/>
                  </a:lnTo>
                  <a:lnTo>
                    <a:pt x="165644" y="38003"/>
                  </a:lnTo>
                  <a:lnTo>
                    <a:pt x="145009" y="48367"/>
                  </a:lnTo>
                  <a:lnTo>
                    <a:pt x="131190" y="58732"/>
                  </a:lnTo>
                  <a:lnTo>
                    <a:pt x="107006" y="62187"/>
                  </a:lnTo>
                  <a:lnTo>
                    <a:pt x="93187" y="51822"/>
                  </a:lnTo>
                  <a:lnTo>
                    <a:pt x="82822" y="51822"/>
                  </a:lnTo>
                  <a:lnTo>
                    <a:pt x="86277" y="62187"/>
                  </a:lnTo>
                  <a:lnTo>
                    <a:pt x="93187" y="79461"/>
                  </a:lnTo>
                  <a:lnTo>
                    <a:pt x="82822" y="89825"/>
                  </a:lnTo>
                  <a:lnTo>
                    <a:pt x="69003" y="86370"/>
                  </a:lnTo>
                  <a:lnTo>
                    <a:pt x="55184" y="93280"/>
                  </a:lnTo>
                  <a:lnTo>
                    <a:pt x="44819" y="82915"/>
                  </a:lnTo>
                  <a:lnTo>
                    <a:pt x="31000" y="82915"/>
                  </a:lnTo>
                  <a:lnTo>
                    <a:pt x="13819" y="86370"/>
                  </a:lnTo>
                  <a:lnTo>
                    <a:pt x="3455" y="89825"/>
                  </a:lnTo>
                  <a:lnTo>
                    <a:pt x="0" y="103738"/>
                  </a:lnTo>
                  <a:lnTo>
                    <a:pt x="10365" y="114102"/>
                  </a:lnTo>
                  <a:lnTo>
                    <a:pt x="31000" y="114102"/>
                  </a:lnTo>
                  <a:lnTo>
                    <a:pt x="44819" y="121012"/>
                  </a:lnTo>
                  <a:lnTo>
                    <a:pt x="62093" y="131376"/>
                  </a:lnTo>
                  <a:lnTo>
                    <a:pt x="72458" y="141740"/>
                  </a:lnTo>
                  <a:lnTo>
                    <a:pt x="75912" y="155560"/>
                  </a:lnTo>
                  <a:lnTo>
                    <a:pt x="96641" y="169379"/>
                  </a:lnTo>
                  <a:lnTo>
                    <a:pt x="110461" y="200472"/>
                  </a:lnTo>
                  <a:lnTo>
                    <a:pt x="96641" y="200472"/>
                  </a:lnTo>
                  <a:lnTo>
                    <a:pt x="96641" y="221201"/>
                  </a:lnTo>
                  <a:lnTo>
                    <a:pt x="86277" y="248840"/>
                  </a:lnTo>
                  <a:lnTo>
                    <a:pt x="86277" y="269568"/>
                  </a:lnTo>
                  <a:lnTo>
                    <a:pt x="110461" y="280026"/>
                  </a:lnTo>
                  <a:lnTo>
                    <a:pt x="138099" y="290391"/>
                  </a:lnTo>
                  <a:lnTo>
                    <a:pt x="158734" y="286936"/>
                  </a:lnTo>
                  <a:lnTo>
                    <a:pt x="182918" y="297300"/>
                  </a:lnTo>
                  <a:lnTo>
                    <a:pt x="210557" y="297300"/>
                  </a:lnTo>
                  <a:lnTo>
                    <a:pt x="210557" y="280026"/>
                  </a:lnTo>
                  <a:lnTo>
                    <a:pt x="220921" y="269568"/>
                  </a:lnTo>
                  <a:lnTo>
                    <a:pt x="238195" y="262659"/>
                  </a:lnTo>
                  <a:lnTo>
                    <a:pt x="258924" y="266207"/>
                  </a:lnTo>
                  <a:lnTo>
                    <a:pt x="276198" y="269568"/>
                  </a:lnTo>
                  <a:lnTo>
                    <a:pt x="296834" y="280026"/>
                  </a:lnTo>
                  <a:lnTo>
                    <a:pt x="314108" y="273117"/>
                  </a:lnTo>
                  <a:lnTo>
                    <a:pt x="321017" y="259204"/>
                  </a:lnTo>
                  <a:lnTo>
                    <a:pt x="334836" y="255749"/>
                  </a:lnTo>
                  <a:lnTo>
                    <a:pt x="334836" y="241930"/>
                  </a:lnTo>
                  <a:lnTo>
                    <a:pt x="321017" y="241930"/>
                  </a:lnTo>
                  <a:close/>
                </a:path>
              </a:pathLst>
            </a:custGeom>
            <a:solidFill>
              <a:srgbClr val="CEE3BF"/>
            </a:solidFill>
            <a:ln w="9334" cap="flat">
              <a:noFill/>
              <a:prstDash val="solid"/>
              <a:miter/>
            </a:ln>
          </p:spPr>
          <p:txBody>
            <a:bodyPr rtlCol="0" anchor="ctr"/>
            <a:lstStyle/>
            <a:p>
              <a:endParaRPr lang="en-GB" dirty="0"/>
            </a:p>
          </p:txBody>
        </p:sp>
        <p:sp>
          <p:nvSpPr>
            <p:cNvPr id="1354" name="Freeform: Shape 1353">
              <a:extLst>
                <a:ext uri="{FF2B5EF4-FFF2-40B4-BE49-F238E27FC236}">
                  <a16:creationId xmlns:a16="http://schemas.microsoft.com/office/drawing/2014/main" id="{90A0CF97-15D0-4078-908A-6B89FBBCD460}"/>
                </a:ext>
              </a:extLst>
            </p:cNvPr>
            <p:cNvSpPr/>
            <p:nvPr/>
          </p:nvSpPr>
          <p:spPr>
            <a:xfrm>
              <a:off x="5584711" y="3243727"/>
              <a:ext cx="338291" cy="245478"/>
            </a:xfrm>
            <a:custGeom>
              <a:avLst/>
              <a:gdLst>
                <a:gd name="connsiteX0" fmla="*/ 283014 w 338291"/>
                <a:gd name="connsiteY0" fmla="*/ 31187 h 245478"/>
                <a:gd name="connsiteX1" fmla="*/ 262379 w 338291"/>
                <a:gd name="connsiteY1" fmla="*/ 34641 h 245478"/>
                <a:gd name="connsiteX2" fmla="*/ 234740 w 338291"/>
                <a:gd name="connsiteY2" fmla="*/ 24277 h 245478"/>
                <a:gd name="connsiteX3" fmla="*/ 210556 w 338291"/>
                <a:gd name="connsiteY3" fmla="*/ 13819 h 245478"/>
                <a:gd name="connsiteX4" fmla="*/ 196737 w 338291"/>
                <a:gd name="connsiteY4" fmla="*/ 13819 h 245478"/>
                <a:gd name="connsiteX5" fmla="*/ 165644 w 338291"/>
                <a:gd name="connsiteY5" fmla="*/ 10458 h 245478"/>
                <a:gd name="connsiteX6" fmla="*/ 134644 w 338291"/>
                <a:gd name="connsiteY6" fmla="*/ 13819 h 245478"/>
                <a:gd name="connsiteX7" fmla="*/ 113915 w 338291"/>
                <a:gd name="connsiteY7" fmla="*/ 6910 h 245478"/>
                <a:gd name="connsiteX8" fmla="*/ 79367 w 338291"/>
                <a:gd name="connsiteY8" fmla="*/ 3455 h 245478"/>
                <a:gd name="connsiteX9" fmla="*/ 41364 w 338291"/>
                <a:gd name="connsiteY9" fmla="*/ 0 h 245478"/>
                <a:gd name="connsiteX10" fmla="*/ 27545 w 338291"/>
                <a:gd name="connsiteY10" fmla="*/ 6910 h 245478"/>
                <a:gd name="connsiteX11" fmla="*/ 6910 w 338291"/>
                <a:gd name="connsiteY11" fmla="*/ 13819 h 245478"/>
                <a:gd name="connsiteX12" fmla="*/ 0 w 338291"/>
                <a:gd name="connsiteY12" fmla="*/ 20822 h 245478"/>
                <a:gd name="connsiteX13" fmla="*/ 10271 w 338291"/>
                <a:gd name="connsiteY13" fmla="*/ 38096 h 245478"/>
                <a:gd name="connsiteX14" fmla="*/ 17181 w 338291"/>
                <a:gd name="connsiteY14" fmla="*/ 48461 h 245478"/>
                <a:gd name="connsiteX15" fmla="*/ 27545 w 338291"/>
                <a:gd name="connsiteY15" fmla="*/ 51915 h 245478"/>
                <a:gd name="connsiteX16" fmla="*/ 37909 w 338291"/>
                <a:gd name="connsiteY16" fmla="*/ 62280 h 245478"/>
                <a:gd name="connsiteX17" fmla="*/ 75912 w 338291"/>
                <a:gd name="connsiteY17" fmla="*/ 58825 h 245478"/>
                <a:gd name="connsiteX18" fmla="*/ 86277 w 338291"/>
                <a:gd name="connsiteY18" fmla="*/ 72644 h 245478"/>
                <a:gd name="connsiteX19" fmla="*/ 82822 w 338291"/>
                <a:gd name="connsiteY19" fmla="*/ 83009 h 245478"/>
                <a:gd name="connsiteX20" fmla="*/ 65548 w 338291"/>
                <a:gd name="connsiteY20" fmla="*/ 86464 h 245478"/>
                <a:gd name="connsiteX21" fmla="*/ 65548 w 338291"/>
                <a:gd name="connsiteY21" fmla="*/ 127921 h 245478"/>
                <a:gd name="connsiteX22" fmla="*/ 62093 w 338291"/>
                <a:gd name="connsiteY22" fmla="*/ 134831 h 245478"/>
                <a:gd name="connsiteX23" fmla="*/ 51729 w 338291"/>
                <a:gd name="connsiteY23" fmla="*/ 141740 h 245478"/>
                <a:gd name="connsiteX24" fmla="*/ 51729 w 338291"/>
                <a:gd name="connsiteY24" fmla="*/ 148650 h 245478"/>
                <a:gd name="connsiteX25" fmla="*/ 62093 w 338291"/>
                <a:gd name="connsiteY25" fmla="*/ 162469 h 245478"/>
                <a:gd name="connsiteX26" fmla="*/ 51729 w 338291"/>
                <a:gd name="connsiteY26" fmla="*/ 169379 h 245478"/>
                <a:gd name="connsiteX27" fmla="*/ 58638 w 338291"/>
                <a:gd name="connsiteY27" fmla="*/ 190201 h 245478"/>
                <a:gd name="connsiteX28" fmla="*/ 48274 w 338291"/>
                <a:gd name="connsiteY28" fmla="*/ 197111 h 245478"/>
                <a:gd name="connsiteX29" fmla="*/ 55184 w 338291"/>
                <a:gd name="connsiteY29" fmla="*/ 214385 h 245478"/>
                <a:gd name="connsiteX30" fmla="*/ 65548 w 338291"/>
                <a:gd name="connsiteY30" fmla="*/ 214385 h 245478"/>
                <a:gd name="connsiteX31" fmla="*/ 75912 w 338291"/>
                <a:gd name="connsiteY31" fmla="*/ 221294 h 245478"/>
                <a:gd name="connsiteX32" fmla="*/ 79367 w 338291"/>
                <a:gd name="connsiteY32" fmla="*/ 235114 h 245478"/>
                <a:gd name="connsiteX33" fmla="*/ 96641 w 338291"/>
                <a:gd name="connsiteY33" fmla="*/ 245478 h 245478"/>
                <a:gd name="connsiteX34" fmla="*/ 107006 w 338291"/>
                <a:gd name="connsiteY34" fmla="*/ 242023 h 245478"/>
                <a:gd name="connsiteX35" fmla="*/ 127734 w 338291"/>
                <a:gd name="connsiteY35" fmla="*/ 231659 h 245478"/>
                <a:gd name="connsiteX36" fmla="*/ 148370 w 338291"/>
                <a:gd name="connsiteY36" fmla="*/ 228204 h 245478"/>
                <a:gd name="connsiteX37" fmla="*/ 176009 w 338291"/>
                <a:gd name="connsiteY37" fmla="*/ 228204 h 245478"/>
                <a:gd name="connsiteX38" fmla="*/ 200192 w 338291"/>
                <a:gd name="connsiteY38" fmla="*/ 217840 h 245478"/>
                <a:gd name="connsiteX39" fmla="*/ 210556 w 338291"/>
                <a:gd name="connsiteY39" fmla="*/ 200566 h 245478"/>
                <a:gd name="connsiteX40" fmla="*/ 227831 w 338291"/>
                <a:gd name="connsiteY40" fmla="*/ 197111 h 245478"/>
                <a:gd name="connsiteX41" fmla="*/ 241650 w 338291"/>
                <a:gd name="connsiteY41" fmla="*/ 176289 h 245478"/>
                <a:gd name="connsiteX42" fmla="*/ 252014 w 338291"/>
                <a:gd name="connsiteY42" fmla="*/ 165924 h 245478"/>
                <a:gd name="connsiteX43" fmla="*/ 245105 w 338291"/>
                <a:gd name="connsiteY43" fmla="*/ 148650 h 245478"/>
                <a:gd name="connsiteX44" fmla="*/ 248559 w 338291"/>
                <a:gd name="connsiteY44" fmla="*/ 131376 h 245478"/>
                <a:gd name="connsiteX45" fmla="*/ 258924 w 338291"/>
                <a:gd name="connsiteY45" fmla="*/ 117557 h 245478"/>
                <a:gd name="connsiteX46" fmla="*/ 276198 w 338291"/>
                <a:gd name="connsiteY46" fmla="*/ 100283 h 245478"/>
                <a:gd name="connsiteX47" fmla="*/ 286469 w 338291"/>
                <a:gd name="connsiteY47" fmla="*/ 83009 h 245478"/>
                <a:gd name="connsiteX48" fmla="*/ 307198 w 338291"/>
                <a:gd name="connsiteY48" fmla="*/ 83009 h 245478"/>
                <a:gd name="connsiteX49" fmla="*/ 324472 w 338291"/>
                <a:gd name="connsiteY49" fmla="*/ 72644 h 245478"/>
                <a:gd name="connsiteX50" fmla="*/ 334836 w 338291"/>
                <a:gd name="connsiteY50" fmla="*/ 65735 h 245478"/>
                <a:gd name="connsiteX51" fmla="*/ 338291 w 338291"/>
                <a:gd name="connsiteY51" fmla="*/ 48461 h 245478"/>
                <a:gd name="connsiteX52" fmla="*/ 334836 w 338291"/>
                <a:gd name="connsiteY52" fmla="*/ 41551 h 245478"/>
                <a:gd name="connsiteX53" fmla="*/ 307198 w 338291"/>
                <a:gd name="connsiteY53" fmla="*/ 41551 h 245478"/>
                <a:gd name="connsiteX54" fmla="*/ 283014 w 338291"/>
                <a:gd name="connsiteY54" fmla="*/ 31187 h 24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38291" h="245478">
                  <a:moveTo>
                    <a:pt x="283014" y="31187"/>
                  </a:moveTo>
                  <a:lnTo>
                    <a:pt x="262379" y="34641"/>
                  </a:lnTo>
                  <a:lnTo>
                    <a:pt x="234740" y="24277"/>
                  </a:lnTo>
                  <a:lnTo>
                    <a:pt x="210556" y="13819"/>
                  </a:lnTo>
                  <a:lnTo>
                    <a:pt x="196737" y="13819"/>
                  </a:lnTo>
                  <a:lnTo>
                    <a:pt x="165644" y="10458"/>
                  </a:lnTo>
                  <a:lnTo>
                    <a:pt x="134644" y="13819"/>
                  </a:lnTo>
                  <a:lnTo>
                    <a:pt x="113915" y="6910"/>
                  </a:lnTo>
                  <a:lnTo>
                    <a:pt x="79367" y="3455"/>
                  </a:lnTo>
                  <a:lnTo>
                    <a:pt x="41364" y="0"/>
                  </a:lnTo>
                  <a:lnTo>
                    <a:pt x="27545" y="6910"/>
                  </a:lnTo>
                  <a:lnTo>
                    <a:pt x="6910" y="13819"/>
                  </a:lnTo>
                  <a:lnTo>
                    <a:pt x="0" y="20822"/>
                  </a:lnTo>
                  <a:lnTo>
                    <a:pt x="10271" y="38096"/>
                  </a:lnTo>
                  <a:lnTo>
                    <a:pt x="17181" y="48461"/>
                  </a:lnTo>
                  <a:lnTo>
                    <a:pt x="27545" y="51915"/>
                  </a:lnTo>
                  <a:lnTo>
                    <a:pt x="37909" y="62280"/>
                  </a:lnTo>
                  <a:lnTo>
                    <a:pt x="75912" y="58825"/>
                  </a:lnTo>
                  <a:lnTo>
                    <a:pt x="86277" y="72644"/>
                  </a:lnTo>
                  <a:lnTo>
                    <a:pt x="82822" y="83009"/>
                  </a:lnTo>
                  <a:lnTo>
                    <a:pt x="65548" y="86464"/>
                  </a:lnTo>
                  <a:lnTo>
                    <a:pt x="65548" y="127921"/>
                  </a:lnTo>
                  <a:lnTo>
                    <a:pt x="62093" y="134831"/>
                  </a:lnTo>
                  <a:lnTo>
                    <a:pt x="51729" y="141740"/>
                  </a:lnTo>
                  <a:lnTo>
                    <a:pt x="51729" y="148650"/>
                  </a:lnTo>
                  <a:lnTo>
                    <a:pt x="62093" y="162469"/>
                  </a:lnTo>
                  <a:lnTo>
                    <a:pt x="51729" y="169379"/>
                  </a:lnTo>
                  <a:lnTo>
                    <a:pt x="58638" y="190201"/>
                  </a:lnTo>
                  <a:lnTo>
                    <a:pt x="48274" y="197111"/>
                  </a:lnTo>
                  <a:lnTo>
                    <a:pt x="55184" y="214385"/>
                  </a:lnTo>
                  <a:lnTo>
                    <a:pt x="65548" y="214385"/>
                  </a:lnTo>
                  <a:lnTo>
                    <a:pt x="75912" y="221294"/>
                  </a:lnTo>
                  <a:lnTo>
                    <a:pt x="79367" y="235114"/>
                  </a:lnTo>
                  <a:lnTo>
                    <a:pt x="96641" y="245478"/>
                  </a:lnTo>
                  <a:lnTo>
                    <a:pt x="107006" y="242023"/>
                  </a:lnTo>
                  <a:lnTo>
                    <a:pt x="127734" y="231659"/>
                  </a:lnTo>
                  <a:lnTo>
                    <a:pt x="148370" y="228204"/>
                  </a:lnTo>
                  <a:lnTo>
                    <a:pt x="176009" y="228204"/>
                  </a:lnTo>
                  <a:lnTo>
                    <a:pt x="200192" y="217840"/>
                  </a:lnTo>
                  <a:lnTo>
                    <a:pt x="210556" y="200566"/>
                  </a:lnTo>
                  <a:lnTo>
                    <a:pt x="227831" y="197111"/>
                  </a:lnTo>
                  <a:lnTo>
                    <a:pt x="241650" y="176289"/>
                  </a:lnTo>
                  <a:lnTo>
                    <a:pt x="252014" y="165924"/>
                  </a:lnTo>
                  <a:lnTo>
                    <a:pt x="245105" y="148650"/>
                  </a:lnTo>
                  <a:lnTo>
                    <a:pt x="248559" y="131376"/>
                  </a:lnTo>
                  <a:lnTo>
                    <a:pt x="258924" y="117557"/>
                  </a:lnTo>
                  <a:lnTo>
                    <a:pt x="276198" y="100283"/>
                  </a:lnTo>
                  <a:lnTo>
                    <a:pt x="286469" y="83009"/>
                  </a:lnTo>
                  <a:lnTo>
                    <a:pt x="307198" y="83009"/>
                  </a:lnTo>
                  <a:lnTo>
                    <a:pt x="324472" y="72644"/>
                  </a:lnTo>
                  <a:lnTo>
                    <a:pt x="334836" y="65735"/>
                  </a:lnTo>
                  <a:lnTo>
                    <a:pt x="338291" y="48461"/>
                  </a:lnTo>
                  <a:lnTo>
                    <a:pt x="334836" y="41551"/>
                  </a:lnTo>
                  <a:lnTo>
                    <a:pt x="307198" y="41551"/>
                  </a:lnTo>
                  <a:lnTo>
                    <a:pt x="283014" y="31187"/>
                  </a:lnTo>
                  <a:close/>
                </a:path>
              </a:pathLst>
            </a:custGeom>
            <a:solidFill>
              <a:srgbClr val="CEE3BF"/>
            </a:solidFill>
            <a:ln w="9334" cap="flat">
              <a:noFill/>
              <a:prstDash val="solid"/>
              <a:miter/>
            </a:ln>
          </p:spPr>
          <p:txBody>
            <a:bodyPr rtlCol="0" anchor="ctr"/>
            <a:lstStyle/>
            <a:p>
              <a:endParaRPr lang="en-GB" dirty="0"/>
            </a:p>
          </p:txBody>
        </p:sp>
        <p:sp>
          <p:nvSpPr>
            <p:cNvPr id="1355" name="Freeform: Shape 1354">
              <a:extLst>
                <a:ext uri="{FF2B5EF4-FFF2-40B4-BE49-F238E27FC236}">
                  <a16:creationId xmlns:a16="http://schemas.microsoft.com/office/drawing/2014/main" id="{60276942-E758-43B4-A310-FD72A4A6B0FF}"/>
                </a:ext>
              </a:extLst>
            </p:cNvPr>
            <p:cNvSpPr/>
            <p:nvPr/>
          </p:nvSpPr>
          <p:spPr>
            <a:xfrm>
              <a:off x="5909183" y="2977613"/>
              <a:ext cx="103550" cy="65641"/>
            </a:xfrm>
            <a:custGeom>
              <a:avLst/>
              <a:gdLst>
                <a:gd name="connsiteX0" fmla="*/ 41458 w 103550"/>
                <a:gd name="connsiteY0" fmla="*/ 44912 h 65641"/>
                <a:gd name="connsiteX1" fmla="*/ 62187 w 103550"/>
                <a:gd name="connsiteY1" fmla="*/ 51822 h 65641"/>
                <a:gd name="connsiteX2" fmla="*/ 65641 w 103550"/>
                <a:gd name="connsiteY2" fmla="*/ 58732 h 65641"/>
                <a:gd name="connsiteX3" fmla="*/ 79461 w 103550"/>
                <a:gd name="connsiteY3" fmla="*/ 65641 h 65641"/>
                <a:gd name="connsiteX4" fmla="*/ 89732 w 103550"/>
                <a:gd name="connsiteY4" fmla="*/ 65641 h 65641"/>
                <a:gd name="connsiteX5" fmla="*/ 89732 w 103550"/>
                <a:gd name="connsiteY5" fmla="*/ 44912 h 65641"/>
                <a:gd name="connsiteX6" fmla="*/ 100096 w 103550"/>
                <a:gd name="connsiteY6" fmla="*/ 44912 h 65641"/>
                <a:gd name="connsiteX7" fmla="*/ 103551 w 103550"/>
                <a:gd name="connsiteY7" fmla="*/ 34548 h 65641"/>
                <a:gd name="connsiteX8" fmla="*/ 96641 w 103550"/>
                <a:gd name="connsiteY8" fmla="*/ 20729 h 65641"/>
                <a:gd name="connsiteX9" fmla="*/ 86277 w 103550"/>
                <a:gd name="connsiteY9" fmla="*/ 6910 h 65641"/>
                <a:gd name="connsiteX10" fmla="*/ 86277 w 103550"/>
                <a:gd name="connsiteY10" fmla="*/ 6910 h 65641"/>
                <a:gd name="connsiteX11" fmla="*/ 65641 w 103550"/>
                <a:gd name="connsiteY11" fmla="*/ 0 h 65641"/>
                <a:gd name="connsiteX12" fmla="*/ 44912 w 103550"/>
                <a:gd name="connsiteY12" fmla="*/ 3455 h 65641"/>
                <a:gd name="connsiteX13" fmla="*/ 20729 w 103550"/>
                <a:gd name="connsiteY13" fmla="*/ 3455 h 65641"/>
                <a:gd name="connsiteX14" fmla="*/ 0 w 103550"/>
                <a:gd name="connsiteY14" fmla="*/ 10364 h 65641"/>
                <a:gd name="connsiteX15" fmla="*/ 17274 w 103550"/>
                <a:gd name="connsiteY15" fmla="*/ 24184 h 65641"/>
                <a:gd name="connsiteX16" fmla="*/ 41458 w 103550"/>
                <a:gd name="connsiteY16" fmla="*/ 44912 h 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550" h="65641">
                  <a:moveTo>
                    <a:pt x="41458" y="44912"/>
                  </a:moveTo>
                  <a:lnTo>
                    <a:pt x="62187" y="51822"/>
                  </a:lnTo>
                  <a:lnTo>
                    <a:pt x="65641" y="58732"/>
                  </a:lnTo>
                  <a:lnTo>
                    <a:pt x="79461" y="65641"/>
                  </a:lnTo>
                  <a:lnTo>
                    <a:pt x="89732" y="65641"/>
                  </a:lnTo>
                  <a:lnTo>
                    <a:pt x="89732" y="44912"/>
                  </a:lnTo>
                  <a:lnTo>
                    <a:pt x="100096" y="44912"/>
                  </a:lnTo>
                  <a:lnTo>
                    <a:pt x="103551" y="34548"/>
                  </a:lnTo>
                  <a:lnTo>
                    <a:pt x="96641" y="20729"/>
                  </a:lnTo>
                  <a:lnTo>
                    <a:pt x="86277" y="6910"/>
                  </a:lnTo>
                  <a:lnTo>
                    <a:pt x="86277" y="6910"/>
                  </a:lnTo>
                  <a:lnTo>
                    <a:pt x="65641" y="0"/>
                  </a:lnTo>
                  <a:lnTo>
                    <a:pt x="44912" y="3455"/>
                  </a:lnTo>
                  <a:lnTo>
                    <a:pt x="20729" y="3455"/>
                  </a:lnTo>
                  <a:lnTo>
                    <a:pt x="0" y="10364"/>
                  </a:lnTo>
                  <a:lnTo>
                    <a:pt x="17274" y="24184"/>
                  </a:lnTo>
                  <a:lnTo>
                    <a:pt x="41458" y="44912"/>
                  </a:lnTo>
                  <a:close/>
                </a:path>
              </a:pathLst>
            </a:custGeom>
            <a:solidFill>
              <a:srgbClr val="CEE3BF"/>
            </a:solidFill>
            <a:ln w="9334" cap="flat">
              <a:noFill/>
              <a:prstDash val="solid"/>
              <a:miter/>
            </a:ln>
          </p:spPr>
          <p:txBody>
            <a:bodyPr rtlCol="0" anchor="ctr"/>
            <a:lstStyle/>
            <a:p>
              <a:endParaRPr lang="en-GB" dirty="0"/>
            </a:p>
          </p:txBody>
        </p:sp>
        <p:sp>
          <p:nvSpPr>
            <p:cNvPr id="1356" name="Freeform: Shape 1355">
              <a:extLst>
                <a:ext uri="{FF2B5EF4-FFF2-40B4-BE49-F238E27FC236}">
                  <a16:creationId xmlns:a16="http://schemas.microsoft.com/office/drawing/2014/main" id="{9028CDA0-189E-4A73-BB41-371417805F6F}"/>
                </a:ext>
              </a:extLst>
            </p:cNvPr>
            <p:cNvSpPr/>
            <p:nvPr/>
          </p:nvSpPr>
          <p:spPr>
            <a:xfrm>
              <a:off x="5929912" y="2898059"/>
              <a:ext cx="103551" cy="96827"/>
            </a:xfrm>
            <a:custGeom>
              <a:avLst/>
              <a:gdLst>
                <a:gd name="connsiteX0" fmla="*/ 44912 w 103551"/>
                <a:gd name="connsiteY0" fmla="*/ 79554 h 96827"/>
                <a:gd name="connsiteX1" fmla="*/ 58732 w 103551"/>
                <a:gd name="connsiteY1" fmla="*/ 83009 h 96827"/>
                <a:gd name="connsiteX2" fmla="*/ 65548 w 103551"/>
                <a:gd name="connsiteY2" fmla="*/ 86464 h 96827"/>
                <a:gd name="connsiteX3" fmla="*/ 65641 w 103551"/>
                <a:gd name="connsiteY3" fmla="*/ 86464 h 96827"/>
                <a:gd name="connsiteX4" fmla="*/ 75912 w 103551"/>
                <a:gd name="connsiteY4" fmla="*/ 96828 h 96827"/>
                <a:gd name="connsiteX5" fmla="*/ 75912 w 103551"/>
                <a:gd name="connsiteY5" fmla="*/ 79554 h 96827"/>
                <a:gd name="connsiteX6" fmla="*/ 75912 w 103551"/>
                <a:gd name="connsiteY6" fmla="*/ 65735 h 96827"/>
                <a:gd name="connsiteX7" fmla="*/ 86277 w 103551"/>
                <a:gd name="connsiteY7" fmla="*/ 58825 h 96827"/>
                <a:gd name="connsiteX8" fmla="*/ 96641 w 103551"/>
                <a:gd name="connsiteY8" fmla="*/ 51915 h 96827"/>
                <a:gd name="connsiteX9" fmla="*/ 96641 w 103551"/>
                <a:gd name="connsiteY9" fmla="*/ 34548 h 96827"/>
                <a:gd name="connsiteX10" fmla="*/ 103551 w 103551"/>
                <a:gd name="connsiteY10" fmla="*/ 24184 h 96827"/>
                <a:gd name="connsiteX11" fmla="*/ 93187 w 103551"/>
                <a:gd name="connsiteY11" fmla="*/ 0 h 96827"/>
                <a:gd name="connsiteX12" fmla="*/ 72458 w 103551"/>
                <a:gd name="connsiteY12" fmla="*/ 3455 h 96827"/>
                <a:gd name="connsiteX13" fmla="*/ 58732 w 103551"/>
                <a:gd name="connsiteY13" fmla="*/ 13819 h 96827"/>
                <a:gd name="connsiteX14" fmla="*/ 65641 w 103551"/>
                <a:gd name="connsiteY14" fmla="*/ 34548 h 96827"/>
                <a:gd name="connsiteX15" fmla="*/ 55277 w 103551"/>
                <a:gd name="connsiteY15" fmla="*/ 41458 h 96827"/>
                <a:gd name="connsiteX16" fmla="*/ 51822 w 103551"/>
                <a:gd name="connsiteY16" fmla="*/ 31093 h 96827"/>
                <a:gd name="connsiteX17" fmla="*/ 44912 w 103551"/>
                <a:gd name="connsiteY17" fmla="*/ 20729 h 96827"/>
                <a:gd name="connsiteX18" fmla="*/ 31093 w 103551"/>
                <a:gd name="connsiteY18" fmla="*/ 27639 h 96827"/>
                <a:gd name="connsiteX19" fmla="*/ 27638 w 103551"/>
                <a:gd name="connsiteY19" fmla="*/ 38003 h 96827"/>
                <a:gd name="connsiteX20" fmla="*/ 27638 w 103551"/>
                <a:gd name="connsiteY20" fmla="*/ 55370 h 96827"/>
                <a:gd name="connsiteX21" fmla="*/ 17274 w 103551"/>
                <a:gd name="connsiteY21" fmla="*/ 69190 h 96827"/>
                <a:gd name="connsiteX22" fmla="*/ 0 w 103551"/>
                <a:gd name="connsiteY22" fmla="*/ 83009 h 96827"/>
                <a:gd name="connsiteX23" fmla="*/ 24184 w 103551"/>
                <a:gd name="connsiteY23" fmla="*/ 83009 h 96827"/>
                <a:gd name="connsiteX24" fmla="*/ 44912 w 103551"/>
                <a:gd name="connsiteY24" fmla="*/ 79554 h 9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551" h="96827">
                  <a:moveTo>
                    <a:pt x="44912" y="79554"/>
                  </a:moveTo>
                  <a:lnTo>
                    <a:pt x="58732" y="83009"/>
                  </a:lnTo>
                  <a:lnTo>
                    <a:pt x="65548" y="86464"/>
                  </a:lnTo>
                  <a:lnTo>
                    <a:pt x="65641" y="86464"/>
                  </a:lnTo>
                  <a:lnTo>
                    <a:pt x="75912" y="96828"/>
                  </a:lnTo>
                  <a:lnTo>
                    <a:pt x="75912" y="79554"/>
                  </a:lnTo>
                  <a:lnTo>
                    <a:pt x="75912" y="65735"/>
                  </a:lnTo>
                  <a:lnTo>
                    <a:pt x="86277" y="58825"/>
                  </a:lnTo>
                  <a:lnTo>
                    <a:pt x="96641" y="51915"/>
                  </a:lnTo>
                  <a:lnTo>
                    <a:pt x="96641" y="34548"/>
                  </a:lnTo>
                  <a:lnTo>
                    <a:pt x="103551" y="24184"/>
                  </a:lnTo>
                  <a:lnTo>
                    <a:pt x="93187" y="0"/>
                  </a:lnTo>
                  <a:lnTo>
                    <a:pt x="72458" y="3455"/>
                  </a:lnTo>
                  <a:lnTo>
                    <a:pt x="58732" y="13819"/>
                  </a:lnTo>
                  <a:lnTo>
                    <a:pt x="65641" y="34548"/>
                  </a:lnTo>
                  <a:lnTo>
                    <a:pt x="55277" y="41458"/>
                  </a:lnTo>
                  <a:lnTo>
                    <a:pt x="51822" y="31093"/>
                  </a:lnTo>
                  <a:lnTo>
                    <a:pt x="44912" y="20729"/>
                  </a:lnTo>
                  <a:lnTo>
                    <a:pt x="31093" y="27639"/>
                  </a:lnTo>
                  <a:lnTo>
                    <a:pt x="27638" y="38003"/>
                  </a:lnTo>
                  <a:lnTo>
                    <a:pt x="27638" y="55370"/>
                  </a:lnTo>
                  <a:lnTo>
                    <a:pt x="17274" y="69190"/>
                  </a:lnTo>
                  <a:lnTo>
                    <a:pt x="0" y="83009"/>
                  </a:lnTo>
                  <a:lnTo>
                    <a:pt x="24184" y="83009"/>
                  </a:lnTo>
                  <a:lnTo>
                    <a:pt x="44912" y="79554"/>
                  </a:lnTo>
                  <a:close/>
                </a:path>
              </a:pathLst>
            </a:custGeom>
            <a:solidFill>
              <a:srgbClr val="CEE3BF"/>
            </a:solidFill>
            <a:ln w="9334" cap="flat">
              <a:noFill/>
              <a:prstDash val="solid"/>
              <a:miter/>
            </a:ln>
          </p:spPr>
          <p:txBody>
            <a:bodyPr rtlCol="0" anchor="ctr"/>
            <a:lstStyle/>
            <a:p>
              <a:endParaRPr lang="en-GB" dirty="0"/>
            </a:p>
          </p:txBody>
        </p:sp>
        <p:sp>
          <p:nvSpPr>
            <p:cNvPr id="1357" name="Freeform: Shape 1356">
              <a:extLst>
                <a:ext uri="{FF2B5EF4-FFF2-40B4-BE49-F238E27FC236}">
                  <a16:creationId xmlns:a16="http://schemas.microsoft.com/office/drawing/2014/main" id="{25DF8D07-57AF-49A6-AA32-D1758E58ED15}"/>
                </a:ext>
              </a:extLst>
            </p:cNvPr>
            <p:cNvSpPr/>
            <p:nvPr/>
          </p:nvSpPr>
          <p:spPr>
            <a:xfrm>
              <a:off x="5974824" y="2977613"/>
              <a:ext cx="20635" cy="6909"/>
            </a:xfrm>
            <a:custGeom>
              <a:avLst/>
              <a:gdLst>
                <a:gd name="connsiteX0" fmla="*/ 0 w 20635"/>
                <a:gd name="connsiteY0" fmla="*/ 0 h 6909"/>
                <a:gd name="connsiteX1" fmla="*/ 20635 w 20635"/>
                <a:gd name="connsiteY1" fmla="*/ 6910 h 6909"/>
                <a:gd name="connsiteX2" fmla="*/ 13819 w 20635"/>
                <a:gd name="connsiteY2" fmla="*/ 3455 h 6909"/>
                <a:gd name="connsiteX3" fmla="*/ 0 w 20635"/>
                <a:gd name="connsiteY3" fmla="*/ 0 h 6909"/>
              </a:gdLst>
              <a:ahLst/>
              <a:cxnLst>
                <a:cxn ang="0">
                  <a:pos x="connsiteX0" y="connsiteY0"/>
                </a:cxn>
                <a:cxn ang="0">
                  <a:pos x="connsiteX1" y="connsiteY1"/>
                </a:cxn>
                <a:cxn ang="0">
                  <a:pos x="connsiteX2" y="connsiteY2"/>
                </a:cxn>
                <a:cxn ang="0">
                  <a:pos x="connsiteX3" y="connsiteY3"/>
                </a:cxn>
              </a:cxnLst>
              <a:rect l="l" t="t" r="r" b="b"/>
              <a:pathLst>
                <a:path w="20635" h="6909">
                  <a:moveTo>
                    <a:pt x="0" y="0"/>
                  </a:moveTo>
                  <a:lnTo>
                    <a:pt x="20635" y="6910"/>
                  </a:lnTo>
                  <a:lnTo>
                    <a:pt x="13819" y="3455"/>
                  </a:lnTo>
                  <a:lnTo>
                    <a:pt x="0" y="0"/>
                  </a:lnTo>
                  <a:close/>
                </a:path>
              </a:pathLst>
            </a:custGeom>
            <a:solidFill>
              <a:srgbClr val="CEE3BF"/>
            </a:solidFill>
            <a:ln w="9334" cap="flat">
              <a:noFill/>
              <a:prstDash val="solid"/>
              <a:miter/>
            </a:ln>
          </p:spPr>
          <p:txBody>
            <a:bodyPr rtlCol="0" anchor="ctr"/>
            <a:lstStyle/>
            <a:p>
              <a:endParaRPr lang="en-GB" dirty="0"/>
            </a:p>
          </p:txBody>
        </p:sp>
        <p:sp>
          <p:nvSpPr>
            <p:cNvPr id="1358" name="Freeform: Shape 1357">
              <a:extLst>
                <a:ext uri="{FF2B5EF4-FFF2-40B4-BE49-F238E27FC236}">
                  <a16:creationId xmlns:a16="http://schemas.microsoft.com/office/drawing/2014/main" id="{24639924-879E-445D-A790-D0CB1485E560}"/>
                </a:ext>
              </a:extLst>
            </p:cNvPr>
            <p:cNvSpPr/>
            <p:nvPr/>
          </p:nvSpPr>
          <p:spPr>
            <a:xfrm>
              <a:off x="6026553" y="3129718"/>
              <a:ext cx="322790" cy="304209"/>
            </a:xfrm>
            <a:custGeom>
              <a:avLst/>
              <a:gdLst>
                <a:gd name="connsiteX0" fmla="*/ 274517 w 322790"/>
                <a:gd name="connsiteY0" fmla="*/ 273023 h 304209"/>
                <a:gd name="connsiteX1" fmla="*/ 288336 w 322790"/>
                <a:gd name="connsiteY1" fmla="*/ 269569 h 304209"/>
                <a:gd name="connsiteX2" fmla="*/ 284881 w 322790"/>
                <a:gd name="connsiteY2" fmla="*/ 262659 h 304209"/>
                <a:gd name="connsiteX3" fmla="*/ 277972 w 322790"/>
                <a:gd name="connsiteY3" fmla="*/ 255749 h 304209"/>
                <a:gd name="connsiteX4" fmla="*/ 267608 w 322790"/>
                <a:gd name="connsiteY4" fmla="*/ 241930 h 304209"/>
                <a:gd name="connsiteX5" fmla="*/ 274517 w 322790"/>
                <a:gd name="connsiteY5" fmla="*/ 228111 h 304209"/>
                <a:gd name="connsiteX6" fmla="*/ 288336 w 322790"/>
                <a:gd name="connsiteY6" fmla="*/ 224656 h 304209"/>
                <a:gd name="connsiteX7" fmla="*/ 302156 w 322790"/>
                <a:gd name="connsiteY7" fmla="*/ 235020 h 304209"/>
                <a:gd name="connsiteX8" fmla="*/ 312427 w 322790"/>
                <a:gd name="connsiteY8" fmla="*/ 245385 h 304209"/>
                <a:gd name="connsiteX9" fmla="*/ 322791 w 322790"/>
                <a:gd name="connsiteY9" fmla="*/ 238475 h 304209"/>
                <a:gd name="connsiteX10" fmla="*/ 315881 w 322790"/>
                <a:gd name="connsiteY10" fmla="*/ 228111 h 304209"/>
                <a:gd name="connsiteX11" fmla="*/ 302156 w 322790"/>
                <a:gd name="connsiteY11" fmla="*/ 214292 h 304209"/>
                <a:gd name="connsiteX12" fmla="*/ 277972 w 322790"/>
                <a:gd name="connsiteY12" fmla="*/ 203927 h 304209"/>
                <a:gd name="connsiteX13" fmla="*/ 260698 w 322790"/>
                <a:gd name="connsiteY13" fmla="*/ 197018 h 304209"/>
                <a:gd name="connsiteX14" fmla="*/ 250333 w 322790"/>
                <a:gd name="connsiteY14" fmla="*/ 186653 h 304209"/>
                <a:gd name="connsiteX15" fmla="*/ 257243 w 322790"/>
                <a:gd name="connsiteY15" fmla="*/ 183198 h 304209"/>
                <a:gd name="connsiteX16" fmla="*/ 250333 w 322790"/>
                <a:gd name="connsiteY16" fmla="*/ 176289 h 304209"/>
                <a:gd name="connsiteX17" fmla="*/ 222695 w 322790"/>
                <a:gd name="connsiteY17" fmla="*/ 176289 h 304209"/>
                <a:gd name="connsiteX18" fmla="*/ 205421 w 322790"/>
                <a:gd name="connsiteY18" fmla="*/ 162469 h 304209"/>
                <a:gd name="connsiteX19" fmla="*/ 195056 w 322790"/>
                <a:gd name="connsiteY19" fmla="*/ 145195 h 304209"/>
                <a:gd name="connsiteX20" fmla="*/ 191602 w 322790"/>
                <a:gd name="connsiteY20" fmla="*/ 124466 h 304209"/>
                <a:gd name="connsiteX21" fmla="*/ 174328 w 322790"/>
                <a:gd name="connsiteY21" fmla="*/ 114009 h 304209"/>
                <a:gd name="connsiteX22" fmla="*/ 157147 w 322790"/>
                <a:gd name="connsiteY22" fmla="*/ 103644 h 304209"/>
                <a:gd name="connsiteX23" fmla="*/ 143328 w 322790"/>
                <a:gd name="connsiteY23" fmla="*/ 89825 h 304209"/>
                <a:gd name="connsiteX24" fmla="*/ 143328 w 322790"/>
                <a:gd name="connsiteY24" fmla="*/ 72551 h 304209"/>
                <a:gd name="connsiteX25" fmla="*/ 143328 w 322790"/>
                <a:gd name="connsiteY25" fmla="*/ 55277 h 304209"/>
                <a:gd name="connsiteX26" fmla="*/ 163963 w 322790"/>
                <a:gd name="connsiteY26" fmla="*/ 44912 h 304209"/>
                <a:gd name="connsiteX27" fmla="*/ 174328 w 322790"/>
                <a:gd name="connsiteY27" fmla="*/ 41458 h 304209"/>
                <a:gd name="connsiteX28" fmla="*/ 177783 w 322790"/>
                <a:gd name="connsiteY28" fmla="*/ 27639 h 304209"/>
                <a:gd name="connsiteX29" fmla="*/ 188147 w 322790"/>
                <a:gd name="connsiteY29" fmla="*/ 13819 h 304209"/>
                <a:gd name="connsiteX30" fmla="*/ 160508 w 322790"/>
                <a:gd name="connsiteY30" fmla="*/ 17274 h 304209"/>
                <a:gd name="connsiteX31" fmla="*/ 143328 w 322790"/>
                <a:gd name="connsiteY31" fmla="*/ 10364 h 304209"/>
                <a:gd name="connsiteX32" fmla="*/ 143328 w 322790"/>
                <a:gd name="connsiteY32" fmla="*/ 0 h 304209"/>
                <a:gd name="connsiteX33" fmla="*/ 117370 w 322790"/>
                <a:gd name="connsiteY33" fmla="*/ 0 h 304209"/>
                <a:gd name="connsiteX34" fmla="*/ 113915 w 322790"/>
                <a:gd name="connsiteY34" fmla="*/ 10364 h 304209"/>
                <a:gd name="connsiteX35" fmla="*/ 96735 w 322790"/>
                <a:gd name="connsiteY35" fmla="*/ 10364 h 304209"/>
                <a:gd name="connsiteX36" fmla="*/ 89825 w 322790"/>
                <a:gd name="connsiteY36" fmla="*/ 24184 h 304209"/>
                <a:gd name="connsiteX37" fmla="*/ 72551 w 322790"/>
                <a:gd name="connsiteY37" fmla="*/ 27639 h 304209"/>
                <a:gd name="connsiteX38" fmla="*/ 62187 w 322790"/>
                <a:gd name="connsiteY38" fmla="*/ 17274 h 304209"/>
                <a:gd name="connsiteX39" fmla="*/ 62187 w 322790"/>
                <a:gd name="connsiteY39" fmla="*/ 34548 h 304209"/>
                <a:gd name="connsiteX40" fmla="*/ 55277 w 322790"/>
                <a:gd name="connsiteY40" fmla="*/ 38003 h 304209"/>
                <a:gd name="connsiteX41" fmla="*/ 55277 w 322790"/>
                <a:gd name="connsiteY41" fmla="*/ 38003 h 304209"/>
                <a:gd name="connsiteX42" fmla="*/ 55277 w 322790"/>
                <a:gd name="connsiteY42" fmla="*/ 38003 h 304209"/>
                <a:gd name="connsiteX43" fmla="*/ 44912 w 322790"/>
                <a:gd name="connsiteY43" fmla="*/ 34548 h 304209"/>
                <a:gd name="connsiteX44" fmla="*/ 34548 w 322790"/>
                <a:gd name="connsiteY44" fmla="*/ 27639 h 304209"/>
                <a:gd name="connsiteX45" fmla="*/ 27638 w 322790"/>
                <a:gd name="connsiteY45" fmla="*/ 31093 h 304209"/>
                <a:gd name="connsiteX46" fmla="*/ 27638 w 322790"/>
                <a:gd name="connsiteY46" fmla="*/ 38003 h 304209"/>
                <a:gd name="connsiteX47" fmla="*/ 3455 w 322790"/>
                <a:gd name="connsiteY47" fmla="*/ 41458 h 304209"/>
                <a:gd name="connsiteX48" fmla="*/ 3455 w 322790"/>
                <a:gd name="connsiteY48" fmla="*/ 51822 h 304209"/>
                <a:gd name="connsiteX49" fmla="*/ 6910 w 322790"/>
                <a:gd name="connsiteY49" fmla="*/ 58732 h 304209"/>
                <a:gd name="connsiteX50" fmla="*/ 0 w 322790"/>
                <a:gd name="connsiteY50" fmla="*/ 72551 h 304209"/>
                <a:gd name="connsiteX51" fmla="*/ 3455 w 322790"/>
                <a:gd name="connsiteY51" fmla="*/ 100190 h 304209"/>
                <a:gd name="connsiteX52" fmla="*/ 17274 w 322790"/>
                <a:gd name="connsiteY52" fmla="*/ 100190 h 304209"/>
                <a:gd name="connsiteX53" fmla="*/ 17274 w 322790"/>
                <a:gd name="connsiteY53" fmla="*/ 114009 h 304209"/>
                <a:gd name="connsiteX54" fmla="*/ 31093 w 322790"/>
                <a:gd name="connsiteY54" fmla="*/ 110554 h 304209"/>
                <a:gd name="connsiteX55" fmla="*/ 34548 w 322790"/>
                <a:gd name="connsiteY55" fmla="*/ 100190 h 304209"/>
                <a:gd name="connsiteX56" fmla="*/ 44912 w 322790"/>
                <a:gd name="connsiteY56" fmla="*/ 89825 h 304209"/>
                <a:gd name="connsiteX57" fmla="*/ 69096 w 322790"/>
                <a:gd name="connsiteY57" fmla="*/ 96735 h 304209"/>
                <a:gd name="connsiteX58" fmla="*/ 89825 w 322790"/>
                <a:gd name="connsiteY58" fmla="*/ 103644 h 304209"/>
                <a:gd name="connsiteX59" fmla="*/ 93280 w 322790"/>
                <a:gd name="connsiteY59" fmla="*/ 117464 h 304209"/>
                <a:gd name="connsiteX60" fmla="*/ 96735 w 322790"/>
                <a:gd name="connsiteY60" fmla="*/ 145195 h 304209"/>
                <a:gd name="connsiteX61" fmla="*/ 129508 w 322790"/>
                <a:gd name="connsiteY61" fmla="*/ 159015 h 304209"/>
                <a:gd name="connsiteX62" fmla="*/ 143328 w 322790"/>
                <a:gd name="connsiteY62" fmla="*/ 165924 h 304209"/>
                <a:gd name="connsiteX63" fmla="*/ 163963 w 322790"/>
                <a:gd name="connsiteY63" fmla="*/ 193563 h 304209"/>
                <a:gd name="connsiteX64" fmla="*/ 188147 w 322790"/>
                <a:gd name="connsiteY64" fmla="*/ 193563 h 304209"/>
                <a:gd name="connsiteX65" fmla="*/ 205421 w 322790"/>
                <a:gd name="connsiteY65" fmla="*/ 217746 h 304209"/>
                <a:gd name="connsiteX66" fmla="*/ 222695 w 322790"/>
                <a:gd name="connsiteY66" fmla="*/ 217746 h 304209"/>
                <a:gd name="connsiteX67" fmla="*/ 226150 w 322790"/>
                <a:gd name="connsiteY67" fmla="*/ 228111 h 304209"/>
                <a:gd name="connsiteX68" fmla="*/ 246878 w 322790"/>
                <a:gd name="connsiteY68" fmla="*/ 235020 h 304209"/>
                <a:gd name="connsiteX69" fmla="*/ 253789 w 322790"/>
                <a:gd name="connsiteY69" fmla="*/ 255749 h 304209"/>
                <a:gd name="connsiteX70" fmla="*/ 246878 w 322790"/>
                <a:gd name="connsiteY70" fmla="*/ 279933 h 304209"/>
                <a:gd name="connsiteX71" fmla="*/ 243424 w 322790"/>
                <a:gd name="connsiteY71" fmla="*/ 293752 h 304209"/>
                <a:gd name="connsiteX72" fmla="*/ 250333 w 322790"/>
                <a:gd name="connsiteY72" fmla="*/ 304210 h 304209"/>
                <a:gd name="connsiteX73" fmla="*/ 260698 w 322790"/>
                <a:gd name="connsiteY73" fmla="*/ 297300 h 304209"/>
                <a:gd name="connsiteX74" fmla="*/ 271062 w 322790"/>
                <a:gd name="connsiteY74" fmla="*/ 283388 h 304209"/>
                <a:gd name="connsiteX75" fmla="*/ 274517 w 322790"/>
                <a:gd name="connsiteY75" fmla="*/ 273023 h 30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22790" h="304209">
                  <a:moveTo>
                    <a:pt x="274517" y="273023"/>
                  </a:moveTo>
                  <a:lnTo>
                    <a:pt x="288336" y="269569"/>
                  </a:lnTo>
                  <a:lnTo>
                    <a:pt x="284881" y="262659"/>
                  </a:lnTo>
                  <a:lnTo>
                    <a:pt x="277972" y="255749"/>
                  </a:lnTo>
                  <a:lnTo>
                    <a:pt x="267608" y="241930"/>
                  </a:lnTo>
                  <a:lnTo>
                    <a:pt x="274517" y="228111"/>
                  </a:lnTo>
                  <a:lnTo>
                    <a:pt x="288336" y="224656"/>
                  </a:lnTo>
                  <a:lnTo>
                    <a:pt x="302156" y="235020"/>
                  </a:lnTo>
                  <a:lnTo>
                    <a:pt x="312427" y="245385"/>
                  </a:lnTo>
                  <a:lnTo>
                    <a:pt x="322791" y="238475"/>
                  </a:lnTo>
                  <a:lnTo>
                    <a:pt x="315881" y="228111"/>
                  </a:lnTo>
                  <a:lnTo>
                    <a:pt x="302156" y="214292"/>
                  </a:lnTo>
                  <a:lnTo>
                    <a:pt x="277972" y="203927"/>
                  </a:lnTo>
                  <a:lnTo>
                    <a:pt x="260698" y="197018"/>
                  </a:lnTo>
                  <a:lnTo>
                    <a:pt x="250333" y="186653"/>
                  </a:lnTo>
                  <a:lnTo>
                    <a:pt x="257243" y="183198"/>
                  </a:lnTo>
                  <a:lnTo>
                    <a:pt x="250333" y="176289"/>
                  </a:lnTo>
                  <a:lnTo>
                    <a:pt x="222695" y="176289"/>
                  </a:lnTo>
                  <a:lnTo>
                    <a:pt x="205421" y="162469"/>
                  </a:lnTo>
                  <a:lnTo>
                    <a:pt x="195056" y="145195"/>
                  </a:lnTo>
                  <a:lnTo>
                    <a:pt x="191602" y="124466"/>
                  </a:lnTo>
                  <a:lnTo>
                    <a:pt x="174328" y="114009"/>
                  </a:lnTo>
                  <a:lnTo>
                    <a:pt x="157147" y="103644"/>
                  </a:lnTo>
                  <a:lnTo>
                    <a:pt x="143328" y="89825"/>
                  </a:lnTo>
                  <a:lnTo>
                    <a:pt x="143328" y="72551"/>
                  </a:lnTo>
                  <a:lnTo>
                    <a:pt x="143328" y="55277"/>
                  </a:lnTo>
                  <a:lnTo>
                    <a:pt x="163963" y="44912"/>
                  </a:lnTo>
                  <a:lnTo>
                    <a:pt x="174328" y="41458"/>
                  </a:lnTo>
                  <a:lnTo>
                    <a:pt x="177783" y="27639"/>
                  </a:lnTo>
                  <a:lnTo>
                    <a:pt x="188147" y="13819"/>
                  </a:lnTo>
                  <a:lnTo>
                    <a:pt x="160508" y="17274"/>
                  </a:lnTo>
                  <a:lnTo>
                    <a:pt x="143328" y="10364"/>
                  </a:lnTo>
                  <a:lnTo>
                    <a:pt x="143328" y="0"/>
                  </a:lnTo>
                  <a:lnTo>
                    <a:pt x="117370" y="0"/>
                  </a:lnTo>
                  <a:lnTo>
                    <a:pt x="113915" y="10364"/>
                  </a:lnTo>
                  <a:lnTo>
                    <a:pt x="96735" y="10364"/>
                  </a:lnTo>
                  <a:lnTo>
                    <a:pt x="89825" y="24184"/>
                  </a:lnTo>
                  <a:lnTo>
                    <a:pt x="72551" y="27639"/>
                  </a:lnTo>
                  <a:lnTo>
                    <a:pt x="62187" y="17274"/>
                  </a:lnTo>
                  <a:lnTo>
                    <a:pt x="62187" y="34548"/>
                  </a:lnTo>
                  <a:lnTo>
                    <a:pt x="55277" y="38003"/>
                  </a:lnTo>
                  <a:lnTo>
                    <a:pt x="55277" y="38003"/>
                  </a:lnTo>
                  <a:lnTo>
                    <a:pt x="55277" y="38003"/>
                  </a:lnTo>
                  <a:lnTo>
                    <a:pt x="44912" y="34548"/>
                  </a:lnTo>
                  <a:lnTo>
                    <a:pt x="34548" y="27639"/>
                  </a:lnTo>
                  <a:lnTo>
                    <a:pt x="27638" y="31093"/>
                  </a:lnTo>
                  <a:lnTo>
                    <a:pt x="27638" y="38003"/>
                  </a:lnTo>
                  <a:lnTo>
                    <a:pt x="3455" y="41458"/>
                  </a:lnTo>
                  <a:lnTo>
                    <a:pt x="3455" y="51822"/>
                  </a:lnTo>
                  <a:lnTo>
                    <a:pt x="6910" y="58732"/>
                  </a:lnTo>
                  <a:lnTo>
                    <a:pt x="0" y="72551"/>
                  </a:lnTo>
                  <a:lnTo>
                    <a:pt x="3455" y="100190"/>
                  </a:lnTo>
                  <a:lnTo>
                    <a:pt x="17274" y="100190"/>
                  </a:lnTo>
                  <a:lnTo>
                    <a:pt x="17274" y="114009"/>
                  </a:lnTo>
                  <a:lnTo>
                    <a:pt x="31093" y="110554"/>
                  </a:lnTo>
                  <a:lnTo>
                    <a:pt x="34548" y="100190"/>
                  </a:lnTo>
                  <a:lnTo>
                    <a:pt x="44912" y="89825"/>
                  </a:lnTo>
                  <a:lnTo>
                    <a:pt x="69096" y="96735"/>
                  </a:lnTo>
                  <a:lnTo>
                    <a:pt x="89825" y="103644"/>
                  </a:lnTo>
                  <a:lnTo>
                    <a:pt x="93280" y="117464"/>
                  </a:lnTo>
                  <a:lnTo>
                    <a:pt x="96735" y="145195"/>
                  </a:lnTo>
                  <a:lnTo>
                    <a:pt x="129508" y="159015"/>
                  </a:lnTo>
                  <a:lnTo>
                    <a:pt x="143328" y="165924"/>
                  </a:lnTo>
                  <a:lnTo>
                    <a:pt x="163963" y="193563"/>
                  </a:lnTo>
                  <a:lnTo>
                    <a:pt x="188147" y="193563"/>
                  </a:lnTo>
                  <a:lnTo>
                    <a:pt x="205421" y="217746"/>
                  </a:lnTo>
                  <a:lnTo>
                    <a:pt x="222695" y="217746"/>
                  </a:lnTo>
                  <a:lnTo>
                    <a:pt x="226150" y="228111"/>
                  </a:lnTo>
                  <a:lnTo>
                    <a:pt x="246878" y="235020"/>
                  </a:lnTo>
                  <a:lnTo>
                    <a:pt x="253789" y="255749"/>
                  </a:lnTo>
                  <a:lnTo>
                    <a:pt x="246878" y="279933"/>
                  </a:lnTo>
                  <a:lnTo>
                    <a:pt x="243424" y="293752"/>
                  </a:lnTo>
                  <a:lnTo>
                    <a:pt x="250333" y="304210"/>
                  </a:lnTo>
                  <a:lnTo>
                    <a:pt x="260698" y="297300"/>
                  </a:lnTo>
                  <a:lnTo>
                    <a:pt x="271062" y="283388"/>
                  </a:lnTo>
                  <a:lnTo>
                    <a:pt x="274517" y="273023"/>
                  </a:lnTo>
                  <a:close/>
                </a:path>
              </a:pathLst>
            </a:custGeom>
            <a:solidFill>
              <a:srgbClr val="CEE3BF"/>
            </a:solidFill>
            <a:ln w="9334" cap="flat">
              <a:noFill/>
              <a:prstDash val="solid"/>
              <a:miter/>
            </a:ln>
          </p:spPr>
          <p:txBody>
            <a:bodyPr rtlCol="0" anchor="ctr"/>
            <a:lstStyle/>
            <a:p>
              <a:endParaRPr lang="en-GB" dirty="0"/>
            </a:p>
          </p:txBody>
        </p:sp>
        <p:sp>
          <p:nvSpPr>
            <p:cNvPr id="1359" name="Freeform: Shape 1358">
              <a:extLst>
                <a:ext uri="{FF2B5EF4-FFF2-40B4-BE49-F238E27FC236}">
                  <a16:creationId xmlns:a16="http://schemas.microsoft.com/office/drawing/2014/main" id="{3142400A-C239-4645-B482-6D9AA1F3D1F9}"/>
                </a:ext>
              </a:extLst>
            </p:cNvPr>
            <p:cNvSpPr/>
            <p:nvPr/>
          </p:nvSpPr>
          <p:spPr>
            <a:xfrm>
              <a:off x="6071465" y="3164266"/>
              <a:ext cx="10364" cy="3454"/>
            </a:xfrm>
            <a:custGeom>
              <a:avLst/>
              <a:gdLst>
                <a:gd name="connsiteX0" fmla="*/ 10365 w 10364"/>
                <a:gd name="connsiteY0" fmla="*/ 3455 h 3454"/>
                <a:gd name="connsiteX1" fmla="*/ 10365 w 10364"/>
                <a:gd name="connsiteY1" fmla="*/ 3455 h 3454"/>
                <a:gd name="connsiteX2" fmla="*/ 0 w 10364"/>
                <a:gd name="connsiteY2" fmla="*/ 0 h 3454"/>
                <a:gd name="connsiteX3" fmla="*/ 10365 w 10364"/>
                <a:gd name="connsiteY3" fmla="*/ 3455 h 3454"/>
              </a:gdLst>
              <a:ahLst/>
              <a:cxnLst>
                <a:cxn ang="0">
                  <a:pos x="connsiteX0" y="connsiteY0"/>
                </a:cxn>
                <a:cxn ang="0">
                  <a:pos x="connsiteX1" y="connsiteY1"/>
                </a:cxn>
                <a:cxn ang="0">
                  <a:pos x="connsiteX2" y="connsiteY2"/>
                </a:cxn>
                <a:cxn ang="0">
                  <a:pos x="connsiteX3" y="connsiteY3"/>
                </a:cxn>
              </a:cxnLst>
              <a:rect l="l" t="t" r="r" b="b"/>
              <a:pathLst>
                <a:path w="10364" h="3454">
                  <a:moveTo>
                    <a:pt x="10365" y="3455"/>
                  </a:moveTo>
                  <a:lnTo>
                    <a:pt x="10365" y="3455"/>
                  </a:lnTo>
                  <a:lnTo>
                    <a:pt x="0" y="0"/>
                  </a:lnTo>
                  <a:lnTo>
                    <a:pt x="10365" y="3455"/>
                  </a:lnTo>
                  <a:close/>
                </a:path>
              </a:pathLst>
            </a:custGeom>
            <a:solidFill>
              <a:srgbClr val="CEE3BF"/>
            </a:solidFill>
            <a:ln w="9334" cap="flat">
              <a:noFill/>
              <a:prstDash val="solid"/>
              <a:miter/>
            </a:ln>
          </p:spPr>
          <p:txBody>
            <a:bodyPr rtlCol="0" anchor="ctr"/>
            <a:lstStyle/>
            <a:p>
              <a:endParaRPr lang="en-GB" dirty="0"/>
            </a:p>
          </p:txBody>
        </p:sp>
        <p:sp>
          <p:nvSpPr>
            <p:cNvPr id="1360" name="Freeform: Shape 1359">
              <a:extLst>
                <a:ext uri="{FF2B5EF4-FFF2-40B4-BE49-F238E27FC236}">
                  <a16:creationId xmlns:a16="http://schemas.microsoft.com/office/drawing/2014/main" id="{3FB26992-2481-45D3-AE12-64B4DCD7CAE1}"/>
                </a:ext>
              </a:extLst>
            </p:cNvPr>
            <p:cNvSpPr/>
            <p:nvPr/>
          </p:nvSpPr>
          <p:spPr>
            <a:xfrm>
              <a:off x="8962860" y="5138082"/>
              <a:ext cx="10364" cy="10364"/>
            </a:xfrm>
            <a:custGeom>
              <a:avLst/>
              <a:gdLst>
                <a:gd name="connsiteX0" fmla="*/ 0 w 10364"/>
                <a:gd name="connsiteY0" fmla="*/ 0 h 10364"/>
                <a:gd name="connsiteX1" fmla="*/ 0 w 10364"/>
                <a:gd name="connsiteY1" fmla="*/ 0 h 10364"/>
                <a:gd name="connsiteX2" fmla="*/ 10364 w 10364"/>
                <a:gd name="connsiteY2" fmla="*/ 10365 h 10364"/>
                <a:gd name="connsiteX3" fmla="*/ 0 w 10364"/>
                <a:gd name="connsiteY3" fmla="*/ 0 h 10364"/>
              </a:gdLst>
              <a:ahLst/>
              <a:cxnLst>
                <a:cxn ang="0">
                  <a:pos x="connsiteX0" y="connsiteY0"/>
                </a:cxn>
                <a:cxn ang="0">
                  <a:pos x="connsiteX1" y="connsiteY1"/>
                </a:cxn>
                <a:cxn ang="0">
                  <a:pos x="connsiteX2" y="connsiteY2"/>
                </a:cxn>
                <a:cxn ang="0">
                  <a:pos x="connsiteX3" y="connsiteY3"/>
                </a:cxn>
              </a:cxnLst>
              <a:rect l="l" t="t" r="r" b="b"/>
              <a:pathLst>
                <a:path w="10364" h="10364">
                  <a:moveTo>
                    <a:pt x="0" y="0"/>
                  </a:moveTo>
                  <a:lnTo>
                    <a:pt x="0" y="0"/>
                  </a:lnTo>
                  <a:lnTo>
                    <a:pt x="10364" y="10365"/>
                  </a:lnTo>
                  <a:lnTo>
                    <a:pt x="0" y="0"/>
                  </a:lnTo>
                  <a:close/>
                </a:path>
              </a:pathLst>
            </a:custGeom>
            <a:solidFill>
              <a:srgbClr val="CEE3BF"/>
            </a:solidFill>
            <a:ln w="9334" cap="flat">
              <a:noFill/>
              <a:prstDash val="solid"/>
              <a:miter/>
            </a:ln>
          </p:spPr>
          <p:txBody>
            <a:bodyPr rtlCol="0" anchor="ctr"/>
            <a:lstStyle/>
            <a:p>
              <a:endParaRPr lang="en-GB" dirty="0"/>
            </a:p>
          </p:txBody>
        </p:sp>
        <p:sp>
          <p:nvSpPr>
            <p:cNvPr id="1361" name="Freeform: Shape 1360">
              <a:extLst>
                <a:ext uri="{FF2B5EF4-FFF2-40B4-BE49-F238E27FC236}">
                  <a16:creationId xmlns:a16="http://schemas.microsoft.com/office/drawing/2014/main" id="{5779A627-F781-4C98-8483-DCBD59B63128}"/>
                </a:ext>
              </a:extLst>
            </p:cNvPr>
            <p:cNvSpPr/>
            <p:nvPr/>
          </p:nvSpPr>
          <p:spPr>
            <a:xfrm>
              <a:off x="9318426" y="4909972"/>
              <a:ext cx="17273" cy="10364"/>
            </a:xfrm>
            <a:custGeom>
              <a:avLst/>
              <a:gdLst>
                <a:gd name="connsiteX0" fmla="*/ 0 w 17273"/>
                <a:gd name="connsiteY0" fmla="*/ 0 h 10364"/>
                <a:gd name="connsiteX1" fmla="*/ 0 w 17273"/>
                <a:gd name="connsiteY1" fmla="*/ 0 h 10364"/>
                <a:gd name="connsiteX2" fmla="*/ 17274 w 17273"/>
                <a:gd name="connsiteY2" fmla="*/ 10365 h 10364"/>
                <a:gd name="connsiteX3" fmla="*/ 0 w 17273"/>
                <a:gd name="connsiteY3" fmla="*/ 0 h 10364"/>
              </a:gdLst>
              <a:ahLst/>
              <a:cxnLst>
                <a:cxn ang="0">
                  <a:pos x="connsiteX0" y="connsiteY0"/>
                </a:cxn>
                <a:cxn ang="0">
                  <a:pos x="connsiteX1" y="connsiteY1"/>
                </a:cxn>
                <a:cxn ang="0">
                  <a:pos x="connsiteX2" y="connsiteY2"/>
                </a:cxn>
                <a:cxn ang="0">
                  <a:pos x="connsiteX3" y="connsiteY3"/>
                </a:cxn>
              </a:cxnLst>
              <a:rect l="l" t="t" r="r" b="b"/>
              <a:pathLst>
                <a:path w="17273" h="10364">
                  <a:moveTo>
                    <a:pt x="0" y="0"/>
                  </a:moveTo>
                  <a:lnTo>
                    <a:pt x="0" y="0"/>
                  </a:lnTo>
                  <a:lnTo>
                    <a:pt x="17274" y="10365"/>
                  </a:lnTo>
                  <a:lnTo>
                    <a:pt x="0" y="0"/>
                  </a:lnTo>
                  <a:close/>
                </a:path>
              </a:pathLst>
            </a:custGeom>
            <a:solidFill>
              <a:srgbClr val="CEE3BF"/>
            </a:solidFill>
            <a:ln w="9334" cap="flat">
              <a:noFill/>
              <a:prstDash val="solid"/>
              <a:miter/>
            </a:ln>
          </p:spPr>
          <p:txBody>
            <a:bodyPr rtlCol="0" anchor="ctr"/>
            <a:lstStyle/>
            <a:p>
              <a:endParaRPr lang="en-GB" dirty="0"/>
            </a:p>
          </p:txBody>
        </p:sp>
        <p:sp>
          <p:nvSpPr>
            <p:cNvPr id="1362" name="Freeform: Shape 1361">
              <a:extLst>
                <a:ext uri="{FF2B5EF4-FFF2-40B4-BE49-F238E27FC236}">
                  <a16:creationId xmlns:a16="http://schemas.microsoft.com/office/drawing/2014/main" id="{FF013FE2-96BB-4D4E-B8AD-33D09AF2D580}"/>
                </a:ext>
              </a:extLst>
            </p:cNvPr>
            <p:cNvSpPr/>
            <p:nvPr/>
          </p:nvSpPr>
          <p:spPr>
            <a:xfrm>
              <a:off x="9625717" y="5507934"/>
              <a:ext cx="13819" cy="24277"/>
            </a:xfrm>
            <a:custGeom>
              <a:avLst/>
              <a:gdLst>
                <a:gd name="connsiteX0" fmla="*/ 0 w 13819"/>
                <a:gd name="connsiteY0" fmla="*/ 0 h 24277"/>
                <a:gd name="connsiteX1" fmla="*/ 13819 w 13819"/>
                <a:gd name="connsiteY1" fmla="*/ 6910 h 24277"/>
                <a:gd name="connsiteX2" fmla="*/ 3455 w 13819"/>
                <a:gd name="connsiteY2" fmla="*/ 24277 h 24277"/>
                <a:gd name="connsiteX3" fmla="*/ 13819 w 13819"/>
                <a:gd name="connsiteY3" fmla="*/ 6910 h 24277"/>
                <a:gd name="connsiteX4" fmla="*/ 0 w 13819"/>
                <a:gd name="connsiteY4" fmla="*/ 0 h 24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9" h="24277">
                  <a:moveTo>
                    <a:pt x="0" y="0"/>
                  </a:moveTo>
                  <a:lnTo>
                    <a:pt x="13819" y="6910"/>
                  </a:lnTo>
                  <a:lnTo>
                    <a:pt x="3455" y="24277"/>
                  </a:lnTo>
                  <a:lnTo>
                    <a:pt x="13819" y="6910"/>
                  </a:lnTo>
                  <a:lnTo>
                    <a:pt x="0" y="0"/>
                  </a:lnTo>
                  <a:close/>
                </a:path>
              </a:pathLst>
            </a:custGeom>
            <a:solidFill>
              <a:srgbClr val="CEE3BF"/>
            </a:solidFill>
            <a:ln w="9334" cap="flat">
              <a:noFill/>
              <a:prstDash val="solid"/>
              <a:miter/>
            </a:ln>
          </p:spPr>
          <p:txBody>
            <a:bodyPr rtlCol="0" anchor="ctr"/>
            <a:lstStyle/>
            <a:p>
              <a:endParaRPr lang="en-GB" dirty="0"/>
            </a:p>
          </p:txBody>
        </p:sp>
        <p:sp>
          <p:nvSpPr>
            <p:cNvPr id="1363" name="Freeform: Shape 1362">
              <a:extLst>
                <a:ext uri="{FF2B5EF4-FFF2-40B4-BE49-F238E27FC236}">
                  <a16:creationId xmlns:a16="http://schemas.microsoft.com/office/drawing/2014/main" id="{FE06DC42-BF51-4D2F-994A-2D37B1F484E7}"/>
                </a:ext>
              </a:extLst>
            </p:cNvPr>
            <p:cNvSpPr/>
            <p:nvPr/>
          </p:nvSpPr>
          <p:spPr>
            <a:xfrm>
              <a:off x="9846637" y="5642764"/>
              <a:ext cx="13819" cy="6909"/>
            </a:xfrm>
            <a:custGeom>
              <a:avLst/>
              <a:gdLst>
                <a:gd name="connsiteX0" fmla="*/ 0 w 13819"/>
                <a:gd name="connsiteY0" fmla="*/ 6910 h 6909"/>
                <a:gd name="connsiteX1" fmla="*/ 10365 w 13819"/>
                <a:gd name="connsiteY1" fmla="*/ 3455 h 6909"/>
                <a:gd name="connsiteX2" fmla="*/ 13820 w 13819"/>
                <a:gd name="connsiteY2" fmla="*/ 0 h 6909"/>
                <a:gd name="connsiteX3" fmla="*/ 10365 w 13819"/>
                <a:gd name="connsiteY3" fmla="*/ 3455 h 6909"/>
                <a:gd name="connsiteX4" fmla="*/ 0 w 13819"/>
                <a:gd name="connsiteY4" fmla="*/ 6910 h 6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9" h="6909">
                  <a:moveTo>
                    <a:pt x="0" y="6910"/>
                  </a:moveTo>
                  <a:lnTo>
                    <a:pt x="10365" y="3455"/>
                  </a:lnTo>
                  <a:lnTo>
                    <a:pt x="13820" y="0"/>
                  </a:lnTo>
                  <a:lnTo>
                    <a:pt x="10365" y="3455"/>
                  </a:lnTo>
                  <a:lnTo>
                    <a:pt x="0" y="6910"/>
                  </a:lnTo>
                  <a:close/>
                </a:path>
              </a:pathLst>
            </a:custGeom>
            <a:solidFill>
              <a:srgbClr val="CEE3BF"/>
            </a:solidFill>
            <a:ln w="9334" cap="flat">
              <a:noFill/>
              <a:prstDash val="solid"/>
              <a:miter/>
            </a:ln>
          </p:spPr>
          <p:txBody>
            <a:bodyPr rtlCol="0" anchor="ctr"/>
            <a:lstStyle/>
            <a:p>
              <a:endParaRPr lang="en-GB" dirty="0"/>
            </a:p>
          </p:txBody>
        </p:sp>
        <p:sp>
          <p:nvSpPr>
            <p:cNvPr id="1364" name="Freeform: Shape 1363">
              <a:extLst>
                <a:ext uri="{FF2B5EF4-FFF2-40B4-BE49-F238E27FC236}">
                  <a16:creationId xmlns:a16="http://schemas.microsoft.com/office/drawing/2014/main" id="{78300315-43C9-4F35-94B2-2CE5A57C143C}"/>
                </a:ext>
              </a:extLst>
            </p:cNvPr>
            <p:cNvSpPr/>
            <p:nvPr/>
          </p:nvSpPr>
          <p:spPr>
            <a:xfrm>
              <a:off x="9846637" y="5041348"/>
              <a:ext cx="31093" cy="24183"/>
            </a:xfrm>
            <a:custGeom>
              <a:avLst/>
              <a:gdLst>
                <a:gd name="connsiteX0" fmla="*/ 31093 w 31093"/>
                <a:gd name="connsiteY0" fmla="*/ 24184 h 24183"/>
                <a:gd name="connsiteX1" fmla="*/ 10365 w 31093"/>
                <a:gd name="connsiteY1" fmla="*/ 17274 h 24183"/>
                <a:gd name="connsiteX2" fmla="*/ 0 w 31093"/>
                <a:gd name="connsiteY2" fmla="*/ 0 h 24183"/>
                <a:gd name="connsiteX3" fmla="*/ 10365 w 31093"/>
                <a:gd name="connsiteY3" fmla="*/ 17274 h 24183"/>
                <a:gd name="connsiteX4" fmla="*/ 31093 w 31093"/>
                <a:gd name="connsiteY4" fmla="*/ 24184 h 24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93" h="24183">
                  <a:moveTo>
                    <a:pt x="31093" y="24184"/>
                  </a:moveTo>
                  <a:lnTo>
                    <a:pt x="10365" y="17274"/>
                  </a:lnTo>
                  <a:lnTo>
                    <a:pt x="0" y="0"/>
                  </a:lnTo>
                  <a:lnTo>
                    <a:pt x="10365" y="17274"/>
                  </a:lnTo>
                  <a:lnTo>
                    <a:pt x="31093" y="24184"/>
                  </a:lnTo>
                  <a:close/>
                </a:path>
              </a:pathLst>
            </a:custGeom>
            <a:solidFill>
              <a:srgbClr val="CEE3BF"/>
            </a:solidFill>
            <a:ln w="9334" cap="flat">
              <a:noFill/>
              <a:prstDash val="solid"/>
              <a:miter/>
            </a:ln>
          </p:spPr>
          <p:txBody>
            <a:bodyPr rtlCol="0" anchor="ctr"/>
            <a:lstStyle/>
            <a:p>
              <a:endParaRPr lang="en-GB" dirty="0"/>
            </a:p>
          </p:txBody>
        </p:sp>
        <p:sp>
          <p:nvSpPr>
            <p:cNvPr id="1365" name="Freeform: Shape 1364">
              <a:extLst>
                <a:ext uri="{FF2B5EF4-FFF2-40B4-BE49-F238E27FC236}">
                  <a16:creationId xmlns:a16="http://schemas.microsoft.com/office/drawing/2014/main" id="{A7EBD959-EA7E-470F-9D71-414A3191DB70}"/>
                </a:ext>
              </a:extLst>
            </p:cNvPr>
            <p:cNvSpPr/>
            <p:nvPr/>
          </p:nvSpPr>
          <p:spPr>
            <a:xfrm>
              <a:off x="10033104" y="5314371"/>
              <a:ext cx="10364" cy="69189"/>
            </a:xfrm>
            <a:custGeom>
              <a:avLst/>
              <a:gdLst>
                <a:gd name="connsiteX0" fmla="*/ 10364 w 10364"/>
                <a:gd name="connsiteY0" fmla="*/ 31093 h 69189"/>
                <a:gd name="connsiteX1" fmla="*/ 0 w 10364"/>
                <a:gd name="connsiteY1" fmla="*/ 69190 h 69189"/>
                <a:gd name="connsiteX2" fmla="*/ 10364 w 10364"/>
                <a:gd name="connsiteY2" fmla="*/ 31093 h 69189"/>
                <a:gd name="connsiteX3" fmla="*/ 6910 w 10364"/>
                <a:gd name="connsiteY3" fmla="*/ 0 h 69189"/>
                <a:gd name="connsiteX4" fmla="*/ 10364 w 10364"/>
                <a:gd name="connsiteY4" fmla="*/ 31093 h 69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4" h="69189">
                  <a:moveTo>
                    <a:pt x="10364" y="31093"/>
                  </a:moveTo>
                  <a:lnTo>
                    <a:pt x="0" y="69190"/>
                  </a:lnTo>
                  <a:lnTo>
                    <a:pt x="10364" y="31093"/>
                  </a:lnTo>
                  <a:lnTo>
                    <a:pt x="6910" y="0"/>
                  </a:lnTo>
                  <a:lnTo>
                    <a:pt x="10364" y="31093"/>
                  </a:lnTo>
                  <a:close/>
                </a:path>
              </a:pathLst>
            </a:custGeom>
            <a:solidFill>
              <a:srgbClr val="CEE3BF"/>
            </a:solidFill>
            <a:ln w="9334" cap="flat">
              <a:noFill/>
              <a:prstDash val="solid"/>
              <a:miter/>
            </a:ln>
          </p:spPr>
          <p:txBody>
            <a:bodyPr rtlCol="0" anchor="ctr"/>
            <a:lstStyle/>
            <a:p>
              <a:endParaRPr lang="en-GB" dirty="0"/>
            </a:p>
          </p:txBody>
        </p:sp>
        <p:sp>
          <p:nvSpPr>
            <p:cNvPr id="1366" name="Freeform: Shape 1365">
              <a:extLst>
                <a:ext uri="{FF2B5EF4-FFF2-40B4-BE49-F238E27FC236}">
                  <a16:creationId xmlns:a16="http://schemas.microsoft.com/office/drawing/2014/main" id="{B5A032BD-4A34-43E7-BD25-CCED5DCFDBB8}"/>
                </a:ext>
              </a:extLst>
            </p:cNvPr>
            <p:cNvSpPr/>
            <p:nvPr/>
          </p:nvSpPr>
          <p:spPr>
            <a:xfrm>
              <a:off x="9432341" y="4861511"/>
              <a:ext cx="17274" cy="3454"/>
            </a:xfrm>
            <a:custGeom>
              <a:avLst/>
              <a:gdLst>
                <a:gd name="connsiteX0" fmla="*/ 0 w 17274"/>
                <a:gd name="connsiteY0" fmla="*/ 0 h 3454"/>
                <a:gd name="connsiteX1" fmla="*/ 0 w 17274"/>
                <a:gd name="connsiteY1" fmla="*/ 0 h 3454"/>
                <a:gd name="connsiteX2" fmla="*/ 17274 w 17274"/>
                <a:gd name="connsiteY2" fmla="*/ 3455 h 3454"/>
                <a:gd name="connsiteX3" fmla="*/ 0 w 17274"/>
                <a:gd name="connsiteY3" fmla="*/ 0 h 3454"/>
              </a:gdLst>
              <a:ahLst/>
              <a:cxnLst>
                <a:cxn ang="0">
                  <a:pos x="connsiteX0" y="connsiteY0"/>
                </a:cxn>
                <a:cxn ang="0">
                  <a:pos x="connsiteX1" y="connsiteY1"/>
                </a:cxn>
                <a:cxn ang="0">
                  <a:pos x="connsiteX2" y="connsiteY2"/>
                </a:cxn>
                <a:cxn ang="0">
                  <a:pos x="connsiteX3" y="connsiteY3"/>
                </a:cxn>
              </a:cxnLst>
              <a:rect l="l" t="t" r="r" b="b"/>
              <a:pathLst>
                <a:path w="17274" h="3454">
                  <a:moveTo>
                    <a:pt x="0" y="0"/>
                  </a:moveTo>
                  <a:lnTo>
                    <a:pt x="0" y="0"/>
                  </a:lnTo>
                  <a:lnTo>
                    <a:pt x="17274" y="3455"/>
                  </a:lnTo>
                  <a:lnTo>
                    <a:pt x="0" y="0"/>
                  </a:lnTo>
                  <a:close/>
                </a:path>
              </a:pathLst>
            </a:custGeom>
            <a:solidFill>
              <a:srgbClr val="CEE3BF"/>
            </a:solidFill>
            <a:ln w="9334" cap="flat">
              <a:noFill/>
              <a:prstDash val="solid"/>
              <a:miter/>
            </a:ln>
          </p:spPr>
          <p:txBody>
            <a:bodyPr rtlCol="0" anchor="ctr"/>
            <a:lstStyle/>
            <a:p>
              <a:endParaRPr lang="en-GB" dirty="0"/>
            </a:p>
          </p:txBody>
        </p:sp>
        <p:sp>
          <p:nvSpPr>
            <p:cNvPr id="1367" name="Freeform: Shape 1366">
              <a:extLst>
                <a:ext uri="{FF2B5EF4-FFF2-40B4-BE49-F238E27FC236}">
                  <a16:creationId xmlns:a16="http://schemas.microsoft.com/office/drawing/2014/main" id="{A300E7B2-2279-4F26-A83C-489E61206914}"/>
                </a:ext>
              </a:extLst>
            </p:cNvPr>
            <p:cNvSpPr/>
            <p:nvPr/>
          </p:nvSpPr>
          <p:spPr>
            <a:xfrm>
              <a:off x="9221784" y="5463021"/>
              <a:ext cx="34548" cy="31093"/>
            </a:xfrm>
            <a:custGeom>
              <a:avLst/>
              <a:gdLst>
                <a:gd name="connsiteX0" fmla="*/ 10364 w 34548"/>
                <a:gd name="connsiteY0" fmla="*/ 20729 h 31093"/>
                <a:gd name="connsiteX1" fmla="*/ 0 w 34548"/>
                <a:gd name="connsiteY1" fmla="*/ 31093 h 31093"/>
                <a:gd name="connsiteX2" fmla="*/ 10364 w 34548"/>
                <a:gd name="connsiteY2" fmla="*/ 20729 h 31093"/>
                <a:gd name="connsiteX3" fmla="*/ 13820 w 34548"/>
                <a:gd name="connsiteY3" fmla="*/ 6910 h 31093"/>
                <a:gd name="connsiteX4" fmla="*/ 34548 w 34548"/>
                <a:gd name="connsiteY4" fmla="*/ 0 h 31093"/>
                <a:gd name="connsiteX5" fmla="*/ 13820 w 34548"/>
                <a:gd name="connsiteY5" fmla="*/ 6910 h 31093"/>
                <a:gd name="connsiteX6" fmla="*/ 10364 w 34548"/>
                <a:gd name="connsiteY6" fmla="*/ 20729 h 3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48" h="31093">
                  <a:moveTo>
                    <a:pt x="10364" y="20729"/>
                  </a:moveTo>
                  <a:lnTo>
                    <a:pt x="0" y="31093"/>
                  </a:lnTo>
                  <a:lnTo>
                    <a:pt x="10364" y="20729"/>
                  </a:lnTo>
                  <a:lnTo>
                    <a:pt x="13820" y="6910"/>
                  </a:lnTo>
                  <a:lnTo>
                    <a:pt x="34548" y="0"/>
                  </a:lnTo>
                  <a:lnTo>
                    <a:pt x="13820" y="6910"/>
                  </a:lnTo>
                  <a:lnTo>
                    <a:pt x="10364" y="20729"/>
                  </a:lnTo>
                  <a:close/>
                </a:path>
              </a:pathLst>
            </a:custGeom>
            <a:solidFill>
              <a:srgbClr val="CEE3BF"/>
            </a:solidFill>
            <a:ln w="9334" cap="flat">
              <a:noFill/>
              <a:prstDash val="solid"/>
              <a:miter/>
            </a:ln>
          </p:spPr>
          <p:txBody>
            <a:bodyPr rtlCol="0" anchor="ctr"/>
            <a:lstStyle/>
            <a:p>
              <a:endParaRPr lang="en-GB" dirty="0"/>
            </a:p>
          </p:txBody>
        </p:sp>
        <p:sp>
          <p:nvSpPr>
            <p:cNvPr id="1368" name="Freeform: Shape 1367">
              <a:extLst>
                <a:ext uri="{FF2B5EF4-FFF2-40B4-BE49-F238E27FC236}">
                  <a16:creationId xmlns:a16="http://schemas.microsoft.com/office/drawing/2014/main" id="{5A2647AC-FAD6-429C-94B2-6F5EF48043EC}"/>
                </a:ext>
              </a:extLst>
            </p:cNvPr>
            <p:cNvSpPr/>
            <p:nvPr/>
          </p:nvSpPr>
          <p:spPr>
            <a:xfrm>
              <a:off x="9346064" y="4930700"/>
              <a:ext cx="10364" cy="10364"/>
            </a:xfrm>
            <a:custGeom>
              <a:avLst/>
              <a:gdLst>
                <a:gd name="connsiteX0" fmla="*/ 10364 w 10364"/>
                <a:gd name="connsiteY0" fmla="*/ 10364 h 10364"/>
                <a:gd name="connsiteX1" fmla="*/ 0 w 10364"/>
                <a:gd name="connsiteY1" fmla="*/ 0 h 10364"/>
                <a:gd name="connsiteX2" fmla="*/ 10364 w 10364"/>
                <a:gd name="connsiteY2" fmla="*/ 10364 h 10364"/>
                <a:gd name="connsiteX3" fmla="*/ 10364 w 10364"/>
                <a:gd name="connsiteY3" fmla="*/ 10364 h 10364"/>
              </a:gdLst>
              <a:ahLst/>
              <a:cxnLst>
                <a:cxn ang="0">
                  <a:pos x="connsiteX0" y="connsiteY0"/>
                </a:cxn>
                <a:cxn ang="0">
                  <a:pos x="connsiteX1" y="connsiteY1"/>
                </a:cxn>
                <a:cxn ang="0">
                  <a:pos x="connsiteX2" y="connsiteY2"/>
                </a:cxn>
                <a:cxn ang="0">
                  <a:pos x="connsiteX3" y="connsiteY3"/>
                </a:cxn>
              </a:cxnLst>
              <a:rect l="l" t="t" r="r" b="b"/>
              <a:pathLst>
                <a:path w="10364" h="10364">
                  <a:moveTo>
                    <a:pt x="10364" y="10364"/>
                  </a:moveTo>
                  <a:lnTo>
                    <a:pt x="0" y="0"/>
                  </a:lnTo>
                  <a:lnTo>
                    <a:pt x="10364" y="10364"/>
                  </a:lnTo>
                  <a:lnTo>
                    <a:pt x="10364" y="10364"/>
                  </a:lnTo>
                  <a:close/>
                </a:path>
              </a:pathLst>
            </a:custGeom>
            <a:solidFill>
              <a:srgbClr val="CEE3BF"/>
            </a:solidFill>
            <a:ln w="9334" cap="flat">
              <a:noFill/>
              <a:prstDash val="solid"/>
              <a:miter/>
            </a:ln>
          </p:spPr>
          <p:txBody>
            <a:bodyPr rtlCol="0" anchor="ctr"/>
            <a:lstStyle/>
            <a:p>
              <a:endParaRPr lang="en-GB" dirty="0"/>
            </a:p>
          </p:txBody>
        </p:sp>
        <p:sp>
          <p:nvSpPr>
            <p:cNvPr id="1369" name="Freeform: Shape 1368">
              <a:extLst>
                <a:ext uri="{FF2B5EF4-FFF2-40B4-BE49-F238E27FC236}">
                  <a16:creationId xmlns:a16="http://schemas.microsoft.com/office/drawing/2014/main" id="{D07A0174-537B-4DD0-9C0D-F5D94D186ABA}"/>
                </a:ext>
              </a:extLst>
            </p:cNvPr>
            <p:cNvSpPr/>
            <p:nvPr/>
          </p:nvSpPr>
          <p:spPr>
            <a:xfrm>
              <a:off x="8987044" y="4398380"/>
              <a:ext cx="27078" cy="26051"/>
            </a:xfrm>
            <a:custGeom>
              <a:avLst/>
              <a:gdLst>
                <a:gd name="connsiteX0" fmla="*/ 10271 w 27078"/>
                <a:gd name="connsiteY0" fmla="*/ 0 h 26051"/>
                <a:gd name="connsiteX1" fmla="*/ 3455 w 27078"/>
                <a:gd name="connsiteY1" fmla="*/ 3455 h 26051"/>
                <a:gd name="connsiteX2" fmla="*/ 0 w 27078"/>
                <a:gd name="connsiteY2" fmla="*/ 17274 h 26051"/>
                <a:gd name="connsiteX3" fmla="*/ 20636 w 27078"/>
                <a:gd name="connsiteY3" fmla="*/ 26051 h 26051"/>
                <a:gd name="connsiteX4" fmla="*/ 27078 w 27078"/>
                <a:gd name="connsiteY4" fmla="*/ 3455 h 26051"/>
                <a:gd name="connsiteX5" fmla="*/ 10271 w 27078"/>
                <a:gd name="connsiteY5" fmla="*/ 0 h 2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78" h="26051">
                  <a:moveTo>
                    <a:pt x="10271" y="0"/>
                  </a:moveTo>
                  <a:lnTo>
                    <a:pt x="3455" y="3455"/>
                  </a:lnTo>
                  <a:lnTo>
                    <a:pt x="0" y="17274"/>
                  </a:lnTo>
                  <a:lnTo>
                    <a:pt x="20636" y="26051"/>
                  </a:lnTo>
                  <a:lnTo>
                    <a:pt x="27078" y="3455"/>
                  </a:lnTo>
                  <a:lnTo>
                    <a:pt x="10271" y="0"/>
                  </a:lnTo>
                  <a:close/>
                </a:path>
              </a:pathLst>
            </a:custGeom>
            <a:solidFill>
              <a:srgbClr val="CEE3BF"/>
            </a:solidFill>
            <a:ln w="9334" cap="flat">
              <a:noFill/>
              <a:prstDash val="solid"/>
              <a:miter/>
            </a:ln>
          </p:spPr>
          <p:txBody>
            <a:bodyPr rtlCol="0" anchor="ctr"/>
            <a:lstStyle/>
            <a:p>
              <a:endParaRPr lang="en-GB" dirty="0"/>
            </a:p>
          </p:txBody>
        </p:sp>
        <p:sp>
          <p:nvSpPr>
            <p:cNvPr id="1370" name="Freeform: Shape 1369">
              <a:extLst>
                <a:ext uri="{FF2B5EF4-FFF2-40B4-BE49-F238E27FC236}">
                  <a16:creationId xmlns:a16="http://schemas.microsoft.com/office/drawing/2014/main" id="{60864608-C9F1-4B1E-AC69-43C9392D1661}"/>
                </a:ext>
              </a:extLst>
            </p:cNvPr>
            <p:cNvSpPr/>
            <p:nvPr/>
          </p:nvSpPr>
          <p:spPr>
            <a:xfrm>
              <a:off x="8845490" y="4336100"/>
              <a:ext cx="265833" cy="162469"/>
            </a:xfrm>
            <a:custGeom>
              <a:avLst/>
              <a:gdLst>
                <a:gd name="connsiteX0" fmla="*/ 141554 w 265833"/>
                <a:gd name="connsiteY0" fmla="*/ 79554 h 162469"/>
                <a:gd name="connsiteX1" fmla="*/ 131189 w 265833"/>
                <a:gd name="connsiteY1" fmla="*/ 79554 h 162469"/>
                <a:gd name="connsiteX2" fmla="*/ 117370 w 265833"/>
                <a:gd name="connsiteY2" fmla="*/ 69190 h 162469"/>
                <a:gd name="connsiteX3" fmla="*/ 103551 w 265833"/>
                <a:gd name="connsiteY3" fmla="*/ 93373 h 162469"/>
                <a:gd name="connsiteX4" fmla="*/ 89732 w 265833"/>
                <a:gd name="connsiteY4" fmla="*/ 110647 h 162469"/>
                <a:gd name="connsiteX5" fmla="*/ 69003 w 265833"/>
                <a:gd name="connsiteY5" fmla="*/ 107192 h 162469"/>
                <a:gd name="connsiteX6" fmla="*/ 48274 w 265833"/>
                <a:gd name="connsiteY6" fmla="*/ 114102 h 162469"/>
                <a:gd name="connsiteX7" fmla="*/ 37909 w 265833"/>
                <a:gd name="connsiteY7" fmla="*/ 134831 h 162469"/>
                <a:gd name="connsiteX8" fmla="*/ 44819 w 265833"/>
                <a:gd name="connsiteY8" fmla="*/ 145195 h 162469"/>
                <a:gd name="connsiteX9" fmla="*/ 48274 w 265833"/>
                <a:gd name="connsiteY9" fmla="*/ 152105 h 162469"/>
                <a:gd name="connsiteX10" fmla="*/ 34455 w 265833"/>
                <a:gd name="connsiteY10" fmla="*/ 159015 h 162469"/>
                <a:gd name="connsiteX11" fmla="*/ 24184 w 265833"/>
                <a:gd name="connsiteY11" fmla="*/ 145195 h 162469"/>
                <a:gd name="connsiteX12" fmla="*/ 17181 w 265833"/>
                <a:gd name="connsiteY12" fmla="*/ 138286 h 162469"/>
                <a:gd name="connsiteX13" fmla="*/ 0 w 265833"/>
                <a:gd name="connsiteY13" fmla="*/ 145195 h 162469"/>
                <a:gd name="connsiteX14" fmla="*/ 17181 w 265833"/>
                <a:gd name="connsiteY14" fmla="*/ 162469 h 162469"/>
                <a:gd name="connsiteX15" fmla="*/ 37909 w 265833"/>
                <a:gd name="connsiteY15" fmla="*/ 162469 h 162469"/>
                <a:gd name="connsiteX16" fmla="*/ 51729 w 265833"/>
                <a:gd name="connsiteY16" fmla="*/ 159015 h 162469"/>
                <a:gd name="connsiteX17" fmla="*/ 75912 w 265833"/>
                <a:gd name="connsiteY17" fmla="*/ 148650 h 162469"/>
                <a:gd name="connsiteX18" fmla="*/ 89732 w 265833"/>
                <a:gd name="connsiteY18" fmla="*/ 145195 h 162469"/>
                <a:gd name="connsiteX19" fmla="*/ 103551 w 265833"/>
                <a:gd name="connsiteY19" fmla="*/ 159015 h 162469"/>
                <a:gd name="connsiteX20" fmla="*/ 124280 w 265833"/>
                <a:gd name="connsiteY20" fmla="*/ 148650 h 162469"/>
                <a:gd name="connsiteX21" fmla="*/ 145009 w 265833"/>
                <a:gd name="connsiteY21" fmla="*/ 127921 h 162469"/>
                <a:gd name="connsiteX22" fmla="*/ 164150 w 265833"/>
                <a:gd name="connsiteY22" fmla="*/ 103644 h 162469"/>
                <a:gd name="connsiteX23" fmla="*/ 175822 w 265833"/>
                <a:gd name="connsiteY23" fmla="*/ 88331 h 162469"/>
                <a:gd name="connsiteX24" fmla="*/ 180024 w 265833"/>
                <a:gd name="connsiteY24" fmla="*/ 69190 h 162469"/>
                <a:gd name="connsiteX25" fmla="*/ 203647 w 265833"/>
                <a:gd name="connsiteY25" fmla="*/ 65735 h 162469"/>
                <a:gd name="connsiteX26" fmla="*/ 217466 w 265833"/>
                <a:gd name="connsiteY26" fmla="*/ 76099 h 162469"/>
                <a:gd name="connsiteX27" fmla="*/ 238195 w 265833"/>
                <a:gd name="connsiteY27" fmla="*/ 76099 h 162469"/>
                <a:gd name="connsiteX28" fmla="*/ 245105 w 265833"/>
                <a:gd name="connsiteY28" fmla="*/ 69190 h 162469"/>
                <a:gd name="connsiteX29" fmla="*/ 231286 w 265833"/>
                <a:gd name="connsiteY29" fmla="*/ 58825 h 162469"/>
                <a:gd name="connsiteX30" fmla="*/ 241650 w 265833"/>
                <a:gd name="connsiteY30" fmla="*/ 51822 h 162469"/>
                <a:gd name="connsiteX31" fmla="*/ 255469 w 265833"/>
                <a:gd name="connsiteY31" fmla="*/ 51822 h 162469"/>
                <a:gd name="connsiteX32" fmla="*/ 265833 w 265833"/>
                <a:gd name="connsiteY32" fmla="*/ 48367 h 162469"/>
                <a:gd name="connsiteX33" fmla="*/ 241650 w 265833"/>
                <a:gd name="connsiteY33" fmla="*/ 34548 h 162469"/>
                <a:gd name="connsiteX34" fmla="*/ 227831 w 265833"/>
                <a:gd name="connsiteY34" fmla="*/ 27638 h 162469"/>
                <a:gd name="connsiteX35" fmla="*/ 214011 w 265833"/>
                <a:gd name="connsiteY35" fmla="*/ 13819 h 162469"/>
                <a:gd name="connsiteX36" fmla="*/ 207102 w 265833"/>
                <a:gd name="connsiteY36" fmla="*/ 3455 h 162469"/>
                <a:gd name="connsiteX37" fmla="*/ 189828 w 265833"/>
                <a:gd name="connsiteY37" fmla="*/ 0 h 162469"/>
                <a:gd name="connsiteX38" fmla="*/ 176008 w 265833"/>
                <a:gd name="connsiteY38" fmla="*/ 17274 h 162469"/>
                <a:gd name="connsiteX39" fmla="*/ 165644 w 265833"/>
                <a:gd name="connsiteY39" fmla="*/ 31093 h 162469"/>
                <a:gd name="connsiteX40" fmla="*/ 158734 w 265833"/>
                <a:gd name="connsiteY40" fmla="*/ 38003 h 162469"/>
                <a:gd name="connsiteX41" fmla="*/ 151825 w 265833"/>
                <a:gd name="connsiteY41" fmla="*/ 48367 h 162469"/>
                <a:gd name="connsiteX42" fmla="*/ 169099 w 265833"/>
                <a:gd name="connsiteY42" fmla="*/ 62280 h 162469"/>
                <a:gd name="connsiteX43" fmla="*/ 165644 w 265833"/>
                <a:gd name="connsiteY43" fmla="*/ 76099 h 162469"/>
                <a:gd name="connsiteX44" fmla="*/ 162189 w 265833"/>
                <a:gd name="connsiteY44" fmla="*/ 88331 h 162469"/>
                <a:gd name="connsiteX45" fmla="*/ 141554 w 265833"/>
                <a:gd name="connsiteY45" fmla="*/ 79554 h 16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5833" h="162469">
                  <a:moveTo>
                    <a:pt x="141554" y="79554"/>
                  </a:moveTo>
                  <a:lnTo>
                    <a:pt x="131189" y="79554"/>
                  </a:lnTo>
                  <a:lnTo>
                    <a:pt x="117370" y="69190"/>
                  </a:lnTo>
                  <a:lnTo>
                    <a:pt x="103551" y="93373"/>
                  </a:lnTo>
                  <a:lnTo>
                    <a:pt x="89732" y="110647"/>
                  </a:lnTo>
                  <a:lnTo>
                    <a:pt x="69003" y="107192"/>
                  </a:lnTo>
                  <a:lnTo>
                    <a:pt x="48274" y="114102"/>
                  </a:lnTo>
                  <a:lnTo>
                    <a:pt x="37909" y="134831"/>
                  </a:lnTo>
                  <a:lnTo>
                    <a:pt x="44819" y="145195"/>
                  </a:lnTo>
                  <a:lnTo>
                    <a:pt x="48274" y="152105"/>
                  </a:lnTo>
                  <a:lnTo>
                    <a:pt x="34455" y="159015"/>
                  </a:lnTo>
                  <a:lnTo>
                    <a:pt x="24184" y="145195"/>
                  </a:lnTo>
                  <a:lnTo>
                    <a:pt x="17181" y="138286"/>
                  </a:lnTo>
                  <a:lnTo>
                    <a:pt x="0" y="145195"/>
                  </a:lnTo>
                  <a:lnTo>
                    <a:pt x="17181" y="162469"/>
                  </a:lnTo>
                  <a:lnTo>
                    <a:pt x="37909" y="162469"/>
                  </a:lnTo>
                  <a:lnTo>
                    <a:pt x="51729" y="159015"/>
                  </a:lnTo>
                  <a:lnTo>
                    <a:pt x="75912" y="148650"/>
                  </a:lnTo>
                  <a:lnTo>
                    <a:pt x="89732" y="145195"/>
                  </a:lnTo>
                  <a:lnTo>
                    <a:pt x="103551" y="159015"/>
                  </a:lnTo>
                  <a:lnTo>
                    <a:pt x="124280" y="148650"/>
                  </a:lnTo>
                  <a:lnTo>
                    <a:pt x="145009" y="127921"/>
                  </a:lnTo>
                  <a:lnTo>
                    <a:pt x="164150" y="103644"/>
                  </a:lnTo>
                  <a:lnTo>
                    <a:pt x="175822" y="88331"/>
                  </a:lnTo>
                  <a:lnTo>
                    <a:pt x="180024" y="69190"/>
                  </a:lnTo>
                  <a:lnTo>
                    <a:pt x="203647" y="65735"/>
                  </a:lnTo>
                  <a:lnTo>
                    <a:pt x="217466" y="76099"/>
                  </a:lnTo>
                  <a:lnTo>
                    <a:pt x="238195" y="76099"/>
                  </a:lnTo>
                  <a:lnTo>
                    <a:pt x="245105" y="69190"/>
                  </a:lnTo>
                  <a:lnTo>
                    <a:pt x="231286" y="58825"/>
                  </a:lnTo>
                  <a:lnTo>
                    <a:pt x="241650" y="51822"/>
                  </a:lnTo>
                  <a:lnTo>
                    <a:pt x="255469" y="51822"/>
                  </a:lnTo>
                  <a:lnTo>
                    <a:pt x="265833" y="48367"/>
                  </a:lnTo>
                  <a:lnTo>
                    <a:pt x="241650" y="34548"/>
                  </a:lnTo>
                  <a:lnTo>
                    <a:pt x="227831" y="27638"/>
                  </a:lnTo>
                  <a:lnTo>
                    <a:pt x="214011" y="13819"/>
                  </a:lnTo>
                  <a:lnTo>
                    <a:pt x="207102" y="3455"/>
                  </a:lnTo>
                  <a:lnTo>
                    <a:pt x="189828" y="0"/>
                  </a:lnTo>
                  <a:lnTo>
                    <a:pt x="176008" y="17274"/>
                  </a:lnTo>
                  <a:lnTo>
                    <a:pt x="165644" y="31093"/>
                  </a:lnTo>
                  <a:lnTo>
                    <a:pt x="158734" y="38003"/>
                  </a:lnTo>
                  <a:lnTo>
                    <a:pt x="151825" y="48367"/>
                  </a:lnTo>
                  <a:lnTo>
                    <a:pt x="169099" y="62280"/>
                  </a:lnTo>
                  <a:lnTo>
                    <a:pt x="165644" y="76099"/>
                  </a:lnTo>
                  <a:lnTo>
                    <a:pt x="162189" y="88331"/>
                  </a:lnTo>
                  <a:lnTo>
                    <a:pt x="141554" y="79554"/>
                  </a:lnTo>
                  <a:close/>
                </a:path>
              </a:pathLst>
            </a:custGeom>
            <a:solidFill>
              <a:srgbClr val="CEE3BF"/>
            </a:solidFill>
            <a:ln w="9334" cap="flat">
              <a:noFill/>
              <a:prstDash val="solid"/>
              <a:miter/>
            </a:ln>
          </p:spPr>
          <p:txBody>
            <a:bodyPr rtlCol="0" anchor="ctr"/>
            <a:lstStyle/>
            <a:p>
              <a:endParaRPr lang="en-GB" dirty="0"/>
            </a:p>
          </p:txBody>
        </p:sp>
        <p:sp>
          <p:nvSpPr>
            <p:cNvPr id="1371" name="Freeform: Shape 1370">
              <a:extLst>
                <a:ext uri="{FF2B5EF4-FFF2-40B4-BE49-F238E27FC236}">
                  <a16:creationId xmlns:a16="http://schemas.microsoft.com/office/drawing/2014/main" id="{6844B2A3-4E78-4E2E-BE0E-EAB81C61B3FE}"/>
                </a:ext>
              </a:extLst>
            </p:cNvPr>
            <p:cNvSpPr/>
            <p:nvPr/>
          </p:nvSpPr>
          <p:spPr>
            <a:xfrm>
              <a:off x="6483989" y="2663039"/>
              <a:ext cx="120824" cy="76005"/>
            </a:xfrm>
            <a:custGeom>
              <a:avLst/>
              <a:gdLst>
                <a:gd name="connsiteX0" fmla="*/ 120825 w 120824"/>
                <a:gd name="connsiteY0" fmla="*/ 6910 h 76005"/>
                <a:gd name="connsiteX1" fmla="*/ 93280 w 120824"/>
                <a:gd name="connsiteY1" fmla="*/ 10364 h 76005"/>
                <a:gd name="connsiteX2" fmla="*/ 69096 w 120824"/>
                <a:gd name="connsiteY2" fmla="*/ 0 h 76005"/>
                <a:gd name="connsiteX3" fmla="*/ 31093 w 120824"/>
                <a:gd name="connsiteY3" fmla="*/ 6910 h 76005"/>
                <a:gd name="connsiteX4" fmla="*/ 3455 w 120824"/>
                <a:gd name="connsiteY4" fmla="*/ 13819 h 76005"/>
                <a:gd name="connsiteX5" fmla="*/ 0 w 120824"/>
                <a:gd name="connsiteY5" fmla="*/ 34548 h 76005"/>
                <a:gd name="connsiteX6" fmla="*/ 10364 w 120824"/>
                <a:gd name="connsiteY6" fmla="*/ 51822 h 76005"/>
                <a:gd name="connsiteX7" fmla="*/ 24183 w 120824"/>
                <a:gd name="connsiteY7" fmla="*/ 51822 h 76005"/>
                <a:gd name="connsiteX8" fmla="*/ 27638 w 120824"/>
                <a:gd name="connsiteY8" fmla="*/ 62187 h 76005"/>
                <a:gd name="connsiteX9" fmla="*/ 48367 w 120824"/>
                <a:gd name="connsiteY9" fmla="*/ 62187 h 76005"/>
                <a:gd name="connsiteX10" fmla="*/ 69096 w 120824"/>
                <a:gd name="connsiteY10" fmla="*/ 69096 h 76005"/>
                <a:gd name="connsiteX11" fmla="*/ 89825 w 120824"/>
                <a:gd name="connsiteY11" fmla="*/ 76006 h 76005"/>
                <a:gd name="connsiteX12" fmla="*/ 107005 w 120824"/>
                <a:gd name="connsiteY12" fmla="*/ 76006 h 76005"/>
                <a:gd name="connsiteX13" fmla="*/ 110460 w 120824"/>
                <a:gd name="connsiteY13" fmla="*/ 55277 h 76005"/>
                <a:gd name="connsiteX14" fmla="*/ 110460 w 120824"/>
                <a:gd name="connsiteY14" fmla="*/ 27639 h 76005"/>
                <a:gd name="connsiteX15" fmla="*/ 120825 w 120824"/>
                <a:gd name="connsiteY15" fmla="*/ 6910 h 7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824" h="76005">
                  <a:moveTo>
                    <a:pt x="120825" y="6910"/>
                  </a:moveTo>
                  <a:lnTo>
                    <a:pt x="93280" y="10364"/>
                  </a:lnTo>
                  <a:lnTo>
                    <a:pt x="69096" y="0"/>
                  </a:lnTo>
                  <a:lnTo>
                    <a:pt x="31093" y="6910"/>
                  </a:lnTo>
                  <a:lnTo>
                    <a:pt x="3455" y="13819"/>
                  </a:lnTo>
                  <a:lnTo>
                    <a:pt x="0" y="34548"/>
                  </a:lnTo>
                  <a:lnTo>
                    <a:pt x="10364" y="51822"/>
                  </a:lnTo>
                  <a:lnTo>
                    <a:pt x="24183" y="51822"/>
                  </a:lnTo>
                  <a:lnTo>
                    <a:pt x="27638" y="62187"/>
                  </a:lnTo>
                  <a:lnTo>
                    <a:pt x="48367" y="62187"/>
                  </a:lnTo>
                  <a:lnTo>
                    <a:pt x="69096" y="69096"/>
                  </a:lnTo>
                  <a:lnTo>
                    <a:pt x="89825" y="76006"/>
                  </a:lnTo>
                  <a:lnTo>
                    <a:pt x="107005" y="76006"/>
                  </a:lnTo>
                  <a:lnTo>
                    <a:pt x="110460" y="55277"/>
                  </a:lnTo>
                  <a:lnTo>
                    <a:pt x="110460" y="27639"/>
                  </a:lnTo>
                  <a:lnTo>
                    <a:pt x="120825" y="6910"/>
                  </a:lnTo>
                  <a:close/>
                </a:path>
              </a:pathLst>
            </a:custGeom>
            <a:solidFill>
              <a:srgbClr val="CEE3BF"/>
            </a:solidFill>
            <a:ln w="9334" cap="flat">
              <a:noFill/>
              <a:prstDash val="solid"/>
              <a:miter/>
            </a:ln>
          </p:spPr>
          <p:txBody>
            <a:bodyPr rtlCol="0" anchor="ctr"/>
            <a:lstStyle/>
            <a:p>
              <a:endParaRPr lang="en-GB" dirty="0"/>
            </a:p>
          </p:txBody>
        </p:sp>
        <p:sp>
          <p:nvSpPr>
            <p:cNvPr id="1372" name="Freeform: Shape 1371">
              <a:extLst>
                <a:ext uri="{FF2B5EF4-FFF2-40B4-BE49-F238E27FC236}">
                  <a16:creationId xmlns:a16="http://schemas.microsoft.com/office/drawing/2014/main" id="{F32FB08C-75FC-4DA8-8DC1-89C9B3B02373}"/>
                </a:ext>
              </a:extLst>
            </p:cNvPr>
            <p:cNvSpPr/>
            <p:nvPr/>
          </p:nvSpPr>
          <p:spPr>
            <a:xfrm>
              <a:off x="8583112" y="4343009"/>
              <a:ext cx="110460" cy="141740"/>
            </a:xfrm>
            <a:custGeom>
              <a:avLst/>
              <a:gdLst>
                <a:gd name="connsiteX0" fmla="*/ 17274 w 110460"/>
                <a:gd name="connsiteY0" fmla="*/ 3455 h 141740"/>
                <a:gd name="connsiteX1" fmla="*/ 0 w 110460"/>
                <a:gd name="connsiteY1" fmla="*/ 0 h 141740"/>
                <a:gd name="connsiteX2" fmla="*/ 6910 w 110460"/>
                <a:gd name="connsiteY2" fmla="*/ 17274 h 141740"/>
                <a:gd name="connsiteX3" fmla="*/ 6910 w 110460"/>
                <a:gd name="connsiteY3" fmla="*/ 44912 h 141740"/>
                <a:gd name="connsiteX4" fmla="*/ 17274 w 110460"/>
                <a:gd name="connsiteY4" fmla="*/ 72644 h 141740"/>
                <a:gd name="connsiteX5" fmla="*/ 30999 w 110460"/>
                <a:gd name="connsiteY5" fmla="*/ 89918 h 141740"/>
                <a:gd name="connsiteX6" fmla="*/ 27545 w 110460"/>
                <a:gd name="connsiteY6" fmla="*/ 103738 h 141740"/>
                <a:gd name="connsiteX7" fmla="*/ 62093 w 110460"/>
                <a:gd name="connsiteY7" fmla="*/ 124467 h 141740"/>
                <a:gd name="connsiteX8" fmla="*/ 93186 w 110460"/>
                <a:gd name="connsiteY8" fmla="*/ 141740 h 141740"/>
                <a:gd name="connsiteX9" fmla="*/ 110460 w 110460"/>
                <a:gd name="connsiteY9" fmla="*/ 141740 h 141740"/>
                <a:gd name="connsiteX10" fmla="*/ 110460 w 110460"/>
                <a:gd name="connsiteY10" fmla="*/ 134831 h 141740"/>
                <a:gd name="connsiteX11" fmla="*/ 103551 w 110460"/>
                <a:gd name="connsiteY11" fmla="*/ 121012 h 141740"/>
                <a:gd name="connsiteX12" fmla="*/ 93186 w 110460"/>
                <a:gd name="connsiteY12" fmla="*/ 107193 h 141740"/>
                <a:gd name="connsiteX13" fmla="*/ 89732 w 110460"/>
                <a:gd name="connsiteY13" fmla="*/ 69190 h 141740"/>
                <a:gd name="connsiteX14" fmla="*/ 89732 w 110460"/>
                <a:gd name="connsiteY14" fmla="*/ 51915 h 141740"/>
                <a:gd name="connsiteX15" fmla="*/ 69002 w 110460"/>
                <a:gd name="connsiteY15" fmla="*/ 24184 h 141740"/>
                <a:gd name="connsiteX16" fmla="*/ 51729 w 110460"/>
                <a:gd name="connsiteY16" fmla="*/ 10365 h 141740"/>
                <a:gd name="connsiteX17" fmla="*/ 44819 w 110460"/>
                <a:gd name="connsiteY17" fmla="*/ 17274 h 141740"/>
                <a:gd name="connsiteX18" fmla="*/ 41364 w 110460"/>
                <a:gd name="connsiteY18" fmla="*/ 27638 h 141740"/>
                <a:gd name="connsiteX19" fmla="*/ 24090 w 110460"/>
                <a:gd name="connsiteY19" fmla="*/ 24184 h 141740"/>
                <a:gd name="connsiteX20" fmla="*/ 27545 w 110460"/>
                <a:gd name="connsiteY20" fmla="*/ 10365 h 141740"/>
                <a:gd name="connsiteX21" fmla="*/ 17274 w 110460"/>
                <a:gd name="connsiteY21" fmla="*/ 3455 h 14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0460" h="141740">
                  <a:moveTo>
                    <a:pt x="17274" y="3455"/>
                  </a:moveTo>
                  <a:lnTo>
                    <a:pt x="0" y="0"/>
                  </a:lnTo>
                  <a:lnTo>
                    <a:pt x="6910" y="17274"/>
                  </a:lnTo>
                  <a:lnTo>
                    <a:pt x="6910" y="44912"/>
                  </a:lnTo>
                  <a:lnTo>
                    <a:pt x="17274" y="72644"/>
                  </a:lnTo>
                  <a:lnTo>
                    <a:pt x="30999" y="89918"/>
                  </a:lnTo>
                  <a:lnTo>
                    <a:pt x="27545" y="103738"/>
                  </a:lnTo>
                  <a:lnTo>
                    <a:pt x="62093" y="124467"/>
                  </a:lnTo>
                  <a:lnTo>
                    <a:pt x="93186" y="141740"/>
                  </a:lnTo>
                  <a:lnTo>
                    <a:pt x="110460" y="141740"/>
                  </a:lnTo>
                  <a:lnTo>
                    <a:pt x="110460" y="134831"/>
                  </a:lnTo>
                  <a:lnTo>
                    <a:pt x="103551" y="121012"/>
                  </a:lnTo>
                  <a:lnTo>
                    <a:pt x="93186" y="107193"/>
                  </a:lnTo>
                  <a:lnTo>
                    <a:pt x="89732" y="69190"/>
                  </a:lnTo>
                  <a:lnTo>
                    <a:pt x="89732" y="51915"/>
                  </a:lnTo>
                  <a:lnTo>
                    <a:pt x="69002" y="24184"/>
                  </a:lnTo>
                  <a:lnTo>
                    <a:pt x="51729" y="10365"/>
                  </a:lnTo>
                  <a:lnTo>
                    <a:pt x="44819" y="17274"/>
                  </a:lnTo>
                  <a:lnTo>
                    <a:pt x="41364" y="27638"/>
                  </a:lnTo>
                  <a:lnTo>
                    <a:pt x="24090" y="24184"/>
                  </a:lnTo>
                  <a:lnTo>
                    <a:pt x="27545" y="10365"/>
                  </a:lnTo>
                  <a:lnTo>
                    <a:pt x="17274" y="3455"/>
                  </a:lnTo>
                  <a:close/>
                </a:path>
              </a:pathLst>
            </a:custGeom>
            <a:solidFill>
              <a:srgbClr val="CEE3BF"/>
            </a:solidFill>
            <a:ln w="9334" cap="flat">
              <a:noFill/>
              <a:prstDash val="solid"/>
              <a:miter/>
            </a:ln>
          </p:spPr>
          <p:txBody>
            <a:bodyPr rtlCol="0" anchor="ctr"/>
            <a:lstStyle/>
            <a:p>
              <a:endParaRPr lang="en-GB" dirty="0"/>
            </a:p>
          </p:txBody>
        </p:sp>
        <p:sp>
          <p:nvSpPr>
            <p:cNvPr id="1373" name="Freeform: Shape 1372">
              <a:extLst>
                <a:ext uri="{FF2B5EF4-FFF2-40B4-BE49-F238E27FC236}">
                  <a16:creationId xmlns:a16="http://schemas.microsoft.com/office/drawing/2014/main" id="{13A65FA6-04B3-4F0B-9E63-86DA4E073E27}"/>
                </a:ext>
              </a:extLst>
            </p:cNvPr>
            <p:cNvSpPr/>
            <p:nvPr/>
          </p:nvSpPr>
          <p:spPr>
            <a:xfrm>
              <a:off x="2974650" y="1850692"/>
              <a:ext cx="13819" cy="27638"/>
            </a:xfrm>
            <a:custGeom>
              <a:avLst/>
              <a:gdLst>
                <a:gd name="connsiteX0" fmla="*/ 0 w 13819"/>
                <a:gd name="connsiteY0" fmla="*/ 0 h 27638"/>
                <a:gd name="connsiteX1" fmla="*/ 13819 w 13819"/>
                <a:gd name="connsiteY1" fmla="*/ 27638 h 27638"/>
                <a:gd name="connsiteX2" fmla="*/ 0 w 13819"/>
                <a:gd name="connsiteY2" fmla="*/ 0 h 27638"/>
                <a:gd name="connsiteX3" fmla="*/ 0 w 13819"/>
                <a:gd name="connsiteY3" fmla="*/ 0 h 27638"/>
              </a:gdLst>
              <a:ahLst/>
              <a:cxnLst>
                <a:cxn ang="0">
                  <a:pos x="connsiteX0" y="connsiteY0"/>
                </a:cxn>
                <a:cxn ang="0">
                  <a:pos x="connsiteX1" y="connsiteY1"/>
                </a:cxn>
                <a:cxn ang="0">
                  <a:pos x="connsiteX2" y="connsiteY2"/>
                </a:cxn>
                <a:cxn ang="0">
                  <a:pos x="connsiteX3" y="connsiteY3"/>
                </a:cxn>
              </a:cxnLst>
              <a:rect l="l" t="t" r="r" b="b"/>
              <a:pathLst>
                <a:path w="13819" h="27638">
                  <a:moveTo>
                    <a:pt x="0" y="0"/>
                  </a:moveTo>
                  <a:lnTo>
                    <a:pt x="13819" y="27638"/>
                  </a:lnTo>
                  <a:lnTo>
                    <a:pt x="0" y="0"/>
                  </a:lnTo>
                  <a:lnTo>
                    <a:pt x="0" y="0"/>
                  </a:lnTo>
                  <a:close/>
                </a:path>
              </a:pathLst>
            </a:custGeom>
            <a:solidFill>
              <a:srgbClr val="CEE3BF"/>
            </a:solidFill>
            <a:ln w="9334" cap="flat">
              <a:noFill/>
              <a:prstDash val="solid"/>
              <a:miter/>
            </a:ln>
          </p:spPr>
          <p:txBody>
            <a:bodyPr rtlCol="0" anchor="ctr"/>
            <a:lstStyle/>
            <a:p>
              <a:endParaRPr lang="en-GB" dirty="0"/>
            </a:p>
          </p:txBody>
        </p:sp>
        <p:sp>
          <p:nvSpPr>
            <p:cNvPr id="1374" name="Freeform: Shape 1373">
              <a:extLst>
                <a:ext uri="{FF2B5EF4-FFF2-40B4-BE49-F238E27FC236}">
                  <a16:creationId xmlns:a16="http://schemas.microsoft.com/office/drawing/2014/main" id="{1DB498DA-AC38-442B-8E52-DDE50297C321}"/>
                </a:ext>
              </a:extLst>
            </p:cNvPr>
            <p:cNvSpPr/>
            <p:nvPr/>
          </p:nvSpPr>
          <p:spPr>
            <a:xfrm>
              <a:off x="3085111" y="1843782"/>
              <a:ext cx="34548" cy="13819"/>
            </a:xfrm>
            <a:custGeom>
              <a:avLst/>
              <a:gdLst>
                <a:gd name="connsiteX0" fmla="*/ 34548 w 34548"/>
                <a:gd name="connsiteY0" fmla="*/ 13819 h 13819"/>
                <a:gd name="connsiteX1" fmla="*/ 24184 w 34548"/>
                <a:gd name="connsiteY1" fmla="*/ 3455 h 13819"/>
                <a:gd name="connsiteX2" fmla="*/ 0 w 34548"/>
                <a:gd name="connsiteY2" fmla="*/ 0 h 13819"/>
                <a:gd name="connsiteX3" fmla="*/ 24184 w 34548"/>
                <a:gd name="connsiteY3" fmla="*/ 3455 h 13819"/>
                <a:gd name="connsiteX4" fmla="*/ 34548 w 34548"/>
                <a:gd name="connsiteY4" fmla="*/ 13819 h 13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48" h="13819">
                  <a:moveTo>
                    <a:pt x="34548" y="13819"/>
                  </a:moveTo>
                  <a:lnTo>
                    <a:pt x="24184" y="3455"/>
                  </a:lnTo>
                  <a:lnTo>
                    <a:pt x="0" y="0"/>
                  </a:lnTo>
                  <a:lnTo>
                    <a:pt x="24184" y="3455"/>
                  </a:lnTo>
                  <a:lnTo>
                    <a:pt x="34548" y="13819"/>
                  </a:lnTo>
                  <a:close/>
                </a:path>
              </a:pathLst>
            </a:custGeom>
            <a:solidFill>
              <a:srgbClr val="CEE3BF"/>
            </a:solidFill>
            <a:ln w="9334" cap="flat">
              <a:noFill/>
              <a:prstDash val="solid"/>
              <a:miter/>
            </a:ln>
          </p:spPr>
          <p:txBody>
            <a:bodyPr rtlCol="0" anchor="ctr"/>
            <a:lstStyle/>
            <a:p>
              <a:endParaRPr lang="en-GB" dirty="0"/>
            </a:p>
          </p:txBody>
        </p:sp>
        <p:sp>
          <p:nvSpPr>
            <p:cNvPr id="1375" name="Freeform: Shape 1374">
              <a:extLst>
                <a:ext uri="{FF2B5EF4-FFF2-40B4-BE49-F238E27FC236}">
                  <a16:creationId xmlns:a16="http://schemas.microsoft.com/office/drawing/2014/main" id="{44F586CF-DAD9-4CAE-902E-8E85AD85A4FA}"/>
                </a:ext>
              </a:extLst>
            </p:cNvPr>
            <p:cNvSpPr/>
            <p:nvPr/>
          </p:nvSpPr>
          <p:spPr>
            <a:xfrm>
              <a:off x="3081656" y="1850692"/>
              <a:ext cx="10364" cy="13819"/>
            </a:xfrm>
            <a:custGeom>
              <a:avLst/>
              <a:gdLst>
                <a:gd name="connsiteX0" fmla="*/ 0 w 10364"/>
                <a:gd name="connsiteY0" fmla="*/ 0 h 13819"/>
                <a:gd name="connsiteX1" fmla="*/ 10364 w 10364"/>
                <a:gd name="connsiteY1" fmla="*/ 13819 h 13819"/>
                <a:gd name="connsiteX2" fmla="*/ 0 w 10364"/>
                <a:gd name="connsiteY2" fmla="*/ 0 h 13819"/>
                <a:gd name="connsiteX3" fmla="*/ 0 w 10364"/>
                <a:gd name="connsiteY3" fmla="*/ 0 h 13819"/>
              </a:gdLst>
              <a:ahLst/>
              <a:cxnLst>
                <a:cxn ang="0">
                  <a:pos x="connsiteX0" y="connsiteY0"/>
                </a:cxn>
                <a:cxn ang="0">
                  <a:pos x="connsiteX1" y="connsiteY1"/>
                </a:cxn>
                <a:cxn ang="0">
                  <a:pos x="connsiteX2" y="connsiteY2"/>
                </a:cxn>
                <a:cxn ang="0">
                  <a:pos x="connsiteX3" y="connsiteY3"/>
                </a:cxn>
              </a:cxnLst>
              <a:rect l="l" t="t" r="r" b="b"/>
              <a:pathLst>
                <a:path w="10364" h="13819">
                  <a:moveTo>
                    <a:pt x="0" y="0"/>
                  </a:moveTo>
                  <a:lnTo>
                    <a:pt x="10364" y="13819"/>
                  </a:lnTo>
                  <a:lnTo>
                    <a:pt x="0" y="0"/>
                  </a:lnTo>
                  <a:lnTo>
                    <a:pt x="0" y="0"/>
                  </a:lnTo>
                  <a:close/>
                </a:path>
              </a:pathLst>
            </a:custGeom>
            <a:solidFill>
              <a:srgbClr val="CEE3BF"/>
            </a:solidFill>
            <a:ln w="9334" cap="flat">
              <a:noFill/>
              <a:prstDash val="solid"/>
              <a:miter/>
            </a:ln>
          </p:spPr>
          <p:txBody>
            <a:bodyPr rtlCol="0" anchor="ctr"/>
            <a:lstStyle/>
            <a:p>
              <a:endParaRPr lang="en-GB" dirty="0"/>
            </a:p>
          </p:txBody>
        </p:sp>
        <p:sp>
          <p:nvSpPr>
            <p:cNvPr id="1376" name="Freeform: Shape 1375">
              <a:extLst>
                <a:ext uri="{FF2B5EF4-FFF2-40B4-BE49-F238E27FC236}">
                  <a16:creationId xmlns:a16="http://schemas.microsoft.com/office/drawing/2014/main" id="{6A50CDBB-7F11-40AE-A641-C48BD49D6770}"/>
                </a:ext>
              </a:extLst>
            </p:cNvPr>
            <p:cNvSpPr/>
            <p:nvPr/>
          </p:nvSpPr>
          <p:spPr>
            <a:xfrm>
              <a:off x="2974650" y="1843782"/>
              <a:ext cx="193375" cy="96734"/>
            </a:xfrm>
            <a:custGeom>
              <a:avLst/>
              <a:gdLst>
                <a:gd name="connsiteX0" fmla="*/ 158828 w 193375"/>
                <a:gd name="connsiteY0" fmla="*/ 6910 h 96734"/>
                <a:gd name="connsiteX1" fmla="*/ 145009 w 193375"/>
                <a:gd name="connsiteY1" fmla="*/ 13819 h 96734"/>
                <a:gd name="connsiteX2" fmla="*/ 134644 w 193375"/>
                <a:gd name="connsiteY2" fmla="*/ 3455 h 96734"/>
                <a:gd name="connsiteX3" fmla="*/ 110461 w 193375"/>
                <a:gd name="connsiteY3" fmla="*/ 0 h 96734"/>
                <a:gd name="connsiteX4" fmla="*/ 107006 w 193375"/>
                <a:gd name="connsiteY4" fmla="*/ 6910 h 96734"/>
                <a:gd name="connsiteX5" fmla="*/ 117370 w 193375"/>
                <a:gd name="connsiteY5" fmla="*/ 20729 h 96734"/>
                <a:gd name="connsiteX6" fmla="*/ 127734 w 193375"/>
                <a:gd name="connsiteY6" fmla="*/ 34548 h 96734"/>
                <a:gd name="connsiteX7" fmla="*/ 120825 w 193375"/>
                <a:gd name="connsiteY7" fmla="*/ 44912 h 96734"/>
                <a:gd name="connsiteX8" fmla="*/ 100096 w 193375"/>
                <a:gd name="connsiteY8" fmla="*/ 27638 h 96734"/>
                <a:gd name="connsiteX9" fmla="*/ 82822 w 193375"/>
                <a:gd name="connsiteY9" fmla="*/ 13819 h 96734"/>
                <a:gd name="connsiteX10" fmla="*/ 69096 w 193375"/>
                <a:gd name="connsiteY10" fmla="*/ 17274 h 96734"/>
                <a:gd name="connsiteX11" fmla="*/ 69096 w 193375"/>
                <a:gd name="connsiteY11" fmla="*/ 27638 h 96734"/>
                <a:gd name="connsiteX12" fmla="*/ 82822 w 193375"/>
                <a:gd name="connsiteY12" fmla="*/ 41458 h 96734"/>
                <a:gd name="connsiteX13" fmla="*/ 69096 w 193375"/>
                <a:gd name="connsiteY13" fmla="*/ 44912 h 96734"/>
                <a:gd name="connsiteX14" fmla="*/ 44912 w 193375"/>
                <a:gd name="connsiteY14" fmla="*/ 24184 h 96734"/>
                <a:gd name="connsiteX15" fmla="*/ 31093 w 193375"/>
                <a:gd name="connsiteY15" fmla="*/ 10364 h 96734"/>
                <a:gd name="connsiteX16" fmla="*/ 13819 w 193375"/>
                <a:gd name="connsiteY16" fmla="*/ 0 h 96734"/>
                <a:gd name="connsiteX17" fmla="*/ 0 w 193375"/>
                <a:gd name="connsiteY17" fmla="*/ 6910 h 96734"/>
                <a:gd name="connsiteX18" fmla="*/ 13819 w 193375"/>
                <a:gd name="connsiteY18" fmla="*/ 34548 h 96734"/>
                <a:gd name="connsiteX19" fmla="*/ 44912 w 193375"/>
                <a:gd name="connsiteY19" fmla="*/ 58732 h 96734"/>
                <a:gd name="connsiteX20" fmla="*/ 62187 w 193375"/>
                <a:gd name="connsiteY20" fmla="*/ 65641 h 96734"/>
                <a:gd name="connsiteX21" fmla="*/ 82822 w 193375"/>
                <a:gd name="connsiteY21" fmla="*/ 58732 h 96734"/>
                <a:gd name="connsiteX22" fmla="*/ 100096 w 193375"/>
                <a:gd name="connsiteY22" fmla="*/ 58732 h 96734"/>
                <a:gd name="connsiteX23" fmla="*/ 117370 w 193375"/>
                <a:gd name="connsiteY23" fmla="*/ 62187 h 96734"/>
                <a:gd name="connsiteX24" fmla="*/ 127734 w 193375"/>
                <a:gd name="connsiteY24" fmla="*/ 62187 h 96734"/>
                <a:gd name="connsiteX25" fmla="*/ 113915 w 193375"/>
                <a:gd name="connsiteY25" fmla="*/ 76006 h 96734"/>
                <a:gd name="connsiteX26" fmla="*/ 120825 w 193375"/>
                <a:gd name="connsiteY26" fmla="*/ 96735 h 96734"/>
                <a:gd name="connsiteX27" fmla="*/ 158828 w 193375"/>
                <a:gd name="connsiteY27" fmla="*/ 93280 h 96734"/>
                <a:gd name="connsiteX28" fmla="*/ 179557 w 193375"/>
                <a:gd name="connsiteY28" fmla="*/ 89825 h 96734"/>
                <a:gd name="connsiteX29" fmla="*/ 179557 w 193375"/>
                <a:gd name="connsiteY29" fmla="*/ 69096 h 96734"/>
                <a:gd name="connsiteX30" fmla="*/ 193376 w 193375"/>
                <a:gd name="connsiteY30" fmla="*/ 62187 h 96734"/>
                <a:gd name="connsiteX31" fmla="*/ 189921 w 193375"/>
                <a:gd name="connsiteY31" fmla="*/ 48367 h 96734"/>
                <a:gd name="connsiteX32" fmla="*/ 186466 w 193375"/>
                <a:gd name="connsiteY32" fmla="*/ 17274 h 96734"/>
                <a:gd name="connsiteX33" fmla="*/ 179557 w 193375"/>
                <a:gd name="connsiteY33" fmla="*/ 6910 h 96734"/>
                <a:gd name="connsiteX34" fmla="*/ 158828 w 193375"/>
                <a:gd name="connsiteY34" fmla="*/ 6910 h 9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3375" h="96734">
                  <a:moveTo>
                    <a:pt x="158828" y="6910"/>
                  </a:moveTo>
                  <a:lnTo>
                    <a:pt x="145009" y="13819"/>
                  </a:lnTo>
                  <a:lnTo>
                    <a:pt x="134644" y="3455"/>
                  </a:lnTo>
                  <a:lnTo>
                    <a:pt x="110461" y="0"/>
                  </a:lnTo>
                  <a:lnTo>
                    <a:pt x="107006" y="6910"/>
                  </a:lnTo>
                  <a:lnTo>
                    <a:pt x="117370" y="20729"/>
                  </a:lnTo>
                  <a:lnTo>
                    <a:pt x="127734" y="34548"/>
                  </a:lnTo>
                  <a:lnTo>
                    <a:pt x="120825" y="44912"/>
                  </a:lnTo>
                  <a:lnTo>
                    <a:pt x="100096" y="27638"/>
                  </a:lnTo>
                  <a:lnTo>
                    <a:pt x="82822" y="13819"/>
                  </a:lnTo>
                  <a:lnTo>
                    <a:pt x="69096" y="17274"/>
                  </a:lnTo>
                  <a:lnTo>
                    <a:pt x="69096" y="27638"/>
                  </a:lnTo>
                  <a:lnTo>
                    <a:pt x="82822" y="41458"/>
                  </a:lnTo>
                  <a:lnTo>
                    <a:pt x="69096" y="44912"/>
                  </a:lnTo>
                  <a:lnTo>
                    <a:pt x="44912" y="24184"/>
                  </a:lnTo>
                  <a:lnTo>
                    <a:pt x="31093" y="10364"/>
                  </a:lnTo>
                  <a:lnTo>
                    <a:pt x="13819" y="0"/>
                  </a:lnTo>
                  <a:lnTo>
                    <a:pt x="0" y="6910"/>
                  </a:lnTo>
                  <a:lnTo>
                    <a:pt x="13819" y="34548"/>
                  </a:lnTo>
                  <a:lnTo>
                    <a:pt x="44912" y="58732"/>
                  </a:lnTo>
                  <a:lnTo>
                    <a:pt x="62187" y="65641"/>
                  </a:lnTo>
                  <a:lnTo>
                    <a:pt x="82822" y="58732"/>
                  </a:lnTo>
                  <a:lnTo>
                    <a:pt x="100096" y="58732"/>
                  </a:lnTo>
                  <a:lnTo>
                    <a:pt x="117370" y="62187"/>
                  </a:lnTo>
                  <a:lnTo>
                    <a:pt x="127734" y="62187"/>
                  </a:lnTo>
                  <a:lnTo>
                    <a:pt x="113915" y="76006"/>
                  </a:lnTo>
                  <a:lnTo>
                    <a:pt x="120825" y="96735"/>
                  </a:lnTo>
                  <a:lnTo>
                    <a:pt x="158828" y="93280"/>
                  </a:lnTo>
                  <a:lnTo>
                    <a:pt x="179557" y="89825"/>
                  </a:lnTo>
                  <a:lnTo>
                    <a:pt x="179557" y="69096"/>
                  </a:lnTo>
                  <a:lnTo>
                    <a:pt x="193376" y="62187"/>
                  </a:lnTo>
                  <a:lnTo>
                    <a:pt x="189921" y="48367"/>
                  </a:lnTo>
                  <a:lnTo>
                    <a:pt x="186466" y="17274"/>
                  </a:lnTo>
                  <a:lnTo>
                    <a:pt x="179557" y="6910"/>
                  </a:lnTo>
                  <a:lnTo>
                    <a:pt x="158828" y="6910"/>
                  </a:lnTo>
                  <a:close/>
                </a:path>
              </a:pathLst>
            </a:custGeom>
            <a:solidFill>
              <a:srgbClr val="CEE3BF"/>
            </a:solidFill>
            <a:ln w="9334" cap="flat">
              <a:noFill/>
              <a:prstDash val="solid"/>
              <a:miter/>
            </a:ln>
          </p:spPr>
          <p:txBody>
            <a:bodyPr rtlCol="0" anchor="ctr"/>
            <a:lstStyle/>
            <a:p>
              <a:endParaRPr lang="en-GB" dirty="0"/>
            </a:p>
          </p:txBody>
        </p:sp>
        <p:sp>
          <p:nvSpPr>
            <p:cNvPr id="1377" name="Freeform: Shape 1376">
              <a:extLst>
                <a:ext uri="{FF2B5EF4-FFF2-40B4-BE49-F238E27FC236}">
                  <a16:creationId xmlns:a16="http://schemas.microsoft.com/office/drawing/2014/main" id="{FA8F5695-CC34-4458-BAD8-4DE491FF59A4}"/>
                </a:ext>
              </a:extLst>
            </p:cNvPr>
            <p:cNvSpPr/>
            <p:nvPr/>
          </p:nvSpPr>
          <p:spPr>
            <a:xfrm>
              <a:off x="4203722" y="2974158"/>
              <a:ext cx="189827" cy="172833"/>
            </a:xfrm>
            <a:custGeom>
              <a:avLst/>
              <a:gdLst>
                <a:gd name="connsiteX0" fmla="*/ 113915 w 189827"/>
                <a:gd name="connsiteY0" fmla="*/ 0 h 172833"/>
                <a:gd name="connsiteX1" fmla="*/ 93186 w 189827"/>
                <a:gd name="connsiteY1" fmla="*/ 10364 h 172833"/>
                <a:gd name="connsiteX2" fmla="*/ 69003 w 189827"/>
                <a:gd name="connsiteY2" fmla="*/ 34548 h 172833"/>
                <a:gd name="connsiteX3" fmla="*/ 51729 w 189827"/>
                <a:gd name="connsiteY3" fmla="*/ 62186 h 172833"/>
                <a:gd name="connsiteX4" fmla="*/ 38003 w 189827"/>
                <a:gd name="connsiteY4" fmla="*/ 76006 h 172833"/>
                <a:gd name="connsiteX5" fmla="*/ 27638 w 189827"/>
                <a:gd name="connsiteY5" fmla="*/ 89825 h 172833"/>
                <a:gd name="connsiteX6" fmla="*/ 3455 w 189827"/>
                <a:gd name="connsiteY6" fmla="*/ 114009 h 172833"/>
                <a:gd name="connsiteX7" fmla="*/ 0 w 189827"/>
                <a:gd name="connsiteY7" fmla="*/ 138286 h 172833"/>
                <a:gd name="connsiteX8" fmla="*/ 51729 w 189827"/>
                <a:gd name="connsiteY8" fmla="*/ 141740 h 172833"/>
                <a:gd name="connsiteX9" fmla="*/ 100096 w 189827"/>
                <a:gd name="connsiteY9" fmla="*/ 134831 h 172833"/>
                <a:gd name="connsiteX10" fmla="*/ 103551 w 189827"/>
                <a:gd name="connsiteY10" fmla="*/ 155560 h 172833"/>
                <a:gd name="connsiteX11" fmla="*/ 120825 w 189827"/>
                <a:gd name="connsiteY11" fmla="*/ 162469 h 172833"/>
                <a:gd name="connsiteX12" fmla="*/ 124280 w 189827"/>
                <a:gd name="connsiteY12" fmla="*/ 152105 h 172833"/>
                <a:gd name="connsiteX13" fmla="*/ 134644 w 189827"/>
                <a:gd name="connsiteY13" fmla="*/ 141740 h 172833"/>
                <a:gd name="connsiteX14" fmla="*/ 148463 w 189827"/>
                <a:gd name="connsiteY14" fmla="*/ 155560 h 172833"/>
                <a:gd name="connsiteX15" fmla="*/ 158828 w 189827"/>
                <a:gd name="connsiteY15" fmla="*/ 172834 h 172833"/>
                <a:gd name="connsiteX16" fmla="*/ 183012 w 189827"/>
                <a:gd name="connsiteY16" fmla="*/ 165924 h 172833"/>
                <a:gd name="connsiteX17" fmla="*/ 189828 w 189827"/>
                <a:gd name="connsiteY17" fmla="*/ 148650 h 172833"/>
                <a:gd name="connsiteX18" fmla="*/ 186373 w 189827"/>
                <a:gd name="connsiteY18" fmla="*/ 127921 h 172833"/>
                <a:gd name="connsiteX19" fmla="*/ 183012 w 189827"/>
                <a:gd name="connsiteY19" fmla="*/ 114009 h 172833"/>
                <a:gd name="connsiteX20" fmla="*/ 172647 w 189827"/>
                <a:gd name="connsiteY20" fmla="*/ 110554 h 172833"/>
                <a:gd name="connsiteX21" fmla="*/ 155373 w 189827"/>
                <a:gd name="connsiteY21" fmla="*/ 93280 h 172833"/>
                <a:gd name="connsiteX22" fmla="*/ 162283 w 189827"/>
                <a:gd name="connsiteY22" fmla="*/ 79461 h 172833"/>
                <a:gd name="connsiteX23" fmla="*/ 148463 w 189827"/>
                <a:gd name="connsiteY23" fmla="*/ 76006 h 172833"/>
                <a:gd name="connsiteX24" fmla="*/ 141554 w 189827"/>
                <a:gd name="connsiteY24" fmla="*/ 65641 h 172833"/>
                <a:gd name="connsiteX25" fmla="*/ 124280 w 189827"/>
                <a:gd name="connsiteY25" fmla="*/ 76006 h 172833"/>
                <a:gd name="connsiteX26" fmla="*/ 107006 w 189827"/>
                <a:gd name="connsiteY26" fmla="*/ 58732 h 172833"/>
                <a:gd name="connsiteX27" fmla="*/ 100096 w 189827"/>
                <a:gd name="connsiteY27" fmla="*/ 34548 h 172833"/>
                <a:gd name="connsiteX28" fmla="*/ 107006 w 189827"/>
                <a:gd name="connsiteY28" fmla="*/ 13819 h 172833"/>
                <a:gd name="connsiteX29" fmla="*/ 113915 w 189827"/>
                <a:gd name="connsiteY29" fmla="*/ 0 h 17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9827" h="172833">
                  <a:moveTo>
                    <a:pt x="113915" y="0"/>
                  </a:moveTo>
                  <a:lnTo>
                    <a:pt x="93186" y="10364"/>
                  </a:lnTo>
                  <a:lnTo>
                    <a:pt x="69003" y="34548"/>
                  </a:lnTo>
                  <a:lnTo>
                    <a:pt x="51729" y="62186"/>
                  </a:lnTo>
                  <a:lnTo>
                    <a:pt x="38003" y="76006"/>
                  </a:lnTo>
                  <a:lnTo>
                    <a:pt x="27638" y="89825"/>
                  </a:lnTo>
                  <a:lnTo>
                    <a:pt x="3455" y="114009"/>
                  </a:lnTo>
                  <a:lnTo>
                    <a:pt x="0" y="138286"/>
                  </a:lnTo>
                  <a:lnTo>
                    <a:pt x="51729" y="141740"/>
                  </a:lnTo>
                  <a:lnTo>
                    <a:pt x="100096" y="134831"/>
                  </a:lnTo>
                  <a:lnTo>
                    <a:pt x="103551" y="155560"/>
                  </a:lnTo>
                  <a:lnTo>
                    <a:pt x="120825" y="162469"/>
                  </a:lnTo>
                  <a:lnTo>
                    <a:pt x="124280" y="152105"/>
                  </a:lnTo>
                  <a:lnTo>
                    <a:pt x="134644" y="141740"/>
                  </a:lnTo>
                  <a:lnTo>
                    <a:pt x="148463" y="155560"/>
                  </a:lnTo>
                  <a:lnTo>
                    <a:pt x="158828" y="172834"/>
                  </a:lnTo>
                  <a:lnTo>
                    <a:pt x="183012" y="165924"/>
                  </a:lnTo>
                  <a:lnTo>
                    <a:pt x="189828" y="148650"/>
                  </a:lnTo>
                  <a:lnTo>
                    <a:pt x="186373" y="127921"/>
                  </a:lnTo>
                  <a:lnTo>
                    <a:pt x="183012" y="114009"/>
                  </a:lnTo>
                  <a:lnTo>
                    <a:pt x="172647" y="110554"/>
                  </a:lnTo>
                  <a:lnTo>
                    <a:pt x="155373" y="93280"/>
                  </a:lnTo>
                  <a:lnTo>
                    <a:pt x="162283" y="79461"/>
                  </a:lnTo>
                  <a:lnTo>
                    <a:pt x="148463" y="76006"/>
                  </a:lnTo>
                  <a:lnTo>
                    <a:pt x="141554" y="65641"/>
                  </a:lnTo>
                  <a:lnTo>
                    <a:pt x="124280" y="76006"/>
                  </a:lnTo>
                  <a:lnTo>
                    <a:pt x="107006" y="58732"/>
                  </a:lnTo>
                  <a:lnTo>
                    <a:pt x="100096" y="34548"/>
                  </a:lnTo>
                  <a:lnTo>
                    <a:pt x="107006" y="13819"/>
                  </a:lnTo>
                  <a:lnTo>
                    <a:pt x="113915" y="0"/>
                  </a:lnTo>
                  <a:close/>
                </a:path>
              </a:pathLst>
            </a:custGeom>
            <a:solidFill>
              <a:srgbClr val="CEE3BF"/>
            </a:solidFill>
            <a:ln w="9334" cap="flat">
              <a:noFill/>
              <a:prstDash val="solid"/>
              <a:miter/>
            </a:ln>
          </p:spPr>
          <p:txBody>
            <a:bodyPr rtlCol="0" anchor="ctr"/>
            <a:lstStyle/>
            <a:p>
              <a:endParaRPr lang="en-GB" dirty="0"/>
            </a:p>
          </p:txBody>
        </p:sp>
        <p:sp>
          <p:nvSpPr>
            <p:cNvPr id="1378" name="Freeform: Shape 1377">
              <a:extLst>
                <a:ext uri="{FF2B5EF4-FFF2-40B4-BE49-F238E27FC236}">
                  <a16:creationId xmlns:a16="http://schemas.microsoft.com/office/drawing/2014/main" id="{97E0601C-6C23-480A-B212-A3AFE4B0250D}"/>
                </a:ext>
              </a:extLst>
            </p:cNvPr>
            <p:cNvSpPr/>
            <p:nvPr/>
          </p:nvSpPr>
          <p:spPr>
            <a:xfrm>
              <a:off x="2909102" y="2006252"/>
              <a:ext cx="65548" cy="48367"/>
            </a:xfrm>
            <a:custGeom>
              <a:avLst/>
              <a:gdLst>
                <a:gd name="connsiteX0" fmla="*/ 24090 w 65548"/>
                <a:gd name="connsiteY0" fmla="*/ 24184 h 48367"/>
                <a:gd name="connsiteX1" fmla="*/ 37909 w 65548"/>
                <a:gd name="connsiteY1" fmla="*/ 41458 h 48367"/>
                <a:gd name="connsiteX2" fmla="*/ 48274 w 65548"/>
                <a:gd name="connsiteY2" fmla="*/ 48367 h 48367"/>
                <a:gd name="connsiteX3" fmla="*/ 58638 w 65548"/>
                <a:gd name="connsiteY3" fmla="*/ 34548 h 48367"/>
                <a:gd name="connsiteX4" fmla="*/ 65548 w 65548"/>
                <a:gd name="connsiteY4" fmla="*/ 13819 h 48367"/>
                <a:gd name="connsiteX5" fmla="*/ 62093 w 65548"/>
                <a:gd name="connsiteY5" fmla="*/ 0 h 48367"/>
                <a:gd name="connsiteX6" fmla="*/ 37909 w 65548"/>
                <a:gd name="connsiteY6" fmla="*/ 0 h 48367"/>
                <a:gd name="connsiteX7" fmla="*/ 10271 w 65548"/>
                <a:gd name="connsiteY7" fmla="*/ 0 h 48367"/>
                <a:gd name="connsiteX8" fmla="*/ 0 w 65548"/>
                <a:gd name="connsiteY8" fmla="*/ 6910 h 48367"/>
                <a:gd name="connsiteX9" fmla="*/ 10271 w 65548"/>
                <a:gd name="connsiteY9" fmla="*/ 17274 h 48367"/>
                <a:gd name="connsiteX10" fmla="*/ 24090 w 65548"/>
                <a:gd name="connsiteY10" fmla="*/ 24184 h 4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48" h="48367">
                  <a:moveTo>
                    <a:pt x="24090" y="24184"/>
                  </a:moveTo>
                  <a:lnTo>
                    <a:pt x="37909" y="41458"/>
                  </a:lnTo>
                  <a:lnTo>
                    <a:pt x="48274" y="48367"/>
                  </a:lnTo>
                  <a:lnTo>
                    <a:pt x="58638" y="34548"/>
                  </a:lnTo>
                  <a:lnTo>
                    <a:pt x="65548" y="13819"/>
                  </a:lnTo>
                  <a:lnTo>
                    <a:pt x="62093" y="0"/>
                  </a:lnTo>
                  <a:lnTo>
                    <a:pt x="37909" y="0"/>
                  </a:lnTo>
                  <a:lnTo>
                    <a:pt x="10271" y="0"/>
                  </a:lnTo>
                  <a:lnTo>
                    <a:pt x="0" y="6910"/>
                  </a:lnTo>
                  <a:lnTo>
                    <a:pt x="10271" y="17274"/>
                  </a:lnTo>
                  <a:lnTo>
                    <a:pt x="24090" y="24184"/>
                  </a:lnTo>
                  <a:close/>
                </a:path>
              </a:pathLst>
            </a:custGeom>
            <a:solidFill>
              <a:srgbClr val="CEE3BF"/>
            </a:solidFill>
            <a:ln w="9334" cap="flat">
              <a:noFill/>
              <a:prstDash val="solid"/>
              <a:miter/>
            </a:ln>
          </p:spPr>
          <p:txBody>
            <a:bodyPr rtlCol="0" anchor="ctr"/>
            <a:lstStyle/>
            <a:p>
              <a:endParaRPr lang="en-GB" dirty="0"/>
            </a:p>
          </p:txBody>
        </p:sp>
        <p:sp>
          <p:nvSpPr>
            <p:cNvPr id="1379" name="Freeform: Shape 1378">
              <a:extLst>
                <a:ext uri="{FF2B5EF4-FFF2-40B4-BE49-F238E27FC236}">
                  <a16:creationId xmlns:a16="http://schemas.microsoft.com/office/drawing/2014/main" id="{C1EE523D-DCAB-468E-8B71-823BFC6DCF8D}"/>
                </a:ext>
              </a:extLst>
            </p:cNvPr>
            <p:cNvSpPr/>
            <p:nvPr/>
          </p:nvSpPr>
          <p:spPr>
            <a:xfrm>
              <a:off x="2577627" y="1878331"/>
              <a:ext cx="24183" cy="13819"/>
            </a:xfrm>
            <a:custGeom>
              <a:avLst/>
              <a:gdLst>
                <a:gd name="connsiteX0" fmla="*/ 17274 w 24183"/>
                <a:gd name="connsiteY0" fmla="*/ 3455 h 13819"/>
                <a:gd name="connsiteX1" fmla="*/ 0 w 24183"/>
                <a:gd name="connsiteY1" fmla="*/ 13819 h 13819"/>
                <a:gd name="connsiteX2" fmla="*/ 24184 w 24183"/>
                <a:gd name="connsiteY2" fmla="*/ 0 h 13819"/>
                <a:gd name="connsiteX3" fmla="*/ 17274 w 24183"/>
                <a:gd name="connsiteY3" fmla="*/ 3455 h 13819"/>
              </a:gdLst>
              <a:ahLst/>
              <a:cxnLst>
                <a:cxn ang="0">
                  <a:pos x="connsiteX0" y="connsiteY0"/>
                </a:cxn>
                <a:cxn ang="0">
                  <a:pos x="connsiteX1" y="connsiteY1"/>
                </a:cxn>
                <a:cxn ang="0">
                  <a:pos x="connsiteX2" y="connsiteY2"/>
                </a:cxn>
                <a:cxn ang="0">
                  <a:pos x="connsiteX3" y="connsiteY3"/>
                </a:cxn>
              </a:cxnLst>
              <a:rect l="l" t="t" r="r" b="b"/>
              <a:pathLst>
                <a:path w="24183" h="13819">
                  <a:moveTo>
                    <a:pt x="17274" y="3455"/>
                  </a:moveTo>
                  <a:lnTo>
                    <a:pt x="0" y="13819"/>
                  </a:lnTo>
                  <a:lnTo>
                    <a:pt x="24184" y="0"/>
                  </a:lnTo>
                  <a:lnTo>
                    <a:pt x="17274" y="3455"/>
                  </a:lnTo>
                  <a:close/>
                </a:path>
              </a:pathLst>
            </a:custGeom>
            <a:solidFill>
              <a:srgbClr val="CEE3BF"/>
            </a:solidFill>
            <a:ln w="9334" cap="flat">
              <a:noFill/>
              <a:prstDash val="solid"/>
              <a:miter/>
            </a:ln>
          </p:spPr>
          <p:txBody>
            <a:bodyPr rtlCol="0" anchor="ctr"/>
            <a:lstStyle/>
            <a:p>
              <a:endParaRPr lang="en-GB" dirty="0"/>
            </a:p>
          </p:txBody>
        </p:sp>
        <p:sp>
          <p:nvSpPr>
            <p:cNvPr id="1380" name="Freeform: Shape 1379">
              <a:extLst>
                <a:ext uri="{FF2B5EF4-FFF2-40B4-BE49-F238E27FC236}">
                  <a16:creationId xmlns:a16="http://schemas.microsoft.com/office/drawing/2014/main" id="{9666E329-4F7C-47A5-B1B9-D87254809D2C}"/>
                </a:ext>
              </a:extLst>
            </p:cNvPr>
            <p:cNvSpPr/>
            <p:nvPr/>
          </p:nvSpPr>
          <p:spPr>
            <a:xfrm>
              <a:off x="3230119" y="1743500"/>
              <a:ext cx="10364" cy="27638"/>
            </a:xfrm>
            <a:custGeom>
              <a:avLst/>
              <a:gdLst>
                <a:gd name="connsiteX0" fmla="*/ 0 w 10364"/>
                <a:gd name="connsiteY0" fmla="*/ 27638 h 27638"/>
                <a:gd name="connsiteX1" fmla="*/ 10364 w 10364"/>
                <a:gd name="connsiteY1" fmla="*/ 10364 h 27638"/>
                <a:gd name="connsiteX2" fmla="*/ 0 w 10364"/>
                <a:gd name="connsiteY2" fmla="*/ 0 h 27638"/>
                <a:gd name="connsiteX3" fmla="*/ 10364 w 10364"/>
                <a:gd name="connsiteY3" fmla="*/ 10364 h 27638"/>
                <a:gd name="connsiteX4" fmla="*/ 0 w 10364"/>
                <a:gd name="connsiteY4" fmla="*/ 27638 h 27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4" h="27638">
                  <a:moveTo>
                    <a:pt x="0" y="27638"/>
                  </a:moveTo>
                  <a:lnTo>
                    <a:pt x="10364" y="10364"/>
                  </a:lnTo>
                  <a:lnTo>
                    <a:pt x="0" y="0"/>
                  </a:lnTo>
                  <a:lnTo>
                    <a:pt x="10364" y="10364"/>
                  </a:lnTo>
                  <a:lnTo>
                    <a:pt x="0" y="27638"/>
                  </a:lnTo>
                  <a:close/>
                </a:path>
              </a:pathLst>
            </a:custGeom>
            <a:solidFill>
              <a:srgbClr val="CEE3BF"/>
            </a:solidFill>
            <a:ln w="9334" cap="flat">
              <a:noFill/>
              <a:prstDash val="solid"/>
              <a:miter/>
            </a:ln>
          </p:spPr>
          <p:txBody>
            <a:bodyPr rtlCol="0" anchor="ctr"/>
            <a:lstStyle/>
            <a:p>
              <a:endParaRPr lang="en-GB" dirty="0"/>
            </a:p>
          </p:txBody>
        </p:sp>
        <p:sp>
          <p:nvSpPr>
            <p:cNvPr id="1381" name="Freeform: Shape 1380">
              <a:extLst>
                <a:ext uri="{FF2B5EF4-FFF2-40B4-BE49-F238E27FC236}">
                  <a16:creationId xmlns:a16="http://schemas.microsoft.com/office/drawing/2014/main" id="{77FAC830-5FCF-41ED-9025-F65DE2CE2362}"/>
                </a:ext>
              </a:extLst>
            </p:cNvPr>
            <p:cNvSpPr/>
            <p:nvPr/>
          </p:nvSpPr>
          <p:spPr>
            <a:xfrm>
              <a:off x="3147297" y="1719316"/>
              <a:ext cx="93186" cy="55276"/>
            </a:xfrm>
            <a:custGeom>
              <a:avLst/>
              <a:gdLst>
                <a:gd name="connsiteX0" fmla="*/ 27638 w 93186"/>
                <a:gd name="connsiteY0" fmla="*/ 38003 h 55276"/>
                <a:gd name="connsiteX1" fmla="*/ 34548 w 93186"/>
                <a:gd name="connsiteY1" fmla="*/ 55277 h 55276"/>
                <a:gd name="connsiteX2" fmla="*/ 62093 w 93186"/>
                <a:gd name="connsiteY2" fmla="*/ 55277 h 55276"/>
                <a:gd name="connsiteX3" fmla="*/ 82822 w 93186"/>
                <a:gd name="connsiteY3" fmla="*/ 51822 h 55276"/>
                <a:gd name="connsiteX4" fmla="*/ 93186 w 93186"/>
                <a:gd name="connsiteY4" fmla="*/ 34548 h 55276"/>
                <a:gd name="connsiteX5" fmla="*/ 82822 w 93186"/>
                <a:gd name="connsiteY5" fmla="*/ 24184 h 55276"/>
                <a:gd name="connsiteX6" fmla="*/ 62093 w 93186"/>
                <a:gd name="connsiteY6" fmla="*/ 17274 h 55276"/>
                <a:gd name="connsiteX7" fmla="*/ 38003 w 93186"/>
                <a:gd name="connsiteY7" fmla="*/ 6910 h 55276"/>
                <a:gd name="connsiteX8" fmla="*/ 6910 w 93186"/>
                <a:gd name="connsiteY8" fmla="*/ 0 h 55276"/>
                <a:gd name="connsiteX9" fmla="*/ 0 w 93186"/>
                <a:gd name="connsiteY9" fmla="*/ 6910 h 55276"/>
                <a:gd name="connsiteX10" fmla="*/ 0 w 93186"/>
                <a:gd name="connsiteY10" fmla="*/ 20729 h 55276"/>
                <a:gd name="connsiteX11" fmla="*/ 10364 w 93186"/>
                <a:gd name="connsiteY11" fmla="*/ 31093 h 55276"/>
                <a:gd name="connsiteX12" fmla="*/ 27638 w 93186"/>
                <a:gd name="connsiteY12" fmla="*/ 38003 h 5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186" h="55276">
                  <a:moveTo>
                    <a:pt x="27638" y="38003"/>
                  </a:moveTo>
                  <a:lnTo>
                    <a:pt x="34548" y="55277"/>
                  </a:lnTo>
                  <a:lnTo>
                    <a:pt x="62093" y="55277"/>
                  </a:lnTo>
                  <a:lnTo>
                    <a:pt x="82822" y="51822"/>
                  </a:lnTo>
                  <a:lnTo>
                    <a:pt x="93186" y="34548"/>
                  </a:lnTo>
                  <a:lnTo>
                    <a:pt x="82822" y="24184"/>
                  </a:lnTo>
                  <a:lnTo>
                    <a:pt x="62093" y="17274"/>
                  </a:lnTo>
                  <a:lnTo>
                    <a:pt x="38003" y="6910"/>
                  </a:lnTo>
                  <a:lnTo>
                    <a:pt x="6910" y="0"/>
                  </a:lnTo>
                  <a:lnTo>
                    <a:pt x="0" y="6910"/>
                  </a:lnTo>
                  <a:lnTo>
                    <a:pt x="0" y="20729"/>
                  </a:lnTo>
                  <a:lnTo>
                    <a:pt x="10364" y="31093"/>
                  </a:lnTo>
                  <a:lnTo>
                    <a:pt x="27638" y="38003"/>
                  </a:lnTo>
                  <a:close/>
                </a:path>
              </a:pathLst>
            </a:custGeom>
            <a:solidFill>
              <a:srgbClr val="CEE3BF"/>
            </a:solidFill>
            <a:ln w="9334" cap="flat">
              <a:noFill/>
              <a:prstDash val="solid"/>
              <a:miter/>
            </a:ln>
          </p:spPr>
          <p:txBody>
            <a:bodyPr rtlCol="0" anchor="ctr"/>
            <a:lstStyle/>
            <a:p>
              <a:endParaRPr lang="en-GB" dirty="0"/>
            </a:p>
          </p:txBody>
        </p:sp>
        <p:sp>
          <p:nvSpPr>
            <p:cNvPr id="1382" name="Freeform: Shape 1381">
              <a:extLst>
                <a:ext uri="{FF2B5EF4-FFF2-40B4-BE49-F238E27FC236}">
                  <a16:creationId xmlns:a16="http://schemas.microsoft.com/office/drawing/2014/main" id="{A5128210-53BE-4AB6-9C4E-0824DDE4FD49}"/>
                </a:ext>
              </a:extLst>
            </p:cNvPr>
            <p:cNvSpPr/>
            <p:nvPr/>
          </p:nvSpPr>
          <p:spPr>
            <a:xfrm>
              <a:off x="3651326" y="2548937"/>
              <a:ext cx="17274" cy="34548"/>
            </a:xfrm>
            <a:custGeom>
              <a:avLst/>
              <a:gdLst>
                <a:gd name="connsiteX0" fmla="*/ 17274 w 17274"/>
                <a:gd name="connsiteY0" fmla="*/ 13819 h 34548"/>
                <a:gd name="connsiteX1" fmla="*/ 13819 w 17274"/>
                <a:gd name="connsiteY1" fmla="*/ 0 h 34548"/>
                <a:gd name="connsiteX2" fmla="*/ 0 w 17274"/>
                <a:gd name="connsiteY2" fmla="*/ 34548 h 34548"/>
                <a:gd name="connsiteX3" fmla="*/ 17274 w 17274"/>
                <a:gd name="connsiteY3" fmla="*/ 13819 h 34548"/>
              </a:gdLst>
              <a:ahLst/>
              <a:cxnLst>
                <a:cxn ang="0">
                  <a:pos x="connsiteX0" y="connsiteY0"/>
                </a:cxn>
                <a:cxn ang="0">
                  <a:pos x="connsiteX1" y="connsiteY1"/>
                </a:cxn>
                <a:cxn ang="0">
                  <a:pos x="connsiteX2" y="connsiteY2"/>
                </a:cxn>
                <a:cxn ang="0">
                  <a:pos x="connsiteX3" y="connsiteY3"/>
                </a:cxn>
              </a:cxnLst>
              <a:rect l="l" t="t" r="r" b="b"/>
              <a:pathLst>
                <a:path w="17274" h="34548">
                  <a:moveTo>
                    <a:pt x="17274" y="13819"/>
                  </a:moveTo>
                  <a:lnTo>
                    <a:pt x="13819" y="0"/>
                  </a:lnTo>
                  <a:lnTo>
                    <a:pt x="0" y="34548"/>
                  </a:lnTo>
                  <a:lnTo>
                    <a:pt x="17274" y="13819"/>
                  </a:lnTo>
                  <a:close/>
                </a:path>
              </a:pathLst>
            </a:custGeom>
            <a:solidFill>
              <a:srgbClr val="CEE3BF"/>
            </a:solidFill>
            <a:ln w="9334" cap="flat">
              <a:noFill/>
              <a:prstDash val="solid"/>
              <a:miter/>
            </a:ln>
          </p:spPr>
          <p:txBody>
            <a:bodyPr rtlCol="0" anchor="ctr"/>
            <a:lstStyle/>
            <a:p>
              <a:endParaRPr lang="en-GB" dirty="0"/>
            </a:p>
          </p:txBody>
        </p:sp>
        <p:sp>
          <p:nvSpPr>
            <p:cNvPr id="1383" name="Freeform: Shape 1382">
              <a:extLst>
                <a:ext uri="{FF2B5EF4-FFF2-40B4-BE49-F238E27FC236}">
                  <a16:creationId xmlns:a16="http://schemas.microsoft.com/office/drawing/2014/main" id="{FC3D730D-1570-4EE5-A619-3337562CE8CE}"/>
                </a:ext>
              </a:extLst>
            </p:cNvPr>
            <p:cNvSpPr/>
            <p:nvPr/>
          </p:nvSpPr>
          <p:spPr>
            <a:xfrm>
              <a:off x="2705362" y="1778048"/>
              <a:ext cx="20728" cy="10364"/>
            </a:xfrm>
            <a:custGeom>
              <a:avLst/>
              <a:gdLst>
                <a:gd name="connsiteX0" fmla="*/ 17274 w 20728"/>
                <a:gd name="connsiteY0" fmla="*/ 6910 h 10364"/>
                <a:gd name="connsiteX1" fmla="*/ 20729 w 20728"/>
                <a:gd name="connsiteY1" fmla="*/ 0 h 10364"/>
                <a:gd name="connsiteX2" fmla="*/ 0 w 20728"/>
                <a:gd name="connsiteY2" fmla="*/ 10364 h 10364"/>
                <a:gd name="connsiteX3" fmla="*/ 17274 w 20728"/>
                <a:gd name="connsiteY3" fmla="*/ 6910 h 10364"/>
              </a:gdLst>
              <a:ahLst/>
              <a:cxnLst>
                <a:cxn ang="0">
                  <a:pos x="connsiteX0" y="connsiteY0"/>
                </a:cxn>
                <a:cxn ang="0">
                  <a:pos x="connsiteX1" y="connsiteY1"/>
                </a:cxn>
                <a:cxn ang="0">
                  <a:pos x="connsiteX2" y="connsiteY2"/>
                </a:cxn>
                <a:cxn ang="0">
                  <a:pos x="connsiteX3" y="connsiteY3"/>
                </a:cxn>
              </a:cxnLst>
              <a:rect l="l" t="t" r="r" b="b"/>
              <a:pathLst>
                <a:path w="20728" h="10364">
                  <a:moveTo>
                    <a:pt x="17274" y="6910"/>
                  </a:moveTo>
                  <a:lnTo>
                    <a:pt x="20729" y="0"/>
                  </a:lnTo>
                  <a:lnTo>
                    <a:pt x="0" y="10364"/>
                  </a:lnTo>
                  <a:lnTo>
                    <a:pt x="17274" y="6910"/>
                  </a:lnTo>
                  <a:close/>
                </a:path>
              </a:pathLst>
            </a:custGeom>
            <a:solidFill>
              <a:srgbClr val="CEE3BF"/>
            </a:solidFill>
            <a:ln w="9334" cap="flat">
              <a:noFill/>
              <a:prstDash val="solid"/>
              <a:miter/>
            </a:ln>
          </p:spPr>
          <p:txBody>
            <a:bodyPr rtlCol="0" anchor="ctr"/>
            <a:lstStyle/>
            <a:p>
              <a:endParaRPr lang="en-GB" dirty="0"/>
            </a:p>
          </p:txBody>
        </p:sp>
        <p:sp>
          <p:nvSpPr>
            <p:cNvPr id="1384" name="Freeform: Shape 1383">
              <a:extLst>
                <a:ext uri="{FF2B5EF4-FFF2-40B4-BE49-F238E27FC236}">
                  <a16:creationId xmlns:a16="http://schemas.microsoft.com/office/drawing/2014/main" id="{1FF81E28-57D9-471D-B6B4-254B52A2F35F}"/>
                </a:ext>
              </a:extLst>
            </p:cNvPr>
            <p:cNvSpPr/>
            <p:nvPr/>
          </p:nvSpPr>
          <p:spPr>
            <a:xfrm>
              <a:off x="2625995" y="3596397"/>
              <a:ext cx="831955" cy="528865"/>
            </a:xfrm>
            <a:custGeom>
              <a:avLst/>
              <a:gdLst>
                <a:gd name="connsiteX0" fmla="*/ 500574 w 831955"/>
                <a:gd name="connsiteY0" fmla="*/ 186653 h 528865"/>
                <a:gd name="connsiteX1" fmla="*/ 486754 w 831955"/>
                <a:gd name="connsiteY1" fmla="*/ 165924 h 528865"/>
                <a:gd name="connsiteX2" fmla="*/ 472935 w 831955"/>
                <a:gd name="connsiteY2" fmla="*/ 145102 h 528865"/>
                <a:gd name="connsiteX3" fmla="*/ 455661 w 831955"/>
                <a:gd name="connsiteY3" fmla="*/ 124373 h 528865"/>
                <a:gd name="connsiteX4" fmla="*/ 445297 w 831955"/>
                <a:gd name="connsiteY4" fmla="*/ 100189 h 528865"/>
                <a:gd name="connsiteX5" fmla="*/ 421207 w 831955"/>
                <a:gd name="connsiteY5" fmla="*/ 89825 h 528865"/>
                <a:gd name="connsiteX6" fmla="*/ 407387 w 831955"/>
                <a:gd name="connsiteY6" fmla="*/ 82915 h 528865"/>
                <a:gd name="connsiteX7" fmla="*/ 393568 w 831955"/>
                <a:gd name="connsiteY7" fmla="*/ 89825 h 528865"/>
                <a:gd name="connsiteX8" fmla="*/ 390113 w 831955"/>
                <a:gd name="connsiteY8" fmla="*/ 107099 h 528865"/>
                <a:gd name="connsiteX9" fmla="*/ 369384 w 831955"/>
                <a:gd name="connsiteY9" fmla="*/ 110554 h 528865"/>
                <a:gd name="connsiteX10" fmla="*/ 341746 w 831955"/>
                <a:gd name="connsiteY10" fmla="*/ 93280 h 528865"/>
                <a:gd name="connsiteX11" fmla="*/ 338291 w 831955"/>
                <a:gd name="connsiteY11" fmla="*/ 65641 h 528865"/>
                <a:gd name="connsiteX12" fmla="*/ 321017 w 831955"/>
                <a:gd name="connsiteY12" fmla="*/ 51822 h 528865"/>
                <a:gd name="connsiteX13" fmla="*/ 286562 w 831955"/>
                <a:gd name="connsiteY13" fmla="*/ 24184 h 528865"/>
                <a:gd name="connsiteX14" fmla="*/ 252014 w 831955"/>
                <a:gd name="connsiteY14" fmla="*/ 31093 h 528865"/>
                <a:gd name="connsiteX15" fmla="*/ 238195 w 831955"/>
                <a:gd name="connsiteY15" fmla="*/ 41458 h 528865"/>
                <a:gd name="connsiteX16" fmla="*/ 158734 w 831955"/>
                <a:gd name="connsiteY16" fmla="*/ 41458 h 528865"/>
                <a:gd name="connsiteX17" fmla="*/ 131189 w 831955"/>
                <a:gd name="connsiteY17" fmla="*/ 31093 h 528865"/>
                <a:gd name="connsiteX18" fmla="*/ 86277 w 831955"/>
                <a:gd name="connsiteY18" fmla="*/ 10364 h 528865"/>
                <a:gd name="connsiteX19" fmla="*/ 55184 w 831955"/>
                <a:gd name="connsiteY19" fmla="*/ 0 h 528865"/>
                <a:gd name="connsiteX20" fmla="*/ 0 w 831955"/>
                <a:gd name="connsiteY20" fmla="*/ 3455 h 528865"/>
                <a:gd name="connsiteX21" fmla="*/ 13819 w 831955"/>
                <a:gd name="connsiteY21" fmla="*/ 24184 h 528865"/>
                <a:gd name="connsiteX22" fmla="*/ 20729 w 831955"/>
                <a:gd name="connsiteY22" fmla="*/ 41458 h 528865"/>
                <a:gd name="connsiteX23" fmla="*/ 27638 w 831955"/>
                <a:gd name="connsiteY23" fmla="*/ 55277 h 528865"/>
                <a:gd name="connsiteX24" fmla="*/ 37909 w 831955"/>
                <a:gd name="connsiteY24" fmla="*/ 79461 h 528865"/>
                <a:gd name="connsiteX25" fmla="*/ 51729 w 831955"/>
                <a:gd name="connsiteY25" fmla="*/ 96735 h 528865"/>
                <a:gd name="connsiteX26" fmla="*/ 65548 w 831955"/>
                <a:gd name="connsiteY26" fmla="*/ 103644 h 528865"/>
                <a:gd name="connsiteX27" fmla="*/ 72458 w 831955"/>
                <a:gd name="connsiteY27" fmla="*/ 110554 h 528865"/>
                <a:gd name="connsiteX28" fmla="*/ 79367 w 831955"/>
                <a:gd name="connsiteY28" fmla="*/ 127828 h 528865"/>
                <a:gd name="connsiteX29" fmla="*/ 82822 w 831955"/>
                <a:gd name="connsiteY29" fmla="*/ 138192 h 528865"/>
                <a:gd name="connsiteX30" fmla="*/ 79367 w 831955"/>
                <a:gd name="connsiteY30" fmla="*/ 145102 h 528865"/>
                <a:gd name="connsiteX31" fmla="*/ 72458 w 831955"/>
                <a:gd name="connsiteY31" fmla="*/ 145102 h 528865"/>
                <a:gd name="connsiteX32" fmla="*/ 65548 w 831955"/>
                <a:gd name="connsiteY32" fmla="*/ 148650 h 528865"/>
                <a:gd name="connsiteX33" fmla="*/ 69003 w 831955"/>
                <a:gd name="connsiteY33" fmla="*/ 155560 h 528865"/>
                <a:gd name="connsiteX34" fmla="*/ 82822 w 831955"/>
                <a:gd name="connsiteY34" fmla="*/ 169379 h 528865"/>
                <a:gd name="connsiteX35" fmla="*/ 96641 w 831955"/>
                <a:gd name="connsiteY35" fmla="*/ 176289 h 528865"/>
                <a:gd name="connsiteX36" fmla="*/ 113915 w 831955"/>
                <a:gd name="connsiteY36" fmla="*/ 179743 h 528865"/>
                <a:gd name="connsiteX37" fmla="*/ 124280 w 831955"/>
                <a:gd name="connsiteY37" fmla="*/ 186653 h 528865"/>
                <a:gd name="connsiteX38" fmla="*/ 138099 w 831955"/>
                <a:gd name="connsiteY38" fmla="*/ 200472 h 528865"/>
                <a:gd name="connsiteX39" fmla="*/ 141554 w 831955"/>
                <a:gd name="connsiteY39" fmla="*/ 217746 h 528865"/>
                <a:gd name="connsiteX40" fmla="*/ 145009 w 831955"/>
                <a:gd name="connsiteY40" fmla="*/ 231565 h 528865"/>
                <a:gd name="connsiteX41" fmla="*/ 158734 w 831955"/>
                <a:gd name="connsiteY41" fmla="*/ 248840 h 528865"/>
                <a:gd name="connsiteX42" fmla="*/ 172554 w 831955"/>
                <a:gd name="connsiteY42" fmla="*/ 262659 h 528865"/>
                <a:gd name="connsiteX43" fmla="*/ 186373 w 831955"/>
                <a:gd name="connsiteY43" fmla="*/ 273023 h 528865"/>
                <a:gd name="connsiteX44" fmla="*/ 196737 w 831955"/>
                <a:gd name="connsiteY44" fmla="*/ 293752 h 528865"/>
                <a:gd name="connsiteX45" fmla="*/ 210557 w 831955"/>
                <a:gd name="connsiteY45" fmla="*/ 286842 h 528865"/>
                <a:gd name="connsiteX46" fmla="*/ 207102 w 831955"/>
                <a:gd name="connsiteY46" fmla="*/ 269568 h 528865"/>
                <a:gd name="connsiteX47" fmla="*/ 203647 w 831955"/>
                <a:gd name="connsiteY47" fmla="*/ 262659 h 528865"/>
                <a:gd name="connsiteX48" fmla="*/ 196737 w 831955"/>
                <a:gd name="connsiteY48" fmla="*/ 252294 h 528865"/>
                <a:gd name="connsiteX49" fmla="*/ 182918 w 831955"/>
                <a:gd name="connsiteY49" fmla="*/ 252294 h 528865"/>
                <a:gd name="connsiteX50" fmla="*/ 179463 w 831955"/>
                <a:gd name="connsiteY50" fmla="*/ 235020 h 528865"/>
                <a:gd name="connsiteX51" fmla="*/ 169099 w 831955"/>
                <a:gd name="connsiteY51" fmla="*/ 214291 h 528865"/>
                <a:gd name="connsiteX52" fmla="*/ 155373 w 831955"/>
                <a:gd name="connsiteY52" fmla="*/ 186653 h 528865"/>
                <a:gd name="connsiteX53" fmla="*/ 138099 w 831955"/>
                <a:gd name="connsiteY53" fmla="*/ 165924 h 528865"/>
                <a:gd name="connsiteX54" fmla="*/ 124280 w 831955"/>
                <a:gd name="connsiteY54" fmla="*/ 148650 h 528865"/>
                <a:gd name="connsiteX55" fmla="*/ 110461 w 831955"/>
                <a:gd name="connsiteY55" fmla="*/ 131283 h 528865"/>
                <a:gd name="connsiteX56" fmla="*/ 96641 w 831955"/>
                <a:gd name="connsiteY56" fmla="*/ 107099 h 528865"/>
                <a:gd name="connsiteX57" fmla="*/ 79367 w 831955"/>
                <a:gd name="connsiteY57" fmla="*/ 89825 h 528865"/>
                <a:gd name="connsiteX58" fmla="*/ 69003 w 831955"/>
                <a:gd name="connsiteY58" fmla="*/ 65641 h 528865"/>
                <a:gd name="connsiteX59" fmla="*/ 62093 w 831955"/>
                <a:gd name="connsiteY59" fmla="*/ 44912 h 528865"/>
                <a:gd name="connsiteX60" fmla="*/ 65548 w 831955"/>
                <a:gd name="connsiteY60" fmla="*/ 34548 h 528865"/>
                <a:gd name="connsiteX61" fmla="*/ 86277 w 831955"/>
                <a:gd name="connsiteY61" fmla="*/ 34548 h 528865"/>
                <a:gd name="connsiteX62" fmla="*/ 110461 w 831955"/>
                <a:gd name="connsiteY62" fmla="*/ 48367 h 528865"/>
                <a:gd name="connsiteX63" fmla="*/ 113915 w 831955"/>
                <a:gd name="connsiteY63" fmla="*/ 58732 h 528865"/>
                <a:gd name="connsiteX64" fmla="*/ 124280 w 831955"/>
                <a:gd name="connsiteY64" fmla="*/ 82915 h 528865"/>
                <a:gd name="connsiteX65" fmla="*/ 134644 w 831955"/>
                <a:gd name="connsiteY65" fmla="*/ 103644 h 528865"/>
                <a:gd name="connsiteX66" fmla="*/ 151918 w 831955"/>
                <a:gd name="connsiteY66" fmla="*/ 120918 h 528865"/>
                <a:gd name="connsiteX67" fmla="*/ 172554 w 831955"/>
                <a:gd name="connsiteY67" fmla="*/ 148650 h 528865"/>
                <a:gd name="connsiteX68" fmla="*/ 189828 w 831955"/>
                <a:gd name="connsiteY68" fmla="*/ 165924 h 528865"/>
                <a:gd name="connsiteX69" fmla="*/ 217466 w 831955"/>
                <a:gd name="connsiteY69" fmla="*/ 183198 h 528865"/>
                <a:gd name="connsiteX70" fmla="*/ 217466 w 831955"/>
                <a:gd name="connsiteY70" fmla="*/ 207382 h 528865"/>
                <a:gd name="connsiteX71" fmla="*/ 231285 w 831955"/>
                <a:gd name="connsiteY71" fmla="*/ 217746 h 528865"/>
                <a:gd name="connsiteX72" fmla="*/ 252014 w 831955"/>
                <a:gd name="connsiteY72" fmla="*/ 231565 h 528865"/>
                <a:gd name="connsiteX73" fmla="*/ 269288 w 831955"/>
                <a:gd name="connsiteY73" fmla="*/ 252294 h 528865"/>
                <a:gd name="connsiteX74" fmla="*/ 290017 w 831955"/>
                <a:gd name="connsiteY74" fmla="*/ 269568 h 528865"/>
                <a:gd name="connsiteX75" fmla="*/ 307198 w 831955"/>
                <a:gd name="connsiteY75" fmla="*/ 290297 h 528865"/>
                <a:gd name="connsiteX76" fmla="*/ 331381 w 831955"/>
                <a:gd name="connsiteY76" fmla="*/ 321484 h 528865"/>
                <a:gd name="connsiteX77" fmla="*/ 331381 w 831955"/>
                <a:gd name="connsiteY77" fmla="*/ 338758 h 528865"/>
                <a:gd name="connsiteX78" fmla="*/ 321017 w 831955"/>
                <a:gd name="connsiteY78" fmla="*/ 349122 h 528865"/>
                <a:gd name="connsiteX79" fmla="*/ 321017 w 831955"/>
                <a:gd name="connsiteY79" fmla="*/ 366396 h 528865"/>
                <a:gd name="connsiteX80" fmla="*/ 331381 w 831955"/>
                <a:gd name="connsiteY80" fmla="*/ 383670 h 528865"/>
                <a:gd name="connsiteX81" fmla="*/ 352110 w 831955"/>
                <a:gd name="connsiteY81" fmla="*/ 400945 h 528865"/>
                <a:gd name="connsiteX82" fmla="*/ 376294 w 831955"/>
                <a:gd name="connsiteY82" fmla="*/ 414764 h 528865"/>
                <a:gd name="connsiteX83" fmla="*/ 400478 w 831955"/>
                <a:gd name="connsiteY83" fmla="*/ 428583 h 528865"/>
                <a:gd name="connsiteX84" fmla="*/ 424661 w 831955"/>
                <a:gd name="connsiteY84" fmla="*/ 428583 h 528865"/>
                <a:gd name="connsiteX85" fmla="*/ 438387 w 831955"/>
                <a:gd name="connsiteY85" fmla="*/ 449312 h 528865"/>
                <a:gd name="connsiteX86" fmla="*/ 455661 w 831955"/>
                <a:gd name="connsiteY86" fmla="*/ 456221 h 528865"/>
                <a:gd name="connsiteX87" fmla="*/ 486754 w 831955"/>
                <a:gd name="connsiteY87" fmla="*/ 466679 h 528865"/>
                <a:gd name="connsiteX88" fmla="*/ 514393 w 831955"/>
                <a:gd name="connsiteY88" fmla="*/ 477044 h 528865"/>
                <a:gd name="connsiteX89" fmla="*/ 538577 w 831955"/>
                <a:gd name="connsiteY89" fmla="*/ 487408 h 528865"/>
                <a:gd name="connsiteX90" fmla="*/ 566122 w 831955"/>
                <a:gd name="connsiteY90" fmla="*/ 494318 h 528865"/>
                <a:gd name="connsiteX91" fmla="*/ 583396 w 831955"/>
                <a:gd name="connsiteY91" fmla="*/ 490863 h 528865"/>
                <a:gd name="connsiteX92" fmla="*/ 597215 w 831955"/>
                <a:gd name="connsiteY92" fmla="*/ 483953 h 528865"/>
                <a:gd name="connsiteX93" fmla="*/ 614489 w 831955"/>
                <a:gd name="connsiteY93" fmla="*/ 480498 h 528865"/>
                <a:gd name="connsiteX94" fmla="*/ 628308 w 831955"/>
                <a:gd name="connsiteY94" fmla="*/ 483953 h 528865"/>
                <a:gd name="connsiteX95" fmla="*/ 642127 w 831955"/>
                <a:gd name="connsiteY95" fmla="*/ 490863 h 528865"/>
                <a:gd name="connsiteX96" fmla="*/ 659402 w 831955"/>
                <a:gd name="connsiteY96" fmla="*/ 501227 h 528865"/>
                <a:gd name="connsiteX97" fmla="*/ 676676 w 831955"/>
                <a:gd name="connsiteY97" fmla="*/ 518501 h 528865"/>
                <a:gd name="connsiteX98" fmla="*/ 687040 w 831955"/>
                <a:gd name="connsiteY98" fmla="*/ 528866 h 528865"/>
                <a:gd name="connsiteX99" fmla="*/ 690495 w 831955"/>
                <a:gd name="connsiteY99" fmla="*/ 508137 h 528865"/>
                <a:gd name="connsiteX100" fmla="*/ 693950 w 831955"/>
                <a:gd name="connsiteY100" fmla="*/ 497773 h 528865"/>
                <a:gd name="connsiteX101" fmla="*/ 700766 w 831955"/>
                <a:gd name="connsiteY101" fmla="*/ 490863 h 528865"/>
                <a:gd name="connsiteX102" fmla="*/ 704221 w 831955"/>
                <a:gd name="connsiteY102" fmla="*/ 483953 h 528865"/>
                <a:gd name="connsiteX103" fmla="*/ 711130 w 831955"/>
                <a:gd name="connsiteY103" fmla="*/ 487408 h 528865"/>
                <a:gd name="connsiteX104" fmla="*/ 731859 w 831955"/>
                <a:gd name="connsiteY104" fmla="*/ 483953 h 528865"/>
                <a:gd name="connsiteX105" fmla="*/ 738769 w 831955"/>
                <a:gd name="connsiteY105" fmla="*/ 480498 h 528865"/>
                <a:gd name="connsiteX106" fmla="*/ 731859 w 831955"/>
                <a:gd name="connsiteY106" fmla="*/ 470134 h 528865"/>
                <a:gd name="connsiteX107" fmla="*/ 718040 w 831955"/>
                <a:gd name="connsiteY107" fmla="*/ 459676 h 528865"/>
                <a:gd name="connsiteX108" fmla="*/ 714585 w 831955"/>
                <a:gd name="connsiteY108" fmla="*/ 445857 h 528865"/>
                <a:gd name="connsiteX109" fmla="*/ 718040 w 831955"/>
                <a:gd name="connsiteY109" fmla="*/ 438947 h 528865"/>
                <a:gd name="connsiteX110" fmla="*/ 749133 w 831955"/>
                <a:gd name="connsiteY110" fmla="*/ 435492 h 528865"/>
                <a:gd name="connsiteX111" fmla="*/ 769862 w 831955"/>
                <a:gd name="connsiteY111" fmla="*/ 435492 h 528865"/>
                <a:gd name="connsiteX112" fmla="*/ 780226 w 831955"/>
                <a:gd name="connsiteY112" fmla="*/ 425128 h 528865"/>
                <a:gd name="connsiteX113" fmla="*/ 787136 w 831955"/>
                <a:gd name="connsiteY113" fmla="*/ 418219 h 528865"/>
                <a:gd name="connsiteX114" fmla="*/ 794046 w 831955"/>
                <a:gd name="connsiteY114" fmla="*/ 414764 h 528865"/>
                <a:gd name="connsiteX115" fmla="*/ 800955 w 831955"/>
                <a:gd name="connsiteY115" fmla="*/ 425128 h 528865"/>
                <a:gd name="connsiteX116" fmla="*/ 807865 w 831955"/>
                <a:gd name="connsiteY116" fmla="*/ 421673 h 528865"/>
                <a:gd name="connsiteX117" fmla="*/ 807865 w 831955"/>
                <a:gd name="connsiteY117" fmla="*/ 400945 h 528865"/>
                <a:gd name="connsiteX118" fmla="*/ 811320 w 831955"/>
                <a:gd name="connsiteY118" fmla="*/ 380216 h 528865"/>
                <a:gd name="connsiteX119" fmla="*/ 814775 w 831955"/>
                <a:gd name="connsiteY119" fmla="*/ 369851 h 528865"/>
                <a:gd name="connsiteX120" fmla="*/ 825139 w 831955"/>
                <a:gd name="connsiteY120" fmla="*/ 356032 h 528865"/>
                <a:gd name="connsiteX121" fmla="*/ 831955 w 831955"/>
                <a:gd name="connsiteY121" fmla="*/ 335303 h 528865"/>
                <a:gd name="connsiteX122" fmla="*/ 811320 w 831955"/>
                <a:gd name="connsiteY122" fmla="*/ 331848 h 528865"/>
                <a:gd name="connsiteX123" fmla="*/ 780226 w 831955"/>
                <a:gd name="connsiteY123" fmla="*/ 331848 h 528865"/>
                <a:gd name="connsiteX124" fmla="*/ 762952 w 831955"/>
                <a:gd name="connsiteY124" fmla="*/ 331848 h 528865"/>
                <a:gd name="connsiteX125" fmla="*/ 738769 w 831955"/>
                <a:gd name="connsiteY125" fmla="*/ 345667 h 528865"/>
                <a:gd name="connsiteX126" fmla="*/ 731859 w 831955"/>
                <a:gd name="connsiteY126" fmla="*/ 362942 h 528865"/>
                <a:gd name="connsiteX127" fmla="*/ 731859 w 831955"/>
                <a:gd name="connsiteY127" fmla="*/ 380216 h 528865"/>
                <a:gd name="connsiteX128" fmla="*/ 718040 w 831955"/>
                <a:gd name="connsiteY128" fmla="*/ 407854 h 528865"/>
                <a:gd name="connsiteX129" fmla="*/ 683585 w 831955"/>
                <a:gd name="connsiteY129" fmla="*/ 414764 h 528865"/>
                <a:gd name="connsiteX130" fmla="*/ 649037 w 831955"/>
                <a:gd name="connsiteY130" fmla="*/ 421673 h 528865"/>
                <a:gd name="connsiteX131" fmla="*/ 621399 w 831955"/>
                <a:gd name="connsiteY131" fmla="*/ 421673 h 528865"/>
                <a:gd name="connsiteX132" fmla="*/ 600670 w 831955"/>
                <a:gd name="connsiteY132" fmla="*/ 414764 h 528865"/>
                <a:gd name="connsiteX133" fmla="*/ 583396 w 831955"/>
                <a:gd name="connsiteY133" fmla="*/ 404399 h 528865"/>
                <a:gd name="connsiteX134" fmla="*/ 569577 w 831955"/>
                <a:gd name="connsiteY134" fmla="*/ 383670 h 528865"/>
                <a:gd name="connsiteX135" fmla="*/ 555851 w 831955"/>
                <a:gd name="connsiteY135" fmla="*/ 362942 h 528865"/>
                <a:gd name="connsiteX136" fmla="*/ 538577 w 831955"/>
                <a:gd name="connsiteY136" fmla="*/ 331848 h 528865"/>
                <a:gd name="connsiteX137" fmla="*/ 531667 w 831955"/>
                <a:gd name="connsiteY137" fmla="*/ 300662 h 528865"/>
                <a:gd name="connsiteX138" fmla="*/ 531667 w 831955"/>
                <a:gd name="connsiteY138" fmla="*/ 279933 h 528865"/>
                <a:gd name="connsiteX139" fmla="*/ 531667 w 831955"/>
                <a:gd name="connsiteY139" fmla="*/ 262659 h 528865"/>
                <a:gd name="connsiteX140" fmla="*/ 535122 w 831955"/>
                <a:gd name="connsiteY140" fmla="*/ 235020 h 528865"/>
                <a:gd name="connsiteX141" fmla="*/ 542032 w 831955"/>
                <a:gd name="connsiteY141" fmla="*/ 214291 h 528865"/>
                <a:gd name="connsiteX142" fmla="*/ 548941 w 831955"/>
                <a:gd name="connsiteY142" fmla="*/ 200472 h 528865"/>
                <a:gd name="connsiteX143" fmla="*/ 528212 w 831955"/>
                <a:gd name="connsiteY143" fmla="*/ 197017 h 528865"/>
                <a:gd name="connsiteX144" fmla="*/ 500574 w 831955"/>
                <a:gd name="connsiteY144" fmla="*/ 186653 h 52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831955" h="528865">
                  <a:moveTo>
                    <a:pt x="500574" y="186653"/>
                  </a:moveTo>
                  <a:lnTo>
                    <a:pt x="486754" y="165924"/>
                  </a:lnTo>
                  <a:lnTo>
                    <a:pt x="472935" y="145102"/>
                  </a:lnTo>
                  <a:lnTo>
                    <a:pt x="455661" y="124373"/>
                  </a:lnTo>
                  <a:lnTo>
                    <a:pt x="445297" y="100189"/>
                  </a:lnTo>
                  <a:lnTo>
                    <a:pt x="421207" y="89825"/>
                  </a:lnTo>
                  <a:lnTo>
                    <a:pt x="407387" y="82915"/>
                  </a:lnTo>
                  <a:lnTo>
                    <a:pt x="393568" y="89825"/>
                  </a:lnTo>
                  <a:lnTo>
                    <a:pt x="390113" y="107099"/>
                  </a:lnTo>
                  <a:lnTo>
                    <a:pt x="369384" y="110554"/>
                  </a:lnTo>
                  <a:lnTo>
                    <a:pt x="341746" y="93280"/>
                  </a:lnTo>
                  <a:lnTo>
                    <a:pt x="338291" y="65641"/>
                  </a:lnTo>
                  <a:lnTo>
                    <a:pt x="321017" y="51822"/>
                  </a:lnTo>
                  <a:lnTo>
                    <a:pt x="286562" y="24184"/>
                  </a:lnTo>
                  <a:lnTo>
                    <a:pt x="252014" y="31093"/>
                  </a:lnTo>
                  <a:lnTo>
                    <a:pt x="238195" y="41458"/>
                  </a:lnTo>
                  <a:lnTo>
                    <a:pt x="158734" y="41458"/>
                  </a:lnTo>
                  <a:lnTo>
                    <a:pt x="131189" y="31093"/>
                  </a:lnTo>
                  <a:lnTo>
                    <a:pt x="86277" y="10364"/>
                  </a:lnTo>
                  <a:lnTo>
                    <a:pt x="55184" y="0"/>
                  </a:lnTo>
                  <a:lnTo>
                    <a:pt x="0" y="3455"/>
                  </a:lnTo>
                  <a:lnTo>
                    <a:pt x="13819" y="24184"/>
                  </a:lnTo>
                  <a:lnTo>
                    <a:pt x="20729" y="41458"/>
                  </a:lnTo>
                  <a:lnTo>
                    <a:pt x="27638" y="55277"/>
                  </a:lnTo>
                  <a:lnTo>
                    <a:pt x="37909" y="79461"/>
                  </a:lnTo>
                  <a:lnTo>
                    <a:pt x="51729" y="96735"/>
                  </a:lnTo>
                  <a:lnTo>
                    <a:pt x="65548" y="103644"/>
                  </a:lnTo>
                  <a:lnTo>
                    <a:pt x="72458" y="110554"/>
                  </a:lnTo>
                  <a:lnTo>
                    <a:pt x="79367" y="127828"/>
                  </a:lnTo>
                  <a:lnTo>
                    <a:pt x="82822" y="138192"/>
                  </a:lnTo>
                  <a:lnTo>
                    <a:pt x="79367" y="145102"/>
                  </a:lnTo>
                  <a:lnTo>
                    <a:pt x="72458" y="145102"/>
                  </a:lnTo>
                  <a:lnTo>
                    <a:pt x="65548" y="148650"/>
                  </a:lnTo>
                  <a:lnTo>
                    <a:pt x="69003" y="155560"/>
                  </a:lnTo>
                  <a:lnTo>
                    <a:pt x="82822" y="169379"/>
                  </a:lnTo>
                  <a:lnTo>
                    <a:pt x="96641" y="176289"/>
                  </a:lnTo>
                  <a:lnTo>
                    <a:pt x="113915" y="179743"/>
                  </a:lnTo>
                  <a:lnTo>
                    <a:pt x="124280" y="186653"/>
                  </a:lnTo>
                  <a:lnTo>
                    <a:pt x="138099" y="200472"/>
                  </a:lnTo>
                  <a:lnTo>
                    <a:pt x="141554" y="217746"/>
                  </a:lnTo>
                  <a:lnTo>
                    <a:pt x="145009" y="231565"/>
                  </a:lnTo>
                  <a:lnTo>
                    <a:pt x="158734" y="248840"/>
                  </a:lnTo>
                  <a:lnTo>
                    <a:pt x="172554" y="262659"/>
                  </a:lnTo>
                  <a:lnTo>
                    <a:pt x="186373" y="273023"/>
                  </a:lnTo>
                  <a:lnTo>
                    <a:pt x="196737" y="293752"/>
                  </a:lnTo>
                  <a:lnTo>
                    <a:pt x="210557" y="286842"/>
                  </a:lnTo>
                  <a:lnTo>
                    <a:pt x="207102" y="269568"/>
                  </a:lnTo>
                  <a:lnTo>
                    <a:pt x="203647" y="262659"/>
                  </a:lnTo>
                  <a:lnTo>
                    <a:pt x="196737" y="252294"/>
                  </a:lnTo>
                  <a:lnTo>
                    <a:pt x="182918" y="252294"/>
                  </a:lnTo>
                  <a:lnTo>
                    <a:pt x="179463" y="235020"/>
                  </a:lnTo>
                  <a:lnTo>
                    <a:pt x="169099" y="214291"/>
                  </a:lnTo>
                  <a:lnTo>
                    <a:pt x="155373" y="186653"/>
                  </a:lnTo>
                  <a:lnTo>
                    <a:pt x="138099" y="165924"/>
                  </a:lnTo>
                  <a:lnTo>
                    <a:pt x="124280" y="148650"/>
                  </a:lnTo>
                  <a:lnTo>
                    <a:pt x="110461" y="131283"/>
                  </a:lnTo>
                  <a:lnTo>
                    <a:pt x="96641" y="107099"/>
                  </a:lnTo>
                  <a:lnTo>
                    <a:pt x="79367" y="89825"/>
                  </a:lnTo>
                  <a:lnTo>
                    <a:pt x="69003" y="65641"/>
                  </a:lnTo>
                  <a:lnTo>
                    <a:pt x="62093" y="44912"/>
                  </a:lnTo>
                  <a:lnTo>
                    <a:pt x="65548" y="34548"/>
                  </a:lnTo>
                  <a:lnTo>
                    <a:pt x="86277" y="34548"/>
                  </a:lnTo>
                  <a:lnTo>
                    <a:pt x="110461" y="48367"/>
                  </a:lnTo>
                  <a:lnTo>
                    <a:pt x="113915" y="58732"/>
                  </a:lnTo>
                  <a:lnTo>
                    <a:pt x="124280" y="82915"/>
                  </a:lnTo>
                  <a:lnTo>
                    <a:pt x="134644" y="103644"/>
                  </a:lnTo>
                  <a:lnTo>
                    <a:pt x="151918" y="120918"/>
                  </a:lnTo>
                  <a:lnTo>
                    <a:pt x="172554" y="148650"/>
                  </a:lnTo>
                  <a:lnTo>
                    <a:pt x="189828" y="165924"/>
                  </a:lnTo>
                  <a:lnTo>
                    <a:pt x="217466" y="183198"/>
                  </a:lnTo>
                  <a:lnTo>
                    <a:pt x="217466" y="207382"/>
                  </a:lnTo>
                  <a:lnTo>
                    <a:pt x="231285" y="217746"/>
                  </a:lnTo>
                  <a:lnTo>
                    <a:pt x="252014" y="231565"/>
                  </a:lnTo>
                  <a:lnTo>
                    <a:pt x="269288" y="252294"/>
                  </a:lnTo>
                  <a:lnTo>
                    <a:pt x="290017" y="269568"/>
                  </a:lnTo>
                  <a:lnTo>
                    <a:pt x="307198" y="290297"/>
                  </a:lnTo>
                  <a:lnTo>
                    <a:pt x="331381" y="321484"/>
                  </a:lnTo>
                  <a:lnTo>
                    <a:pt x="331381" y="338758"/>
                  </a:lnTo>
                  <a:lnTo>
                    <a:pt x="321017" y="349122"/>
                  </a:lnTo>
                  <a:lnTo>
                    <a:pt x="321017" y="366396"/>
                  </a:lnTo>
                  <a:lnTo>
                    <a:pt x="331381" y="383670"/>
                  </a:lnTo>
                  <a:lnTo>
                    <a:pt x="352110" y="400945"/>
                  </a:lnTo>
                  <a:lnTo>
                    <a:pt x="376294" y="414764"/>
                  </a:lnTo>
                  <a:lnTo>
                    <a:pt x="400478" y="428583"/>
                  </a:lnTo>
                  <a:lnTo>
                    <a:pt x="424661" y="428583"/>
                  </a:lnTo>
                  <a:lnTo>
                    <a:pt x="438387" y="449312"/>
                  </a:lnTo>
                  <a:lnTo>
                    <a:pt x="455661" y="456221"/>
                  </a:lnTo>
                  <a:lnTo>
                    <a:pt x="486754" y="466679"/>
                  </a:lnTo>
                  <a:lnTo>
                    <a:pt x="514393" y="477044"/>
                  </a:lnTo>
                  <a:lnTo>
                    <a:pt x="538577" y="487408"/>
                  </a:lnTo>
                  <a:lnTo>
                    <a:pt x="566122" y="494318"/>
                  </a:lnTo>
                  <a:lnTo>
                    <a:pt x="583396" y="490863"/>
                  </a:lnTo>
                  <a:lnTo>
                    <a:pt x="597215" y="483953"/>
                  </a:lnTo>
                  <a:lnTo>
                    <a:pt x="614489" y="480498"/>
                  </a:lnTo>
                  <a:lnTo>
                    <a:pt x="628308" y="483953"/>
                  </a:lnTo>
                  <a:lnTo>
                    <a:pt x="642127" y="490863"/>
                  </a:lnTo>
                  <a:lnTo>
                    <a:pt x="659402" y="501227"/>
                  </a:lnTo>
                  <a:lnTo>
                    <a:pt x="676676" y="518501"/>
                  </a:lnTo>
                  <a:lnTo>
                    <a:pt x="687040" y="528866"/>
                  </a:lnTo>
                  <a:lnTo>
                    <a:pt x="690495" y="508137"/>
                  </a:lnTo>
                  <a:lnTo>
                    <a:pt x="693950" y="497773"/>
                  </a:lnTo>
                  <a:lnTo>
                    <a:pt x="700766" y="490863"/>
                  </a:lnTo>
                  <a:lnTo>
                    <a:pt x="704221" y="483953"/>
                  </a:lnTo>
                  <a:lnTo>
                    <a:pt x="711130" y="487408"/>
                  </a:lnTo>
                  <a:lnTo>
                    <a:pt x="731859" y="483953"/>
                  </a:lnTo>
                  <a:lnTo>
                    <a:pt x="738769" y="480498"/>
                  </a:lnTo>
                  <a:lnTo>
                    <a:pt x="731859" y="470134"/>
                  </a:lnTo>
                  <a:lnTo>
                    <a:pt x="718040" y="459676"/>
                  </a:lnTo>
                  <a:lnTo>
                    <a:pt x="714585" y="445857"/>
                  </a:lnTo>
                  <a:lnTo>
                    <a:pt x="718040" y="438947"/>
                  </a:lnTo>
                  <a:lnTo>
                    <a:pt x="749133" y="435492"/>
                  </a:lnTo>
                  <a:lnTo>
                    <a:pt x="769862" y="435492"/>
                  </a:lnTo>
                  <a:lnTo>
                    <a:pt x="780226" y="425128"/>
                  </a:lnTo>
                  <a:lnTo>
                    <a:pt x="787136" y="418219"/>
                  </a:lnTo>
                  <a:lnTo>
                    <a:pt x="794046" y="414764"/>
                  </a:lnTo>
                  <a:lnTo>
                    <a:pt x="800955" y="425128"/>
                  </a:lnTo>
                  <a:lnTo>
                    <a:pt x="807865" y="421673"/>
                  </a:lnTo>
                  <a:lnTo>
                    <a:pt x="807865" y="400945"/>
                  </a:lnTo>
                  <a:lnTo>
                    <a:pt x="811320" y="380216"/>
                  </a:lnTo>
                  <a:lnTo>
                    <a:pt x="814775" y="369851"/>
                  </a:lnTo>
                  <a:lnTo>
                    <a:pt x="825139" y="356032"/>
                  </a:lnTo>
                  <a:lnTo>
                    <a:pt x="831955" y="335303"/>
                  </a:lnTo>
                  <a:lnTo>
                    <a:pt x="811320" y="331848"/>
                  </a:lnTo>
                  <a:lnTo>
                    <a:pt x="780226" y="331848"/>
                  </a:lnTo>
                  <a:lnTo>
                    <a:pt x="762952" y="331848"/>
                  </a:lnTo>
                  <a:lnTo>
                    <a:pt x="738769" y="345667"/>
                  </a:lnTo>
                  <a:lnTo>
                    <a:pt x="731859" y="362942"/>
                  </a:lnTo>
                  <a:lnTo>
                    <a:pt x="731859" y="380216"/>
                  </a:lnTo>
                  <a:lnTo>
                    <a:pt x="718040" y="407854"/>
                  </a:lnTo>
                  <a:lnTo>
                    <a:pt x="683585" y="414764"/>
                  </a:lnTo>
                  <a:lnTo>
                    <a:pt x="649037" y="421673"/>
                  </a:lnTo>
                  <a:lnTo>
                    <a:pt x="621399" y="421673"/>
                  </a:lnTo>
                  <a:lnTo>
                    <a:pt x="600670" y="414764"/>
                  </a:lnTo>
                  <a:lnTo>
                    <a:pt x="583396" y="404399"/>
                  </a:lnTo>
                  <a:lnTo>
                    <a:pt x="569577" y="383670"/>
                  </a:lnTo>
                  <a:lnTo>
                    <a:pt x="555851" y="362942"/>
                  </a:lnTo>
                  <a:lnTo>
                    <a:pt x="538577" y="331848"/>
                  </a:lnTo>
                  <a:lnTo>
                    <a:pt x="531667" y="300662"/>
                  </a:lnTo>
                  <a:lnTo>
                    <a:pt x="531667" y="279933"/>
                  </a:lnTo>
                  <a:lnTo>
                    <a:pt x="531667" y="262659"/>
                  </a:lnTo>
                  <a:lnTo>
                    <a:pt x="535122" y="235020"/>
                  </a:lnTo>
                  <a:lnTo>
                    <a:pt x="542032" y="214291"/>
                  </a:lnTo>
                  <a:lnTo>
                    <a:pt x="548941" y="200472"/>
                  </a:lnTo>
                  <a:lnTo>
                    <a:pt x="528212" y="197017"/>
                  </a:lnTo>
                  <a:lnTo>
                    <a:pt x="500574" y="186653"/>
                  </a:lnTo>
                  <a:close/>
                </a:path>
              </a:pathLst>
            </a:custGeom>
            <a:solidFill>
              <a:srgbClr val="CEE3BF"/>
            </a:solidFill>
            <a:ln w="9334" cap="flat">
              <a:noFill/>
              <a:prstDash val="solid"/>
              <a:miter/>
            </a:ln>
          </p:spPr>
          <p:txBody>
            <a:bodyPr rtlCol="0" anchor="ctr"/>
            <a:lstStyle/>
            <a:p>
              <a:endParaRPr lang="en-GB" dirty="0"/>
            </a:p>
          </p:txBody>
        </p:sp>
        <p:sp>
          <p:nvSpPr>
            <p:cNvPr id="1385" name="Freeform: Shape 1384">
              <a:extLst>
                <a:ext uri="{FF2B5EF4-FFF2-40B4-BE49-F238E27FC236}">
                  <a16:creationId xmlns:a16="http://schemas.microsoft.com/office/drawing/2014/main" id="{F75DB42B-0862-4AED-99AE-8B559E777590}"/>
                </a:ext>
              </a:extLst>
            </p:cNvPr>
            <p:cNvSpPr/>
            <p:nvPr/>
          </p:nvSpPr>
          <p:spPr>
            <a:xfrm>
              <a:off x="3033382" y="3679313"/>
              <a:ext cx="48274" cy="41457"/>
            </a:xfrm>
            <a:custGeom>
              <a:avLst/>
              <a:gdLst>
                <a:gd name="connsiteX0" fmla="*/ 37910 w 48274"/>
                <a:gd name="connsiteY0" fmla="*/ 17274 h 41457"/>
                <a:gd name="connsiteX1" fmla="*/ 48274 w 48274"/>
                <a:gd name="connsiteY1" fmla="*/ 41458 h 41457"/>
                <a:gd name="connsiteX2" fmla="*/ 37910 w 48274"/>
                <a:gd name="connsiteY2" fmla="*/ 17274 h 41457"/>
                <a:gd name="connsiteX3" fmla="*/ 0 w 48274"/>
                <a:gd name="connsiteY3" fmla="*/ 0 h 41457"/>
                <a:gd name="connsiteX4" fmla="*/ 0 w 48274"/>
                <a:gd name="connsiteY4" fmla="*/ 0 h 41457"/>
                <a:gd name="connsiteX5" fmla="*/ 13819 w 48274"/>
                <a:gd name="connsiteY5" fmla="*/ 6910 h 41457"/>
                <a:gd name="connsiteX6" fmla="*/ 37910 w 48274"/>
                <a:gd name="connsiteY6" fmla="*/ 17274 h 4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274" h="41457">
                  <a:moveTo>
                    <a:pt x="37910" y="17274"/>
                  </a:moveTo>
                  <a:lnTo>
                    <a:pt x="48274" y="41458"/>
                  </a:lnTo>
                  <a:lnTo>
                    <a:pt x="37910" y="17274"/>
                  </a:lnTo>
                  <a:lnTo>
                    <a:pt x="0" y="0"/>
                  </a:lnTo>
                  <a:lnTo>
                    <a:pt x="0" y="0"/>
                  </a:lnTo>
                  <a:lnTo>
                    <a:pt x="13819" y="6910"/>
                  </a:lnTo>
                  <a:lnTo>
                    <a:pt x="37910" y="17274"/>
                  </a:lnTo>
                  <a:close/>
                </a:path>
              </a:pathLst>
            </a:custGeom>
            <a:solidFill>
              <a:srgbClr val="CEE3BF"/>
            </a:solidFill>
            <a:ln w="9334" cap="flat">
              <a:noFill/>
              <a:prstDash val="solid"/>
              <a:miter/>
            </a:ln>
          </p:spPr>
          <p:txBody>
            <a:bodyPr rtlCol="0" anchor="ctr"/>
            <a:lstStyle/>
            <a:p>
              <a:endParaRPr lang="en-GB" dirty="0"/>
            </a:p>
          </p:txBody>
        </p:sp>
        <p:sp>
          <p:nvSpPr>
            <p:cNvPr id="1386" name="Freeform: Shape 1385">
              <a:extLst>
                <a:ext uri="{FF2B5EF4-FFF2-40B4-BE49-F238E27FC236}">
                  <a16:creationId xmlns:a16="http://schemas.microsoft.com/office/drawing/2014/main" id="{EF20FCE2-44D6-4A51-ABCB-2CB5DC932022}"/>
                </a:ext>
              </a:extLst>
            </p:cNvPr>
            <p:cNvSpPr/>
            <p:nvPr/>
          </p:nvSpPr>
          <p:spPr>
            <a:xfrm>
              <a:off x="1251915" y="2134080"/>
              <a:ext cx="1025331" cy="715612"/>
            </a:xfrm>
            <a:custGeom>
              <a:avLst/>
              <a:gdLst>
                <a:gd name="connsiteX0" fmla="*/ 997786 w 1025331"/>
                <a:gd name="connsiteY0" fmla="*/ 653426 h 715612"/>
                <a:gd name="connsiteX1" fmla="*/ 977057 w 1025331"/>
                <a:gd name="connsiteY1" fmla="*/ 639607 h 715612"/>
                <a:gd name="connsiteX2" fmla="*/ 959783 w 1025331"/>
                <a:gd name="connsiteY2" fmla="*/ 618784 h 715612"/>
                <a:gd name="connsiteX3" fmla="*/ 942509 w 1025331"/>
                <a:gd name="connsiteY3" fmla="*/ 587691 h 715612"/>
                <a:gd name="connsiteX4" fmla="*/ 928690 w 1025331"/>
                <a:gd name="connsiteY4" fmla="*/ 573872 h 715612"/>
                <a:gd name="connsiteX5" fmla="*/ 897597 w 1025331"/>
                <a:gd name="connsiteY5" fmla="*/ 539324 h 715612"/>
                <a:gd name="connsiteX6" fmla="*/ 876868 w 1025331"/>
                <a:gd name="connsiteY6" fmla="*/ 518595 h 715612"/>
                <a:gd name="connsiteX7" fmla="*/ 845868 w 1025331"/>
                <a:gd name="connsiteY7" fmla="*/ 532414 h 715612"/>
                <a:gd name="connsiteX8" fmla="*/ 842413 w 1025331"/>
                <a:gd name="connsiteY8" fmla="*/ 542778 h 715612"/>
                <a:gd name="connsiteX9" fmla="*/ 825139 w 1025331"/>
                <a:gd name="connsiteY9" fmla="*/ 546233 h 715612"/>
                <a:gd name="connsiteX10" fmla="*/ 804410 w 1025331"/>
                <a:gd name="connsiteY10" fmla="*/ 528959 h 715612"/>
                <a:gd name="connsiteX11" fmla="*/ 783681 w 1025331"/>
                <a:gd name="connsiteY11" fmla="*/ 511685 h 715612"/>
                <a:gd name="connsiteX12" fmla="*/ 769862 w 1025331"/>
                <a:gd name="connsiteY12" fmla="*/ 494411 h 715612"/>
                <a:gd name="connsiteX13" fmla="*/ 742224 w 1025331"/>
                <a:gd name="connsiteY13" fmla="*/ 504776 h 715612"/>
                <a:gd name="connsiteX14" fmla="*/ 725043 w 1025331"/>
                <a:gd name="connsiteY14" fmla="*/ 497866 h 715612"/>
                <a:gd name="connsiteX15" fmla="*/ 725043 w 1025331"/>
                <a:gd name="connsiteY15" fmla="*/ 83009 h 715612"/>
                <a:gd name="connsiteX16" fmla="*/ 690495 w 1025331"/>
                <a:gd name="connsiteY16" fmla="*/ 69190 h 715612"/>
                <a:gd name="connsiteX17" fmla="*/ 680130 w 1025331"/>
                <a:gd name="connsiteY17" fmla="*/ 62280 h 715612"/>
                <a:gd name="connsiteX18" fmla="*/ 628308 w 1025331"/>
                <a:gd name="connsiteY18" fmla="*/ 69190 h 715612"/>
                <a:gd name="connsiteX19" fmla="*/ 593854 w 1025331"/>
                <a:gd name="connsiteY19" fmla="*/ 62280 h 715612"/>
                <a:gd name="connsiteX20" fmla="*/ 548941 w 1025331"/>
                <a:gd name="connsiteY20" fmla="*/ 51916 h 715612"/>
                <a:gd name="connsiteX21" fmla="*/ 510938 w 1025331"/>
                <a:gd name="connsiteY21" fmla="*/ 41551 h 715612"/>
                <a:gd name="connsiteX22" fmla="*/ 462571 w 1025331"/>
                <a:gd name="connsiteY22" fmla="*/ 41551 h 715612"/>
                <a:gd name="connsiteX23" fmla="*/ 421207 w 1025331"/>
                <a:gd name="connsiteY23" fmla="*/ 38096 h 715612"/>
                <a:gd name="connsiteX24" fmla="*/ 421207 w 1025331"/>
                <a:gd name="connsiteY24" fmla="*/ 27732 h 715612"/>
                <a:gd name="connsiteX25" fmla="*/ 365930 w 1025331"/>
                <a:gd name="connsiteY25" fmla="*/ 20822 h 715612"/>
                <a:gd name="connsiteX26" fmla="*/ 352110 w 1025331"/>
                <a:gd name="connsiteY26" fmla="*/ 13913 h 715612"/>
                <a:gd name="connsiteX27" fmla="*/ 328020 w 1025331"/>
                <a:gd name="connsiteY27" fmla="*/ 24277 h 715612"/>
                <a:gd name="connsiteX28" fmla="*/ 321110 w 1025331"/>
                <a:gd name="connsiteY28" fmla="*/ 13913 h 715612"/>
                <a:gd name="connsiteX29" fmla="*/ 328020 w 1025331"/>
                <a:gd name="connsiteY29" fmla="*/ 3548 h 715612"/>
                <a:gd name="connsiteX30" fmla="*/ 303836 w 1025331"/>
                <a:gd name="connsiteY30" fmla="*/ 0 h 715612"/>
                <a:gd name="connsiteX31" fmla="*/ 272743 w 1025331"/>
                <a:gd name="connsiteY31" fmla="*/ 17367 h 715612"/>
                <a:gd name="connsiteX32" fmla="*/ 227831 w 1025331"/>
                <a:gd name="connsiteY32" fmla="*/ 20822 h 715612"/>
                <a:gd name="connsiteX33" fmla="*/ 220921 w 1025331"/>
                <a:gd name="connsiteY33" fmla="*/ 34641 h 715612"/>
                <a:gd name="connsiteX34" fmla="*/ 207102 w 1025331"/>
                <a:gd name="connsiteY34" fmla="*/ 34641 h 715612"/>
                <a:gd name="connsiteX35" fmla="*/ 179557 w 1025331"/>
                <a:gd name="connsiteY35" fmla="*/ 48461 h 715612"/>
                <a:gd name="connsiteX36" fmla="*/ 151918 w 1025331"/>
                <a:gd name="connsiteY36" fmla="*/ 48461 h 715612"/>
                <a:gd name="connsiteX37" fmla="*/ 127735 w 1025331"/>
                <a:gd name="connsiteY37" fmla="*/ 72644 h 715612"/>
                <a:gd name="connsiteX38" fmla="*/ 120825 w 1025331"/>
                <a:gd name="connsiteY38" fmla="*/ 93373 h 715612"/>
                <a:gd name="connsiteX39" fmla="*/ 100096 w 1025331"/>
                <a:gd name="connsiteY39" fmla="*/ 110647 h 715612"/>
                <a:gd name="connsiteX40" fmla="*/ 38003 w 1025331"/>
                <a:gd name="connsiteY40" fmla="*/ 117557 h 715612"/>
                <a:gd name="connsiteX41" fmla="*/ 34548 w 1025331"/>
                <a:gd name="connsiteY41" fmla="*/ 141741 h 715612"/>
                <a:gd name="connsiteX42" fmla="*/ 44913 w 1025331"/>
                <a:gd name="connsiteY42" fmla="*/ 155560 h 715612"/>
                <a:gd name="connsiteX43" fmla="*/ 65641 w 1025331"/>
                <a:gd name="connsiteY43" fmla="*/ 155560 h 715612"/>
                <a:gd name="connsiteX44" fmla="*/ 75912 w 1025331"/>
                <a:gd name="connsiteY44" fmla="*/ 162469 h 715612"/>
                <a:gd name="connsiteX45" fmla="*/ 86277 w 1025331"/>
                <a:gd name="connsiteY45" fmla="*/ 172927 h 715612"/>
                <a:gd name="connsiteX46" fmla="*/ 103551 w 1025331"/>
                <a:gd name="connsiteY46" fmla="*/ 186746 h 715612"/>
                <a:gd name="connsiteX47" fmla="*/ 113915 w 1025331"/>
                <a:gd name="connsiteY47" fmla="*/ 207475 h 715612"/>
                <a:gd name="connsiteX48" fmla="*/ 145009 w 1025331"/>
                <a:gd name="connsiteY48" fmla="*/ 200566 h 715612"/>
                <a:gd name="connsiteX49" fmla="*/ 158828 w 1025331"/>
                <a:gd name="connsiteY49" fmla="*/ 204020 h 715612"/>
                <a:gd name="connsiteX50" fmla="*/ 151918 w 1025331"/>
                <a:gd name="connsiteY50" fmla="*/ 210930 h 715612"/>
                <a:gd name="connsiteX51" fmla="*/ 151918 w 1025331"/>
                <a:gd name="connsiteY51" fmla="*/ 224749 h 715612"/>
                <a:gd name="connsiteX52" fmla="*/ 176102 w 1025331"/>
                <a:gd name="connsiteY52" fmla="*/ 228204 h 715612"/>
                <a:gd name="connsiteX53" fmla="*/ 186466 w 1025331"/>
                <a:gd name="connsiteY53" fmla="*/ 221295 h 715612"/>
                <a:gd name="connsiteX54" fmla="*/ 203647 w 1025331"/>
                <a:gd name="connsiteY54" fmla="*/ 224749 h 715612"/>
                <a:gd name="connsiteX55" fmla="*/ 196831 w 1025331"/>
                <a:gd name="connsiteY55" fmla="*/ 235114 h 715612"/>
                <a:gd name="connsiteX56" fmla="*/ 172647 w 1025331"/>
                <a:gd name="connsiteY56" fmla="*/ 245478 h 715612"/>
                <a:gd name="connsiteX57" fmla="*/ 151918 w 1025331"/>
                <a:gd name="connsiteY57" fmla="*/ 248933 h 715612"/>
                <a:gd name="connsiteX58" fmla="*/ 124280 w 1025331"/>
                <a:gd name="connsiteY58" fmla="*/ 252388 h 715612"/>
                <a:gd name="connsiteX59" fmla="*/ 107006 w 1025331"/>
                <a:gd name="connsiteY59" fmla="*/ 242023 h 715612"/>
                <a:gd name="connsiteX60" fmla="*/ 103551 w 1025331"/>
                <a:gd name="connsiteY60" fmla="*/ 228204 h 715612"/>
                <a:gd name="connsiteX61" fmla="*/ 89732 w 1025331"/>
                <a:gd name="connsiteY61" fmla="*/ 224749 h 715612"/>
                <a:gd name="connsiteX62" fmla="*/ 62187 w 1025331"/>
                <a:gd name="connsiteY62" fmla="*/ 235114 h 715612"/>
                <a:gd name="connsiteX63" fmla="*/ 38003 w 1025331"/>
                <a:gd name="connsiteY63" fmla="*/ 242023 h 715612"/>
                <a:gd name="connsiteX64" fmla="*/ 17274 w 1025331"/>
                <a:gd name="connsiteY64" fmla="*/ 259297 h 715612"/>
                <a:gd name="connsiteX65" fmla="*/ 0 w 1025331"/>
                <a:gd name="connsiteY65" fmla="*/ 269662 h 715612"/>
                <a:gd name="connsiteX66" fmla="*/ 6910 w 1025331"/>
                <a:gd name="connsiteY66" fmla="*/ 283481 h 715612"/>
                <a:gd name="connsiteX67" fmla="*/ 34548 w 1025331"/>
                <a:gd name="connsiteY67" fmla="*/ 283481 h 715612"/>
                <a:gd name="connsiteX68" fmla="*/ 34548 w 1025331"/>
                <a:gd name="connsiteY68" fmla="*/ 290391 h 715612"/>
                <a:gd name="connsiteX69" fmla="*/ 24184 w 1025331"/>
                <a:gd name="connsiteY69" fmla="*/ 304210 h 715612"/>
                <a:gd name="connsiteX70" fmla="*/ 38003 w 1025331"/>
                <a:gd name="connsiteY70" fmla="*/ 318029 h 715612"/>
                <a:gd name="connsiteX71" fmla="*/ 131189 w 1025331"/>
                <a:gd name="connsiteY71" fmla="*/ 321484 h 715612"/>
                <a:gd name="connsiteX72" fmla="*/ 148463 w 1025331"/>
                <a:gd name="connsiteY72" fmla="*/ 311120 h 715612"/>
                <a:gd name="connsiteX73" fmla="*/ 162283 w 1025331"/>
                <a:gd name="connsiteY73" fmla="*/ 300755 h 715612"/>
                <a:gd name="connsiteX74" fmla="*/ 179557 w 1025331"/>
                <a:gd name="connsiteY74" fmla="*/ 300755 h 715612"/>
                <a:gd name="connsiteX75" fmla="*/ 186466 w 1025331"/>
                <a:gd name="connsiteY75" fmla="*/ 307665 h 715612"/>
                <a:gd name="connsiteX76" fmla="*/ 176102 w 1025331"/>
                <a:gd name="connsiteY76" fmla="*/ 318029 h 715612"/>
                <a:gd name="connsiteX77" fmla="*/ 186466 w 1025331"/>
                <a:gd name="connsiteY77" fmla="*/ 335397 h 715612"/>
                <a:gd name="connsiteX78" fmla="*/ 189921 w 1025331"/>
                <a:gd name="connsiteY78" fmla="*/ 359580 h 715612"/>
                <a:gd name="connsiteX79" fmla="*/ 151918 w 1025331"/>
                <a:gd name="connsiteY79" fmla="*/ 363035 h 715612"/>
                <a:gd name="connsiteX80" fmla="*/ 138099 w 1025331"/>
                <a:gd name="connsiteY80" fmla="*/ 369945 h 715612"/>
                <a:gd name="connsiteX81" fmla="*/ 124280 w 1025331"/>
                <a:gd name="connsiteY81" fmla="*/ 383764 h 715612"/>
                <a:gd name="connsiteX82" fmla="*/ 100096 w 1025331"/>
                <a:gd name="connsiteY82" fmla="*/ 380309 h 715612"/>
                <a:gd name="connsiteX83" fmla="*/ 86277 w 1025331"/>
                <a:gd name="connsiteY83" fmla="*/ 380309 h 715612"/>
                <a:gd name="connsiteX84" fmla="*/ 79367 w 1025331"/>
                <a:gd name="connsiteY84" fmla="*/ 390674 h 715612"/>
                <a:gd name="connsiteX85" fmla="*/ 79367 w 1025331"/>
                <a:gd name="connsiteY85" fmla="*/ 404493 h 715612"/>
                <a:gd name="connsiteX86" fmla="*/ 58732 w 1025331"/>
                <a:gd name="connsiteY86" fmla="*/ 418312 h 715612"/>
                <a:gd name="connsiteX87" fmla="*/ 51822 w 1025331"/>
                <a:gd name="connsiteY87" fmla="*/ 425222 h 715612"/>
                <a:gd name="connsiteX88" fmla="*/ 41458 w 1025331"/>
                <a:gd name="connsiteY88" fmla="*/ 445950 h 715612"/>
                <a:gd name="connsiteX89" fmla="*/ 62187 w 1025331"/>
                <a:gd name="connsiteY89" fmla="*/ 463224 h 715612"/>
                <a:gd name="connsiteX90" fmla="*/ 69003 w 1025331"/>
                <a:gd name="connsiteY90" fmla="*/ 449405 h 715612"/>
                <a:gd name="connsiteX91" fmla="*/ 69003 w 1025331"/>
                <a:gd name="connsiteY91" fmla="*/ 463224 h 715612"/>
                <a:gd name="connsiteX92" fmla="*/ 82822 w 1025331"/>
                <a:gd name="connsiteY92" fmla="*/ 473589 h 715612"/>
                <a:gd name="connsiteX93" fmla="*/ 72458 w 1025331"/>
                <a:gd name="connsiteY93" fmla="*/ 473589 h 715612"/>
                <a:gd name="connsiteX94" fmla="*/ 69003 w 1025331"/>
                <a:gd name="connsiteY94" fmla="*/ 483953 h 715612"/>
                <a:gd name="connsiteX95" fmla="*/ 82822 w 1025331"/>
                <a:gd name="connsiteY95" fmla="*/ 504776 h 715612"/>
                <a:gd name="connsiteX96" fmla="*/ 96641 w 1025331"/>
                <a:gd name="connsiteY96" fmla="*/ 518595 h 715612"/>
                <a:gd name="connsiteX97" fmla="*/ 127735 w 1025331"/>
                <a:gd name="connsiteY97" fmla="*/ 518595 h 715612"/>
                <a:gd name="connsiteX98" fmla="*/ 134644 w 1025331"/>
                <a:gd name="connsiteY98" fmla="*/ 511685 h 715612"/>
                <a:gd name="connsiteX99" fmla="*/ 138099 w 1025331"/>
                <a:gd name="connsiteY99" fmla="*/ 494411 h 715612"/>
                <a:gd name="connsiteX100" fmla="*/ 148463 w 1025331"/>
                <a:gd name="connsiteY100" fmla="*/ 494411 h 715612"/>
                <a:gd name="connsiteX101" fmla="*/ 148463 w 1025331"/>
                <a:gd name="connsiteY101" fmla="*/ 511685 h 715612"/>
                <a:gd name="connsiteX102" fmla="*/ 151918 w 1025331"/>
                <a:gd name="connsiteY102" fmla="*/ 525504 h 715612"/>
                <a:gd name="connsiteX103" fmla="*/ 155373 w 1025331"/>
                <a:gd name="connsiteY103" fmla="*/ 570417 h 715612"/>
                <a:gd name="connsiteX104" fmla="*/ 172647 w 1025331"/>
                <a:gd name="connsiteY104" fmla="*/ 566962 h 715612"/>
                <a:gd name="connsiteX105" fmla="*/ 189921 w 1025331"/>
                <a:gd name="connsiteY105" fmla="*/ 553143 h 715612"/>
                <a:gd name="connsiteX106" fmla="*/ 217466 w 1025331"/>
                <a:gd name="connsiteY106" fmla="*/ 556598 h 715612"/>
                <a:gd name="connsiteX107" fmla="*/ 231285 w 1025331"/>
                <a:gd name="connsiteY107" fmla="*/ 570417 h 715612"/>
                <a:gd name="connsiteX108" fmla="*/ 238195 w 1025331"/>
                <a:gd name="connsiteY108" fmla="*/ 566962 h 715612"/>
                <a:gd name="connsiteX109" fmla="*/ 245105 w 1025331"/>
                <a:gd name="connsiteY109" fmla="*/ 556598 h 715612"/>
                <a:gd name="connsiteX110" fmla="*/ 255469 w 1025331"/>
                <a:gd name="connsiteY110" fmla="*/ 566962 h 715612"/>
                <a:gd name="connsiteX111" fmla="*/ 276198 w 1025331"/>
                <a:gd name="connsiteY111" fmla="*/ 556598 h 715612"/>
                <a:gd name="connsiteX112" fmla="*/ 293472 w 1025331"/>
                <a:gd name="connsiteY112" fmla="*/ 553143 h 715612"/>
                <a:gd name="connsiteX113" fmla="*/ 290017 w 1025331"/>
                <a:gd name="connsiteY113" fmla="*/ 566962 h 715612"/>
                <a:gd name="connsiteX114" fmla="*/ 276198 w 1025331"/>
                <a:gd name="connsiteY114" fmla="*/ 573872 h 715612"/>
                <a:gd name="connsiteX115" fmla="*/ 276198 w 1025331"/>
                <a:gd name="connsiteY115" fmla="*/ 591146 h 715612"/>
                <a:gd name="connsiteX116" fmla="*/ 269288 w 1025331"/>
                <a:gd name="connsiteY116" fmla="*/ 611875 h 715612"/>
                <a:gd name="connsiteX117" fmla="*/ 258924 w 1025331"/>
                <a:gd name="connsiteY117" fmla="*/ 615329 h 715612"/>
                <a:gd name="connsiteX118" fmla="*/ 241650 w 1025331"/>
                <a:gd name="connsiteY118" fmla="*/ 632604 h 715612"/>
                <a:gd name="connsiteX119" fmla="*/ 214011 w 1025331"/>
                <a:gd name="connsiteY119" fmla="*/ 653426 h 715612"/>
                <a:gd name="connsiteX120" fmla="*/ 196831 w 1025331"/>
                <a:gd name="connsiteY120" fmla="*/ 660335 h 715612"/>
                <a:gd name="connsiteX121" fmla="*/ 189921 w 1025331"/>
                <a:gd name="connsiteY121" fmla="*/ 670700 h 715612"/>
                <a:gd name="connsiteX122" fmla="*/ 172647 w 1025331"/>
                <a:gd name="connsiteY122" fmla="*/ 670700 h 715612"/>
                <a:gd name="connsiteX123" fmla="*/ 155373 w 1025331"/>
                <a:gd name="connsiteY123" fmla="*/ 674155 h 715612"/>
                <a:gd name="connsiteX124" fmla="*/ 145009 w 1025331"/>
                <a:gd name="connsiteY124" fmla="*/ 681064 h 715612"/>
                <a:gd name="connsiteX125" fmla="*/ 134644 w 1025331"/>
                <a:gd name="connsiteY125" fmla="*/ 694883 h 715612"/>
                <a:gd name="connsiteX126" fmla="*/ 131189 w 1025331"/>
                <a:gd name="connsiteY126" fmla="*/ 708703 h 715612"/>
                <a:gd name="connsiteX127" fmla="*/ 145009 w 1025331"/>
                <a:gd name="connsiteY127" fmla="*/ 712157 h 715612"/>
                <a:gd name="connsiteX128" fmla="*/ 155373 w 1025331"/>
                <a:gd name="connsiteY128" fmla="*/ 705248 h 715612"/>
                <a:gd name="connsiteX129" fmla="*/ 162283 w 1025331"/>
                <a:gd name="connsiteY129" fmla="*/ 691429 h 715612"/>
                <a:gd name="connsiteX130" fmla="*/ 169192 w 1025331"/>
                <a:gd name="connsiteY130" fmla="*/ 687974 h 715612"/>
                <a:gd name="connsiteX131" fmla="*/ 179557 w 1025331"/>
                <a:gd name="connsiteY131" fmla="*/ 694883 h 715612"/>
                <a:gd name="connsiteX132" fmla="*/ 193376 w 1025331"/>
                <a:gd name="connsiteY132" fmla="*/ 687974 h 715612"/>
                <a:gd name="connsiteX133" fmla="*/ 200286 w 1025331"/>
                <a:gd name="connsiteY133" fmla="*/ 681064 h 715612"/>
                <a:gd name="connsiteX134" fmla="*/ 224376 w 1025331"/>
                <a:gd name="connsiteY134" fmla="*/ 681064 h 715612"/>
                <a:gd name="connsiteX135" fmla="*/ 231285 w 1025331"/>
                <a:gd name="connsiteY135" fmla="*/ 674155 h 715612"/>
                <a:gd name="connsiteX136" fmla="*/ 252014 w 1025331"/>
                <a:gd name="connsiteY136" fmla="*/ 663790 h 715612"/>
                <a:gd name="connsiteX137" fmla="*/ 255469 w 1025331"/>
                <a:gd name="connsiteY137" fmla="*/ 653426 h 715612"/>
                <a:gd name="connsiteX138" fmla="*/ 265834 w 1025331"/>
                <a:gd name="connsiteY138" fmla="*/ 643061 h 715612"/>
                <a:gd name="connsiteX139" fmla="*/ 303836 w 1025331"/>
                <a:gd name="connsiteY139" fmla="*/ 622239 h 715612"/>
                <a:gd name="connsiteX140" fmla="*/ 338291 w 1025331"/>
                <a:gd name="connsiteY140" fmla="*/ 601510 h 715612"/>
                <a:gd name="connsiteX141" fmla="*/ 359020 w 1025331"/>
                <a:gd name="connsiteY141" fmla="*/ 587691 h 715612"/>
                <a:gd name="connsiteX142" fmla="*/ 376294 w 1025331"/>
                <a:gd name="connsiteY142" fmla="*/ 573872 h 715612"/>
                <a:gd name="connsiteX143" fmla="*/ 386658 w 1025331"/>
                <a:gd name="connsiteY143" fmla="*/ 563507 h 715612"/>
                <a:gd name="connsiteX144" fmla="*/ 383204 w 1025331"/>
                <a:gd name="connsiteY144" fmla="*/ 556598 h 715612"/>
                <a:gd name="connsiteX145" fmla="*/ 372839 w 1025331"/>
                <a:gd name="connsiteY145" fmla="*/ 542778 h 715612"/>
                <a:gd name="connsiteX146" fmla="*/ 379749 w 1025331"/>
                <a:gd name="connsiteY146" fmla="*/ 528959 h 715612"/>
                <a:gd name="connsiteX147" fmla="*/ 397023 w 1025331"/>
                <a:gd name="connsiteY147" fmla="*/ 525504 h 715612"/>
                <a:gd name="connsiteX148" fmla="*/ 407387 w 1025331"/>
                <a:gd name="connsiteY148" fmla="*/ 515140 h 715612"/>
                <a:gd name="connsiteX149" fmla="*/ 407387 w 1025331"/>
                <a:gd name="connsiteY149" fmla="*/ 501321 h 715612"/>
                <a:gd name="connsiteX150" fmla="*/ 421207 w 1025331"/>
                <a:gd name="connsiteY150" fmla="*/ 487408 h 715612"/>
                <a:gd name="connsiteX151" fmla="*/ 455755 w 1025331"/>
                <a:gd name="connsiteY151" fmla="*/ 463224 h 715612"/>
                <a:gd name="connsiteX152" fmla="*/ 472935 w 1025331"/>
                <a:gd name="connsiteY152" fmla="*/ 459770 h 715612"/>
                <a:gd name="connsiteX153" fmla="*/ 493664 w 1025331"/>
                <a:gd name="connsiteY153" fmla="*/ 449405 h 715612"/>
                <a:gd name="connsiteX154" fmla="*/ 490209 w 1025331"/>
                <a:gd name="connsiteY154" fmla="*/ 456315 h 715612"/>
                <a:gd name="connsiteX155" fmla="*/ 483300 w 1025331"/>
                <a:gd name="connsiteY155" fmla="*/ 470134 h 715612"/>
                <a:gd name="connsiteX156" fmla="*/ 466026 w 1025331"/>
                <a:gd name="connsiteY156" fmla="*/ 473589 h 715612"/>
                <a:gd name="connsiteX157" fmla="*/ 452300 w 1025331"/>
                <a:gd name="connsiteY157" fmla="*/ 477044 h 715612"/>
                <a:gd name="connsiteX158" fmla="*/ 445390 w 1025331"/>
                <a:gd name="connsiteY158" fmla="*/ 483953 h 715612"/>
                <a:gd name="connsiteX159" fmla="*/ 441935 w 1025331"/>
                <a:gd name="connsiteY159" fmla="*/ 501321 h 715612"/>
                <a:gd name="connsiteX160" fmla="*/ 435026 w 1025331"/>
                <a:gd name="connsiteY160" fmla="*/ 515140 h 715612"/>
                <a:gd name="connsiteX161" fmla="*/ 431571 w 1025331"/>
                <a:gd name="connsiteY161" fmla="*/ 532414 h 715612"/>
                <a:gd name="connsiteX162" fmla="*/ 441935 w 1025331"/>
                <a:gd name="connsiteY162" fmla="*/ 546233 h 715612"/>
                <a:gd name="connsiteX163" fmla="*/ 462571 w 1025331"/>
                <a:gd name="connsiteY163" fmla="*/ 539324 h 715612"/>
                <a:gd name="connsiteX164" fmla="*/ 479845 w 1025331"/>
                <a:gd name="connsiteY164" fmla="*/ 525504 h 715612"/>
                <a:gd name="connsiteX165" fmla="*/ 493664 w 1025331"/>
                <a:gd name="connsiteY165" fmla="*/ 515140 h 715612"/>
                <a:gd name="connsiteX166" fmla="*/ 507483 w 1025331"/>
                <a:gd name="connsiteY166" fmla="*/ 511685 h 715612"/>
                <a:gd name="connsiteX167" fmla="*/ 535122 w 1025331"/>
                <a:gd name="connsiteY167" fmla="*/ 511685 h 715612"/>
                <a:gd name="connsiteX168" fmla="*/ 542031 w 1025331"/>
                <a:gd name="connsiteY168" fmla="*/ 508230 h 715612"/>
                <a:gd name="connsiteX169" fmla="*/ 535122 w 1025331"/>
                <a:gd name="connsiteY169" fmla="*/ 494411 h 715612"/>
                <a:gd name="connsiteX170" fmla="*/ 528212 w 1025331"/>
                <a:gd name="connsiteY170" fmla="*/ 483953 h 715612"/>
                <a:gd name="connsiteX171" fmla="*/ 528212 w 1025331"/>
                <a:gd name="connsiteY171" fmla="*/ 470134 h 715612"/>
                <a:gd name="connsiteX172" fmla="*/ 548941 w 1025331"/>
                <a:gd name="connsiteY172" fmla="*/ 470134 h 715612"/>
                <a:gd name="connsiteX173" fmla="*/ 573125 w 1025331"/>
                <a:gd name="connsiteY173" fmla="*/ 473589 h 715612"/>
                <a:gd name="connsiteX174" fmla="*/ 593854 w 1025331"/>
                <a:gd name="connsiteY174" fmla="*/ 483953 h 715612"/>
                <a:gd name="connsiteX175" fmla="*/ 600670 w 1025331"/>
                <a:gd name="connsiteY175" fmla="*/ 494411 h 715612"/>
                <a:gd name="connsiteX176" fmla="*/ 624853 w 1025331"/>
                <a:gd name="connsiteY176" fmla="*/ 497866 h 715612"/>
                <a:gd name="connsiteX177" fmla="*/ 635218 w 1025331"/>
                <a:gd name="connsiteY177" fmla="*/ 511685 h 715612"/>
                <a:gd name="connsiteX178" fmla="*/ 652492 w 1025331"/>
                <a:gd name="connsiteY178" fmla="*/ 511685 h 715612"/>
                <a:gd name="connsiteX179" fmla="*/ 690495 w 1025331"/>
                <a:gd name="connsiteY179" fmla="*/ 511685 h 715612"/>
                <a:gd name="connsiteX180" fmla="*/ 714679 w 1025331"/>
                <a:gd name="connsiteY180" fmla="*/ 515140 h 715612"/>
                <a:gd name="connsiteX181" fmla="*/ 735314 w 1025331"/>
                <a:gd name="connsiteY181" fmla="*/ 525504 h 715612"/>
                <a:gd name="connsiteX182" fmla="*/ 756043 w 1025331"/>
                <a:gd name="connsiteY182" fmla="*/ 522050 h 715612"/>
                <a:gd name="connsiteX183" fmla="*/ 759498 w 1025331"/>
                <a:gd name="connsiteY183" fmla="*/ 535869 h 715612"/>
                <a:gd name="connsiteX184" fmla="*/ 800955 w 1025331"/>
                <a:gd name="connsiteY184" fmla="*/ 560053 h 715612"/>
                <a:gd name="connsiteX185" fmla="*/ 828594 w 1025331"/>
                <a:gd name="connsiteY185" fmla="*/ 573872 h 715612"/>
                <a:gd name="connsiteX186" fmla="*/ 849323 w 1025331"/>
                <a:gd name="connsiteY186" fmla="*/ 580781 h 715612"/>
                <a:gd name="connsiteX187" fmla="*/ 856232 w 1025331"/>
                <a:gd name="connsiteY187" fmla="*/ 566962 h 715612"/>
                <a:gd name="connsiteX188" fmla="*/ 863142 w 1025331"/>
                <a:gd name="connsiteY188" fmla="*/ 573872 h 715612"/>
                <a:gd name="connsiteX189" fmla="*/ 873413 w 1025331"/>
                <a:gd name="connsiteY189" fmla="*/ 584236 h 715612"/>
                <a:gd name="connsiteX190" fmla="*/ 880323 w 1025331"/>
                <a:gd name="connsiteY190" fmla="*/ 577327 h 715612"/>
                <a:gd name="connsiteX191" fmla="*/ 873413 w 1025331"/>
                <a:gd name="connsiteY191" fmla="*/ 556598 h 715612"/>
                <a:gd name="connsiteX192" fmla="*/ 880323 w 1025331"/>
                <a:gd name="connsiteY192" fmla="*/ 549688 h 715612"/>
                <a:gd name="connsiteX193" fmla="*/ 894142 w 1025331"/>
                <a:gd name="connsiteY193" fmla="*/ 570417 h 715612"/>
                <a:gd name="connsiteX194" fmla="*/ 901051 w 1025331"/>
                <a:gd name="connsiteY194" fmla="*/ 580781 h 715612"/>
                <a:gd name="connsiteX195" fmla="*/ 914871 w 1025331"/>
                <a:gd name="connsiteY195" fmla="*/ 591146 h 715612"/>
                <a:gd name="connsiteX196" fmla="*/ 932145 w 1025331"/>
                <a:gd name="connsiteY196" fmla="*/ 611875 h 715612"/>
                <a:gd name="connsiteX197" fmla="*/ 935599 w 1025331"/>
                <a:gd name="connsiteY197" fmla="*/ 625694 h 715612"/>
                <a:gd name="connsiteX198" fmla="*/ 952874 w 1025331"/>
                <a:gd name="connsiteY198" fmla="*/ 639607 h 715612"/>
                <a:gd name="connsiteX199" fmla="*/ 980512 w 1025331"/>
                <a:gd name="connsiteY199" fmla="*/ 663790 h 715612"/>
                <a:gd name="connsiteX200" fmla="*/ 983967 w 1025331"/>
                <a:gd name="connsiteY200" fmla="*/ 667245 h 715612"/>
                <a:gd name="connsiteX201" fmla="*/ 994331 w 1025331"/>
                <a:gd name="connsiteY201" fmla="*/ 677609 h 715612"/>
                <a:gd name="connsiteX202" fmla="*/ 1004602 w 1025331"/>
                <a:gd name="connsiteY202" fmla="*/ 681064 h 715612"/>
                <a:gd name="connsiteX203" fmla="*/ 1001148 w 1025331"/>
                <a:gd name="connsiteY203" fmla="*/ 698338 h 715612"/>
                <a:gd name="connsiteX204" fmla="*/ 994331 w 1025331"/>
                <a:gd name="connsiteY204" fmla="*/ 715612 h 715612"/>
                <a:gd name="connsiteX205" fmla="*/ 1018422 w 1025331"/>
                <a:gd name="connsiteY205" fmla="*/ 708703 h 715612"/>
                <a:gd name="connsiteX206" fmla="*/ 1025331 w 1025331"/>
                <a:gd name="connsiteY206" fmla="*/ 681064 h 715612"/>
                <a:gd name="connsiteX207" fmla="*/ 1021876 w 1025331"/>
                <a:gd name="connsiteY207" fmla="*/ 667245 h 715612"/>
                <a:gd name="connsiteX208" fmla="*/ 997786 w 1025331"/>
                <a:gd name="connsiteY208" fmla="*/ 653426 h 71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025331" h="715612">
                  <a:moveTo>
                    <a:pt x="997786" y="653426"/>
                  </a:moveTo>
                  <a:lnTo>
                    <a:pt x="977057" y="639607"/>
                  </a:lnTo>
                  <a:lnTo>
                    <a:pt x="959783" y="618784"/>
                  </a:lnTo>
                  <a:lnTo>
                    <a:pt x="942509" y="587691"/>
                  </a:lnTo>
                  <a:lnTo>
                    <a:pt x="928690" y="573872"/>
                  </a:lnTo>
                  <a:lnTo>
                    <a:pt x="897597" y="539324"/>
                  </a:lnTo>
                  <a:lnTo>
                    <a:pt x="876868" y="518595"/>
                  </a:lnTo>
                  <a:lnTo>
                    <a:pt x="845868" y="532414"/>
                  </a:lnTo>
                  <a:lnTo>
                    <a:pt x="842413" y="542778"/>
                  </a:lnTo>
                  <a:lnTo>
                    <a:pt x="825139" y="546233"/>
                  </a:lnTo>
                  <a:lnTo>
                    <a:pt x="804410" y="528959"/>
                  </a:lnTo>
                  <a:lnTo>
                    <a:pt x="783681" y="511685"/>
                  </a:lnTo>
                  <a:lnTo>
                    <a:pt x="769862" y="494411"/>
                  </a:lnTo>
                  <a:lnTo>
                    <a:pt x="742224" y="504776"/>
                  </a:lnTo>
                  <a:lnTo>
                    <a:pt x="725043" y="497866"/>
                  </a:lnTo>
                  <a:lnTo>
                    <a:pt x="725043" y="83009"/>
                  </a:lnTo>
                  <a:lnTo>
                    <a:pt x="690495" y="69190"/>
                  </a:lnTo>
                  <a:lnTo>
                    <a:pt x="680130" y="62280"/>
                  </a:lnTo>
                  <a:lnTo>
                    <a:pt x="628308" y="69190"/>
                  </a:lnTo>
                  <a:lnTo>
                    <a:pt x="593854" y="62280"/>
                  </a:lnTo>
                  <a:lnTo>
                    <a:pt x="548941" y="51916"/>
                  </a:lnTo>
                  <a:lnTo>
                    <a:pt x="510938" y="41551"/>
                  </a:lnTo>
                  <a:lnTo>
                    <a:pt x="462571" y="41551"/>
                  </a:lnTo>
                  <a:lnTo>
                    <a:pt x="421207" y="38096"/>
                  </a:lnTo>
                  <a:lnTo>
                    <a:pt x="421207" y="27732"/>
                  </a:lnTo>
                  <a:lnTo>
                    <a:pt x="365930" y="20822"/>
                  </a:lnTo>
                  <a:lnTo>
                    <a:pt x="352110" y="13913"/>
                  </a:lnTo>
                  <a:lnTo>
                    <a:pt x="328020" y="24277"/>
                  </a:lnTo>
                  <a:lnTo>
                    <a:pt x="321110" y="13913"/>
                  </a:lnTo>
                  <a:lnTo>
                    <a:pt x="328020" y="3548"/>
                  </a:lnTo>
                  <a:lnTo>
                    <a:pt x="303836" y="0"/>
                  </a:lnTo>
                  <a:lnTo>
                    <a:pt x="272743" y="17367"/>
                  </a:lnTo>
                  <a:lnTo>
                    <a:pt x="227831" y="20822"/>
                  </a:lnTo>
                  <a:lnTo>
                    <a:pt x="220921" y="34641"/>
                  </a:lnTo>
                  <a:lnTo>
                    <a:pt x="207102" y="34641"/>
                  </a:lnTo>
                  <a:lnTo>
                    <a:pt x="179557" y="48461"/>
                  </a:lnTo>
                  <a:lnTo>
                    <a:pt x="151918" y="48461"/>
                  </a:lnTo>
                  <a:lnTo>
                    <a:pt x="127735" y="72644"/>
                  </a:lnTo>
                  <a:lnTo>
                    <a:pt x="120825" y="93373"/>
                  </a:lnTo>
                  <a:lnTo>
                    <a:pt x="100096" y="110647"/>
                  </a:lnTo>
                  <a:lnTo>
                    <a:pt x="38003" y="117557"/>
                  </a:lnTo>
                  <a:lnTo>
                    <a:pt x="34548" y="141741"/>
                  </a:lnTo>
                  <a:lnTo>
                    <a:pt x="44913" y="155560"/>
                  </a:lnTo>
                  <a:lnTo>
                    <a:pt x="65641" y="155560"/>
                  </a:lnTo>
                  <a:lnTo>
                    <a:pt x="75912" y="162469"/>
                  </a:lnTo>
                  <a:lnTo>
                    <a:pt x="86277" y="172927"/>
                  </a:lnTo>
                  <a:lnTo>
                    <a:pt x="103551" y="186746"/>
                  </a:lnTo>
                  <a:lnTo>
                    <a:pt x="113915" y="207475"/>
                  </a:lnTo>
                  <a:lnTo>
                    <a:pt x="145009" y="200566"/>
                  </a:lnTo>
                  <a:lnTo>
                    <a:pt x="158828" y="204020"/>
                  </a:lnTo>
                  <a:lnTo>
                    <a:pt x="151918" y="210930"/>
                  </a:lnTo>
                  <a:lnTo>
                    <a:pt x="151918" y="224749"/>
                  </a:lnTo>
                  <a:lnTo>
                    <a:pt x="176102" y="228204"/>
                  </a:lnTo>
                  <a:lnTo>
                    <a:pt x="186466" y="221295"/>
                  </a:lnTo>
                  <a:lnTo>
                    <a:pt x="203647" y="224749"/>
                  </a:lnTo>
                  <a:lnTo>
                    <a:pt x="196831" y="235114"/>
                  </a:lnTo>
                  <a:lnTo>
                    <a:pt x="172647" y="245478"/>
                  </a:lnTo>
                  <a:lnTo>
                    <a:pt x="151918" y="248933"/>
                  </a:lnTo>
                  <a:lnTo>
                    <a:pt x="124280" y="252388"/>
                  </a:lnTo>
                  <a:lnTo>
                    <a:pt x="107006" y="242023"/>
                  </a:lnTo>
                  <a:lnTo>
                    <a:pt x="103551" y="228204"/>
                  </a:lnTo>
                  <a:lnTo>
                    <a:pt x="89732" y="224749"/>
                  </a:lnTo>
                  <a:lnTo>
                    <a:pt x="62187" y="235114"/>
                  </a:lnTo>
                  <a:lnTo>
                    <a:pt x="38003" y="242023"/>
                  </a:lnTo>
                  <a:lnTo>
                    <a:pt x="17274" y="259297"/>
                  </a:lnTo>
                  <a:lnTo>
                    <a:pt x="0" y="269662"/>
                  </a:lnTo>
                  <a:lnTo>
                    <a:pt x="6910" y="283481"/>
                  </a:lnTo>
                  <a:lnTo>
                    <a:pt x="34548" y="283481"/>
                  </a:lnTo>
                  <a:lnTo>
                    <a:pt x="34548" y="290391"/>
                  </a:lnTo>
                  <a:lnTo>
                    <a:pt x="24184" y="304210"/>
                  </a:lnTo>
                  <a:lnTo>
                    <a:pt x="38003" y="318029"/>
                  </a:lnTo>
                  <a:lnTo>
                    <a:pt x="131189" y="321484"/>
                  </a:lnTo>
                  <a:lnTo>
                    <a:pt x="148463" y="311120"/>
                  </a:lnTo>
                  <a:lnTo>
                    <a:pt x="162283" y="300755"/>
                  </a:lnTo>
                  <a:lnTo>
                    <a:pt x="179557" y="300755"/>
                  </a:lnTo>
                  <a:lnTo>
                    <a:pt x="186466" y="307665"/>
                  </a:lnTo>
                  <a:lnTo>
                    <a:pt x="176102" y="318029"/>
                  </a:lnTo>
                  <a:lnTo>
                    <a:pt x="186466" y="335397"/>
                  </a:lnTo>
                  <a:lnTo>
                    <a:pt x="189921" y="359580"/>
                  </a:lnTo>
                  <a:lnTo>
                    <a:pt x="151918" y="363035"/>
                  </a:lnTo>
                  <a:lnTo>
                    <a:pt x="138099" y="369945"/>
                  </a:lnTo>
                  <a:lnTo>
                    <a:pt x="124280" y="383764"/>
                  </a:lnTo>
                  <a:lnTo>
                    <a:pt x="100096" y="380309"/>
                  </a:lnTo>
                  <a:lnTo>
                    <a:pt x="86277" y="380309"/>
                  </a:lnTo>
                  <a:lnTo>
                    <a:pt x="79367" y="390674"/>
                  </a:lnTo>
                  <a:lnTo>
                    <a:pt x="79367" y="404493"/>
                  </a:lnTo>
                  <a:lnTo>
                    <a:pt x="58732" y="418312"/>
                  </a:lnTo>
                  <a:lnTo>
                    <a:pt x="51822" y="425222"/>
                  </a:lnTo>
                  <a:lnTo>
                    <a:pt x="41458" y="445950"/>
                  </a:lnTo>
                  <a:lnTo>
                    <a:pt x="62187" y="463224"/>
                  </a:lnTo>
                  <a:lnTo>
                    <a:pt x="69003" y="449405"/>
                  </a:lnTo>
                  <a:lnTo>
                    <a:pt x="69003" y="463224"/>
                  </a:lnTo>
                  <a:lnTo>
                    <a:pt x="82822" y="473589"/>
                  </a:lnTo>
                  <a:lnTo>
                    <a:pt x="72458" y="473589"/>
                  </a:lnTo>
                  <a:lnTo>
                    <a:pt x="69003" y="483953"/>
                  </a:lnTo>
                  <a:lnTo>
                    <a:pt x="82822" y="504776"/>
                  </a:lnTo>
                  <a:lnTo>
                    <a:pt x="96641" y="518595"/>
                  </a:lnTo>
                  <a:lnTo>
                    <a:pt x="127735" y="518595"/>
                  </a:lnTo>
                  <a:lnTo>
                    <a:pt x="134644" y="511685"/>
                  </a:lnTo>
                  <a:lnTo>
                    <a:pt x="138099" y="494411"/>
                  </a:lnTo>
                  <a:lnTo>
                    <a:pt x="148463" y="494411"/>
                  </a:lnTo>
                  <a:lnTo>
                    <a:pt x="148463" y="511685"/>
                  </a:lnTo>
                  <a:lnTo>
                    <a:pt x="151918" y="525504"/>
                  </a:lnTo>
                  <a:lnTo>
                    <a:pt x="155373" y="570417"/>
                  </a:lnTo>
                  <a:lnTo>
                    <a:pt x="172647" y="566962"/>
                  </a:lnTo>
                  <a:lnTo>
                    <a:pt x="189921" y="553143"/>
                  </a:lnTo>
                  <a:lnTo>
                    <a:pt x="217466" y="556598"/>
                  </a:lnTo>
                  <a:lnTo>
                    <a:pt x="231285" y="570417"/>
                  </a:lnTo>
                  <a:lnTo>
                    <a:pt x="238195" y="566962"/>
                  </a:lnTo>
                  <a:lnTo>
                    <a:pt x="245105" y="556598"/>
                  </a:lnTo>
                  <a:lnTo>
                    <a:pt x="255469" y="566962"/>
                  </a:lnTo>
                  <a:lnTo>
                    <a:pt x="276198" y="556598"/>
                  </a:lnTo>
                  <a:lnTo>
                    <a:pt x="293472" y="553143"/>
                  </a:lnTo>
                  <a:lnTo>
                    <a:pt x="290017" y="566962"/>
                  </a:lnTo>
                  <a:lnTo>
                    <a:pt x="276198" y="573872"/>
                  </a:lnTo>
                  <a:lnTo>
                    <a:pt x="276198" y="591146"/>
                  </a:lnTo>
                  <a:lnTo>
                    <a:pt x="269288" y="611875"/>
                  </a:lnTo>
                  <a:lnTo>
                    <a:pt x="258924" y="615329"/>
                  </a:lnTo>
                  <a:lnTo>
                    <a:pt x="241650" y="632604"/>
                  </a:lnTo>
                  <a:lnTo>
                    <a:pt x="214011" y="653426"/>
                  </a:lnTo>
                  <a:lnTo>
                    <a:pt x="196831" y="660335"/>
                  </a:lnTo>
                  <a:lnTo>
                    <a:pt x="189921" y="670700"/>
                  </a:lnTo>
                  <a:lnTo>
                    <a:pt x="172647" y="670700"/>
                  </a:lnTo>
                  <a:lnTo>
                    <a:pt x="155373" y="674155"/>
                  </a:lnTo>
                  <a:lnTo>
                    <a:pt x="145009" y="681064"/>
                  </a:lnTo>
                  <a:lnTo>
                    <a:pt x="134644" y="694883"/>
                  </a:lnTo>
                  <a:lnTo>
                    <a:pt x="131189" y="708703"/>
                  </a:lnTo>
                  <a:lnTo>
                    <a:pt x="145009" y="712157"/>
                  </a:lnTo>
                  <a:lnTo>
                    <a:pt x="155373" y="705248"/>
                  </a:lnTo>
                  <a:lnTo>
                    <a:pt x="162283" y="691429"/>
                  </a:lnTo>
                  <a:lnTo>
                    <a:pt x="169192" y="687974"/>
                  </a:lnTo>
                  <a:lnTo>
                    <a:pt x="179557" y="694883"/>
                  </a:lnTo>
                  <a:lnTo>
                    <a:pt x="193376" y="687974"/>
                  </a:lnTo>
                  <a:lnTo>
                    <a:pt x="200286" y="681064"/>
                  </a:lnTo>
                  <a:lnTo>
                    <a:pt x="224376" y="681064"/>
                  </a:lnTo>
                  <a:lnTo>
                    <a:pt x="231285" y="674155"/>
                  </a:lnTo>
                  <a:lnTo>
                    <a:pt x="252014" y="663790"/>
                  </a:lnTo>
                  <a:lnTo>
                    <a:pt x="255469" y="653426"/>
                  </a:lnTo>
                  <a:lnTo>
                    <a:pt x="265834" y="643061"/>
                  </a:lnTo>
                  <a:lnTo>
                    <a:pt x="303836" y="622239"/>
                  </a:lnTo>
                  <a:lnTo>
                    <a:pt x="338291" y="601510"/>
                  </a:lnTo>
                  <a:lnTo>
                    <a:pt x="359020" y="587691"/>
                  </a:lnTo>
                  <a:lnTo>
                    <a:pt x="376294" y="573872"/>
                  </a:lnTo>
                  <a:lnTo>
                    <a:pt x="386658" y="563507"/>
                  </a:lnTo>
                  <a:lnTo>
                    <a:pt x="383204" y="556598"/>
                  </a:lnTo>
                  <a:lnTo>
                    <a:pt x="372839" y="542778"/>
                  </a:lnTo>
                  <a:lnTo>
                    <a:pt x="379749" y="528959"/>
                  </a:lnTo>
                  <a:lnTo>
                    <a:pt x="397023" y="525504"/>
                  </a:lnTo>
                  <a:lnTo>
                    <a:pt x="407387" y="515140"/>
                  </a:lnTo>
                  <a:lnTo>
                    <a:pt x="407387" y="501321"/>
                  </a:lnTo>
                  <a:lnTo>
                    <a:pt x="421207" y="487408"/>
                  </a:lnTo>
                  <a:lnTo>
                    <a:pt x="455755" y="463224"/>
                  </a:lnTo>
                  <a:lnTo>
                    <a:pt x="472935" y="459770"/>
                  </a:lnTo>
                  <a:lnTo>
                    <a:pt x="493664" y="449405"/>
                  </a:lnTo>
                  <a:lnTo>
                    <a:pt x="490209" y="456315"/>
                  </a:lnTo>
                  <a:lnTo>
                    <a:pt x="483300" y="470134"/>
                  </a:lnTo>
                  <a:lnTo>
                    <a:pt x="466026" y="473589"/>
                  </a:lnTo>
                  <a:lnTo>
                    <a:pt x="452300" y="477044"/>
                  </a:lnTo>
                  <a:lnTo>
                    <a:pt x="445390" y="483953"/>
                  </a:lnTo>
                  <a:lnTo>
                    <a:pt x="441935" y="501321"/>
                  </a:lnTo>
                  <a:lnTo>
                    <a:pt x="435026" y="515140"/>
                  </a:lnTo>
                  <a:lnTo>
                    <a:pt x="431571" y="532414"/>
                  </a:lnTo>
                  <a:lnTo>
                    <a:pt x="441935" y="546233"/>
                  </a:lnTo>
                  <a:lnTo>
                    <a:pt x="462571" y="539324"/>
                  </a:lnTo>
                  <a:lnTo>
                    <a:pt x="479845" y="525504"/>
                  </a:lnTo>
                  <a:lnTo>
                    <a:pt x="493664" y="515140"/>
                  </a:lnTo>
                  <a:lnTo>
                    <a:pt x="507483" y="511685"/>
                  </a:lnTo>
                  <a:lnTo>
                    <a:pt x="535122" y="511685"/>
                  </a:lnTo>
                  <a:lnTo>
                    <a:pt x="542031" y="508230"/>
                  </a:lnTo>
                  <a:lnTo>
                    <a:pt x="535122" y="494411"/>
                  </a:lnTo>
                  <a:lnTo>
                    <a:pt x="528212" y="483953"/>
                  </a:lnTo>
                  <a:lnTo>
                    <a:pt x="528212" y="470134"/>
                  </a:lnTo>
                  <a:lnTo>
                    <a:pt x="548941" y="470134"/>
                  </a:lnTo>
                  <a:lnTo>
                    <a:pt x="573125" y="473589"/>
                  </a:lnTo>
                  <a:lnTo>
                    <a:pt x="593854" y="483953"/>
                  </a:lnTo>
                  <a:lnTo>
                    <a:pt x="600670" y="494411"/>
                  </a:lnTo>
                  <a:lnTo>
                    <a:pt x="624853" y="497866"/>
                  </a:lnTo>
                  <a:lnTo>
                    <a:pt x="635218" y="511685"/>
                  </a:lnTo>
                  <a:lnTo>
                    <a:pt x="652492" y="511685"/>
                  </a:lnTo>
                  <a:lnTo>
                    <a:pt x="690495" y="511685"/>
                  </a:lnTo>
                  <a:lnTo>
                    <a:pt x="714679" y="515140"/>
                  </a:lnTo>
                  <a:lnTo>
                    <a:pt x="735314" y="525504"/>
                  </a:lnTo>
                  <a:lnTo>
                    <a:pt x="756043" y="522050"/>
                  </a:lnTo>
                  <a:lnTo>
                    <a:pt x="759498" y="535869"/>
                  </a:lnTo>
                  <a:lnTo>
                    <a:pt x="800955" y="560053"/>
                  </a:lnTo>
                  <a:lnTo>
                    <a:pt x="828594" y="573872"/>
                  </a:lnTo>
                  <a:lnTo>
                    <a:pt x="849323" y="580781"/>
                  </a:lnTo>
                  <a:lnTo>
                    <a:pt x="856232" y="566962"/>
                  </a:lnTo>
                  <a:lnTo>
                    <a:pt x="863142" y="573872"/>
                  </a:lnTo>
                  <a:lnTo>
                    <a:pt x="873413" y="584236"/>
                  </a:lnTo>
                  <a:lnTo>
                    <a:pt x="880323" y="577327"/>
                  </a:lnTo>
                  <a:lnTo>
                    <a:pt x="873413" y="556598"/>
                  </a:lnTo>
                  <a:lnTo>
                    <a:pt x="880323" y="549688"/>
                  </a:lnTo>
                  <a:lnTo>
                    <a:pt x="894142" y="570417"/>
                  </a:lnTo>
                  <a:lnTo>
                    <a:pt x="901051" y="580781"/>
                  </a:lnTo>
                  <a:lnTo>
                    <a:pt x="914871" y="591146"/>
                  </a:lnTo>
                  <a:lnTo>
                    <a:pt x="932145" y="611875"/>
                  </a:lnTo>
                  <a:lnTo>
                    <a:pt x="935599" y="625694"/>
                  </a:lnTo>
                  <a:lnTo>
                    <a:pt x="952874" y="639607"/>
                  </a:lnTo>
                  <a:lnTo>
                    <a:pt x="980512" y="663790"/>
                  </a:lnTo>
                  <a:lnTo>
                    <a:pt x="983967" y="667245"/>
                  </a:lnTo>
                  <a:lnTo>
                    <a:pt x="994331" y="677609"/>
                  </a:lnTo>
                  <a:lnTo>
                    <a:pt x="1004602" y="681064"/>
                  </a:lnTo>
                  <a:lnTo>
                    <a:pt x="1001148" y="698338"/>
                  </a:lnTo>
                  <a:lnTo>
                    <a:pt x="994331" y="715612"/>
                  </a:lnTo>
                  <a:lnTo>
                    <a:pt x="1018422" y="708703"/>
                  </a:lnTo>
                  <a:lnTo>
                    <a:pt x="1025331" y="681064"/>
                  </a:lnTo>
                  <a:lnTo>
                    <a:pt x="1021876" y="667245"/>
                  </a:lnTo>
                  <a:lnTo>
                    <a:pt x="997786" y="653426"/>
                  </a:lnTo>
                  <a:close/>
                </a:path>
              </a:pathLst>
            </a:custGeom>
            <a:solidFill>
              <a:srgbClr val="CEE3BF"/>
            </a:solidFill>
            <a:ln w="9334" cap="flat">
              <a:noFill/>
              <a:prstDash val="solid"/>
              <a:miter/>
            </a:ln>
          </p:spPr>
          <p:txBody>
            <a:bodyPr rtlCol="0" anchor="ctr"/>
            <a:lstStyle/>
            <a:p>
              <a:endParaRPr lang="en-GB" dirty="0"/>
            </a:p>
          </p:txBody>
        </p:sp>
        <p:sp>
          <p:nvSpPr>
            <p:cNvPr id="1387" name="Freeform: Shape 1386">
              <a:extLst>
                <a:ext uri="{FF2B5EF4-FFF2-40B4-BE49-F238E27FC236}">
                  <a16:creationId xmlns:a16="http://schemas.microsoft.com/office/drawing/2014/main" id="{6DE72CFA-128B-49DE-8E7B-F703BDE49C8A}"/>
                </a:ext>
              </a:extLst>
            </p:cNvPr>
            <p:cNvSpPr/>
            <p:nvPr/>
          </p:nvSpPr>
          <p:spPr>
            <a:xfrm>
              <a:off x="2097782" y="2652674"/>
              <a:ext cx="30999" cy="13819"/>
            </a:xfrm>
            <a:custGeom>
              <a:avLst/>
              <a:gdLst>
                <a:gd name="connsiteX0" fmla="*/ 13819 w 30999"/>
                <a:gd name="connsiteY0" fmla="*/ 6910 h 13819"/>
                <a:gd name="connsiteX1" fmla="*/ 0 w 30999"/>
                <a:gd name="connsiteY1" fmla="*/ 13819 h 13819"/>
                <a:gd name="connsiteX2" fmla="*/ 31000 w 30999"/>
                <a:gd name="connsiteY2" fmla="*/ 0 h 13819"/>
                <a:gd name="connsiteX3" fmla="*/ 13819 w 30999"/>
                <a:gd name="connsiteY3" fmla="*/ 6910 h 13819"/>
              </a:gdLst>
              <a:ahLst/>
              <a:cxnLst>
                <a:cxn ang="0">
                  <a:pos x="connsiteX0" y="connsiteY0"/>
                </a:cxn>
                <a:cxn ang="0">
                  <a:pos x="connsiteX1" y="connsiteY1"/>
                </a:cxn>
                <a:cxn ang="0">
                  <a:pos x="connsiteX2" y="connsiteY2"/>
                </a:cxn>
                <a:cxn ang="0">
                  <a:pos x="connsiteX3" y="connsiteY3"/>
                </a:cxn>
              </a:cxnLst>
              <a:rect l="l" t="t" r="r" b="b"/>
              <a:pathLst>
                <a:path w="30999" h="13819">
                  <a:moveTo>
                    <a:pt x="13819" y="6910"/>
                  </a:moveTo>
                  <a:lnTo>
                    <a:pt x="0" y="13819"/>
                  </a:lnTo>
                  <a:lnTo>
                    <a:pt x="31000" y="0"/>
                  </a:lnTo>
                  <a:lnTo>
                    <a:pt x="13819" y="6910"/>
                  </a:lnTo>
                  <a:close/>
                </a:path>
              </a:pathLst>
            </a:custGeom>
            <a:solidFill>
              <a:srgbClr val="CEE3BF"/>
            </a:solidFill>
            <a:ln w="9334" cap="flat">
              <a:noFill/>
              <a:prstDash val="solid"/>
              <a:miter/>
            </a:ln>
          </p:spPr>
          <p:txBody>
            <a:bodyPr rtlCol="0" anchor="ctr"/>
            <a:lstStyle/>
            <a:p>
              <a:endParaRPr lang="en-GB" dirty="0"/>
            </a:p>
          </p:txBody>
        </p:sp>
        <p:sp>
          <p:nvSpPr>
            <p:cNvPr id="1388" name="Freeform: Shape 1387">
              <a:extLst>
                <a:ext uri="{FF2B5EF4-FFF2-40B4-BE49-F238E27FC236}">
                  <a16:creationId xmlns:a16="http://schemas.microsoft.com/office/drawing/2014/main" id="{4C1E60D5-915D-4C2E-B506-B8995D2292AF}"/>
                </a:ext>
              </a:extLst>
            </p:cNvPr>
            <p:cNvSpPr/>
            <p:nvPr/>
          </p:nvSpPr>
          <p:spPr>
            <a:xfrm>
              <a:off x="2035596" y="2645765"/>
              <a:ext cx="41457" cy="34548"/>
            </a:xfrm>
            <a:custGeom>
              <a:avLst/>
              <a:gdLst>
                <a:gd name="connsiteX0" fmla="*/ 41458 w 41457"/>
                <a:gd name="connsiteY0" fmla="*/ 34548 h 34548"/>
                <a:gd name="connsiteX1" fmla="*/ 27638 w 41457"/>
                <a:gd name="connsiteY1" fmla="*/ 20729 h 34548"/>
                <a:gd name="connsiteX2" fmla="*/ 0 w 41457"/>
                <a:gd name="connsiteY2" fmla="*/ 0 h 34548"/>
                <a:gd name="connsiteX3" fmla="*/ 20729 w 41457"/>
                <a:gd name="connsiteY3" fmla="*/ 17274 h 34548"/>
                <a:gd name="connsiteX4" fmla="*/ 41458 w 41457"/>
                <a:gd name="connsiteY4" fmla="*/ 34548 h 34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57" h="34548">
                  <a:moveTo>
                    <a:pt x="41458" y="34548"/>
                  </a:moveTo>
                  <a:lnTo>
                    <a:pt x="27638" y="20729"/>
                  </a:lnTo>
                  <a:lnTo>
                    <a:pt x="0" y="0"/>
                  </a:lnTo>
                  <a:lnTo>
                    <a:pt x="20729" y="17274"/>
                  </a:lnTo>
                  <a:lnTo>
                    <a:pt x="41458" y="34548"/>
                  </a:lnTo>
                  <a:close/>
                </a:path>
              </a:pathLst>
            </a:custGeom>
            <a:solidFill>
              <a:srgbClr val="CEE3BF"/>
            </a:solidFill>
            <a:ln w="9334" cap="flat">
              <a:noFill/>
              <a:prstDash val="solid"/>
              <a:miter/>
            </a:ln>
          </p:spPr>
          <p:txBody>
            <a:bodyPr rtlCol="0" anchor="ctr"/>
            <a:lstStyle/>
            <a:p>
              <a:endParaRPr lang="en-GB" dirty="0"/>
            </a:p>
          </p:txBody>
        </p:sp>
        <p:sp>
          <p:nvSpPr>
            <p:cNvPr id="1389" name="Freeform: Shape 1388">
              <a:extLst>
                <a:ext uri="{FF2B5EF4-FFF2-40B4-BE49-F238E27FC236}">
                  <a16:creationId xmlns:a16="http://schemas.microsoft.com/office/drawing/2014/main" id="{D49D1C61-CF90-42D2-8AB5-59E915E8D26C}"/>
                </a:ext>
              </a:extLst>
            </p:cNvPr>
            <p:cNvSpPr/>
            <p:nvPr/>
          </p:nvSpPr>
          <p:spPr>
            <a:xfrm>
              <a:off x="1994138" y="2628491"/>
              <a:ext cx="27638" cy="10364"/>
            </a:xfrm>
            <a:custGeom>
              <a:avLst/>
              <a:gdLst>
                <a:gd name="connsiteX0" fmla="*/ 13819 w 27638"/>
                <a:gd name="connsiteY0" fmla="*/ 3455 h 10364"/>
                <a:gd name="connsiteX1" fmla="*/ 0 w 27638"/>
                <a:gd name="connsiteY1" fmla="*/ 10364 h 10364"/>
                <a:gd name="connsiteX2" fmla="*/ 27638 w 27638"/>
                <a:gd name="connsiteY2" fmla="*/ 0 h 10364"/>
                <a:gd name="connsiteX3" fmla="*/ 13819 w 27638"/>
                <a:gd name="connsiteY3" fmla="*/ 3455 h 10364"/>
              </a:gdLst>
              <a:ahLst/>
              <a:cxnLst>
                <a:cxn ang="0">
                  <a:pos x="connsiteX0" y="connsiteY0"/>
                </a:cxn>
                <a:cxn ang="0">
                  <a:pos x="connsiteX1" y="connsiteY1"/>
                </a:cxn>
                <a:cxn ang="0">
                  <a:pos x="connsiteX2" y="connsiteY2"/>
                </a:cxn>
                <a:cxn ang="0">
                  <a:pos x="connsiteX3" y="connsiteY3"/>
                </a:cxn>
              </a:cxnLst>
              <a:rect l="l" t="t" r="r" b="b"/>
              <a:pathLst>
                <a:path w="27638" h="10364">
                  <a:moveTo>
                    <a:pt x="13819" y="3455"/>
                  </a:moveTo>
                  <a:lnTo>
                    <a:pt x="0" y="10364"/>
                  </a:lnTo>
                  <a:lnTo>
                    <a:pt x="27638" y="0"/>
                  </a:lnTo>
                  <a:lnTo>
                    <a:pt x="13819" y="3455"/>
                  </a:lnTo>
                  <a:close/>
                </a:path>
              </a:pathLst>
            </a:custGeom>
            <a:solidFill>
              <a:srgbClr val="CEE3BF"/>
            </a:solidFill>
            <a:ln w="9334" cap="flat">
              <a:noFill/>
              <a:prstDash val="solid"/>
              <a:miter/>
            </a:ln>
          </p:spPr>
          <p:txBody>
            <a:bodyPr rtlCol="0" anchor="ctr"/>
            <a:lstStyle/>
            <a:p>
              <a:endParaRPr lang="en-GB" dirty="0"/>
            </a:p>
          </p:txBody>
        </p:sp>
        <p:sp>
          <p:nvSpPr>
            <p:cNvPr id="1390" name="Freeform: Shape 1389">
              <a:extLst>
                <a:ext uri="{FF2B5EF4-FFF2-40B4-BE49-F238E27FC236}">
                  <a16:creationId xmlns:a16="http://schemas.microsoft.com/office/drawing/2014/main" id="{0221B6A0-D824-480C-88D4-4932D0377039}"/>
                </a:ext>
              </a:extLst>
            </p:cNvPr>
            <p:cNvSpPr/>
            <p:nvPr/>
          </p:nvSpPr>
          <p:spPr>
            <a:xfrm>
              <a:off x="2149511" y="2673403"/>
              <a:ext cx="62186" cy="79460"/>
            </a:xfrm>
            <a:custGeom>
              <a:avLst/>
              <a:gdLst>
                <a:gd name="connsiteX0" fmla="*/ 44913 w 62186"/>
                <a:gd name="connsiteY0" fmla="*/ 48367 h 79460"/>
                <a:gd name="connsiteX1" fmla="*/ 62187 w 62186"/>
                <a:gd name="connsiteY1" fmla="*/ 79461 h 79460"/>
                <a:gd name="connsiteX2" fmla="*/ 44913 w 62186"/>
                <a:gd name="connsiteY2" fmla="*/ 44912 h 79460"/>
                <a:gd name="connsiteX3" fmla="*/ 17274 w 62186"/>
                <a:gd name="connsiteY3" fmla="*/ 17274 h 79460"/>
                <a:gd name="connsiteX4" fmla="*/ 0 w 62186"/>
                <a:gd name="connsiteY4" fmla="*/ 0 h 79460"/>
                <a:gd name="connsiteX5" fmla="*/ 31093 w 62186"/>
                <a:gd name="connsiteY5" fmla="*/ 34548 h 79460"/>
                <a:gd name="connsiteX6" fmla="*/ 44913 w 62186"/>
                <a:gd name="connsiteY6" fmla="*/ 48367 h 7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86" h="79460">
                  <a:moveTo>
                    <a:pt x="44913" y="48367"/>
                  </a:moveTo>
                  <a:lnTo>
                    <a:pt x="62187" y="79461"/>
                  </a:lnTo>
                  <a:lnTo>
                    <a:pt x="44913" y="44912"/>
                  </a:lnTo>
                  <a:lnTo>
                    <a:pt x="17274" y="17274"/>
                  </a:lnTo>
                  <a:lnTo>
                    <a:pt x="0" y="0"/>
                  </a:lnTo>
                  <a:lnTo>
                    <a:pt x="31093" y="34548"/>
                  </a:lnTo>
                  <a:lnTo>
                    <a:pt x="44913" y="48367"/>
                  </a:lnTo>
                  <a:close/>
                </a:path>
              </a:pathLst>
            </a:custGeom>
            <a:solidFill>
              <a:srgbClr val="CEE3BF"/>
            </a:solidFill>
            <a:ln w="9334" cap="flat">
              <a:noFill/>
              <a:prstDash val="solid"/>
              <a:miter/>
            </a:ln>
          </p:spPr>
          <p:txBody>
            <a:bodyPr rtlCol="0" anchor="ctr"/>
            <a:lstStyle/>
            <a:p>
              <a:endParaRPr lang="en-GB" dirty="0"/>
            </a:p>
          </p:txBody>
        </p:sp>
        <p:sp>
          <p:nvSpPr>
            <p:cNvPr id="1391" name="Freeform: Shape 1390">
              <a:extLst>
                <a:ext uri="{FF2B5EF4-FFF2-40B4-BE49-F238E27FC236}">
                  <a16:creationId xmlns:a16="http://schemas.microsoft.com/office/drawing/2014/main" id="{6CE595D3-4AF9-458E-80A1-3EE1F79B09F1}"/>
                </a:ext>
              </a:extLst>
            </p:cNvPr>
            <p:cNvSpPr/>
            <p:nvPr/>
          </p:nvSpPr>
          <p:spPr>
            <a:xfrm>
              <a:off x="9356428" y="4937610"/>
              <a:ext cx="20729" cy="3454"/>
            </a:xfrm>
            <a:custGeom>
              <a:avLst/>
              <a:gdLst>
                <a:gd name="connsiteX0" fmla="*/ 20729 w 20729"/>
                <a:gd name="connsiteY0" fmla="*/ 0 h 3454"/>
                <a:gd name="connsiteX1" fmla="*/ 0 w 20729"/>
                <a:gd name="connsiteY1" fmla="*/ 3455 h 3454"/>
                <a:gd name="connsiteX2" fmla="*/ 0 w 20729"/>
                <a:gd name="connsiteY2" fmla="*/ 3455 h 3454"/>
                <a:gd name="connsiteX3" fmla="*/ 20729 w 20729"/>
                <a:gd name="connsiteY3" fmla="*/ 0 h 3454"/>
              </a:gdLst>
              <a:ahLst/>
              <a:cxnLst>
                <a:cxn ang="0">
                  <a:pos x="connsiteX0" y="connsiteY0"/>
                </a:cxn>
                <a:cxn ang="0">
                  <a:pos x="connsiteX1" y="connsiteY1"/>
                </a:cxn>
                <a:cxn ang="0">
                  <a:pos x="connsiteX2" y="connsiteY2"/>
                </a:cxn>
                <a:cxn ang="0">
                  <a:pos x="connsiteX3" y="connsiteY3"/>
                </a:cxn>
              </a:cxnLst>
              <a:rect l="l" t="t" r="r" b="b"/>
              <a:pathLst>
                <a:path w="20729" h="3454">
                  <a:moveTo>
                    <a:pt x="20729" y="0"/>
                  </a:moveTo>
                  <a:lnTo>
                    <a:pt x="0" y="3455"/>
                  </a:lnTo>
                  <a:lnTo>
                    <a:pt x="0" y="3455"/>
                  </a:lnTo>
                  <a:lnTo>
                    <a:pt x="20729" y="0"/>
                  </a:lnTo>
                  <a:close/>
                </a:path>
              </a:pathLst>
            </a:custGeom>
            <a:solidFill>
              <a:srgbClr val="CEE3BF"/>
            </a:solidFill>
            <a:ln w="9334" cap="flat">
              <a:noFill/>
              <a:prstDash val="solid"/>
              <a:miter/>
            </a:ln>
          </p:spPr>
          <p:txBody>
            <a:bodyPr rtlCol="0" anchor="ctr"/>
            <a:lstStyle/>
            <a:p>
              <a:endParaRPr lang="en-GB" dirty="0"/>
            </a:p>
          </p:txBody>
        </p:sp>
        <p:sp>
          <p:nvSpPr>
            <p:cNvPr id="1392" name="Freeform: Shape 1391">
              <a:extLst>
                <a:ext uri="{FF2B5EF4-FFF2-40B4-BE49-F238E27FC236}">
                  <a16:creationId xmlns:a16="http://schemas.microsoft.com/office/drawing/2014/main" id="{943DD383-BC14-46D8-BEC1-B873EBF220E0}"/>
                </a:ext>
              </a:extLst>
            </p:cNvPr>
            <p:cNvSpPr/>
            <p:nvPr/>
          </p:nvSpPr>
          <p:spPr>
            <a:xfrm>
              <a:off x="9684355" y="4972158"/>
              <a:ext cx="31092" cy="48367"/>
            </a:xfrm>
            <a:custGeom>
              <a:avLst/>
              <a:gdLst>
                <a:gd name="connsiteX0" fmla="*/ 31093 w 31092"/>
                <a:gd name="connsiteY0" fmla="*/ 0 h 48367"/>
                <a:gd name="connsiteX1" fmla="*/ 17274 w 31092"/>
                <a:gd name="connsiteY1" fmla="*/ 27638 h 48367"/>
                <a:gd name="connsiteX2" fmla="*/ 0 w 31092"/>
                <a:gd name="connsiteY2" fmla="*/ 48367 h 48367"/>
                <a:gd name="connsiteX3" fmla="*/ 17274 w 31092"/>
                <a:gd name="connsiteY3" fmla="*/ 27638 h 48367"/>
                <a:gd name="connsiteX4" fmla="*/ 31093 w 31092"/>
                <a:gd name="connsiteY4" fmla="*/ 0 h 4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92" h="48367">
                  <a:moveTo>
                    <a:pt x="31093" y="0"/>
                  </a:moveTo>
                  <a:lnTo>
                    <a:pt x="17274" y="27638"/>
                  </a:lnTo>
                  <a:lnTo>
                    <a:pt x="0" y="48367"/>
                  </a:lnTo>
                  <a:lnTo>
                    <a:pt x="17274" y="27638"/>
                  </a:lnTo>
                  <a:lnTo>
                    <a:pt x="31093" y="0"/>
                  </a:lnTo>
                  <a:close/>
                </a:path>
              </a:pathLst>
            </a:custGeom>
            <a:solidFill>
              <a:srgbClr val="CEE3BF"/>
            </a:solidFill>
            <a:ln w="9334" cap="flat">
              <a:noFill/>
              <a:prstDash val="solid"/>
              <a:miter/>
            </a:ln>
          </p:spPr>
          <p:txBody>
            <a:bodyPr rtlCol="0" anchor="ctr"/>
            <a:lstStyle/>
            <a:p>
              <a:endParaRPr lang="en-GB" dirty="0"/>
            </a:p>
          </p:txBody>
        </p:sp>
        <p:sp>
          <p:nvSpPr>
            <p:cNvPr id="1393" name="Freeform: Shape 1392">
              <a:extLst>
                <a:ext uri="{FF2B5EF4-FFF2-40B4-BE49-F238E27FC236}">
                  <a16:creationId xmlns:a16="http://schemas.microsoft.com/office/drawing/2014/main" id="{BC21567D-E2BD-43F9-99B0-6D9FDC9A19DA}"/>
                </a:ext>
              </a:extLst>
            </p:cNvPr>
            <p:cNvSpPr/>
            <p:nvPr/>
          </p:nvSpPr>
          <p:spPr>
            <a:xfrm>
              <a:off x="9290787" y="4909972"/>
              <a:ext cx="27638" cy="20728"/>
            </a:xfrm>
            <a:custGeom>
              <a:avLst/>
              <a:gdLst>
                <a:gd name="connsiteX0" fmla="*/ 27639 w 27638"/>
                <a:gd name="connsiteY0" fmla="*/ 0 h 20728"/>
                <a:gd name="connsiteX1" fmla="*/ 0 w 27638"/>
                <a:gd name="connsiteY1" fmla="*/ 20729 h 20728"/>
                <a:gd name="connsiteX2" fmla="*/ 27639 w 27638"/>
                <a:gd name="connsiteY2" fmla="*/ 0 h 20728"/>
                <a:gd name="connsiteX3" fmla="*/ 27639 w 27638"/>
                <a:gd name="connsiteY3" fmla="*/ 0 h 20728"/>
              </a:gdLst>
              <a:ahLst/>
              <a:cxnLst>
                <a:cxn ang="0">
                  <a:pos x="connsiteX0" y="connsiteY0"/>
                </a:cxn>
                <a:cxn ang="0">
                  <a:pos x="connsiteX1" y="connsiteY1"/>
                </a:cxn>
                <a:cxn ang="0">
                  <a:pos x="connsiteX2" y="connsiteY2"/>
                </a:cxn>
                <a:cxn ang="0">
                  <a:pos x="connsiteX3" y="connsiteY3"/>
                </a:cxn>
              </a:cxnLst>
              <a:rect l="l" t="t" r="r" b="b"/>
              <a:pathLst>
                <a:path w="27638" h="20728">
                  <a:moveTo>
                    <a:pt x="27639" y="0"/>
                  </a:moveTo>
                  <a:lnTo>
                    <a:pt x="0" y="20729"/>
                  </a:lnTo>
                  <a:lnTo>
                    <a:pt x="27639" y="0"/>
                  </a:lnTo>
                  <a:lnTo>
                    <a:pt x="27639" y="0"/>
                  </a:lnTo>
                  <a:close/>
                </a:path>
              </a:pathLst>
            </a:custGeom>
            <a:solidFill>
              <a:srgbClr val="CEE3BF"/>
            </a:solidFill>
            <a:ln w="9334" cap="flat">
              <a:noFill/>
              <a:prstDash val="solid"/>
              <a:miter/>
            </a:ln>
          </p:spPr>
          <p:txBody>
            <a:bodyPr rtlCol="0" anchor="ctr"/>
            <a:lstStyle/>
            <a:p>
              <a:endParaRPr lang="en-GB" dirty="0"/>
            </a:p>
          </p:txBody>
        </p:sp>
        <p:sp>
          <p:nvSpPr>
            <p:cNvPr id="1394" name="Freeform: Shape 1393">
              <a:extLst>
                <a:ext uri="{FF2B5EF4-FFF2-40B4-BE49-F238E27FC236}">
                  <a16:creationId xmlns:a16="http://schemas.microsoft.com/office/drawing/2014/main" id="{F6EE149D-1F24-4356-89CF-F5A64D7E9AC9}"/>
                </a:ext>
              </a:extLst>
            </p:cNvPr>
            <p:cNvSpPr/>
            <p:nvPr/>
          </p:nvSpPr>
          <p:spPr>
            <a:xfrm>
              <a:off x="9425431" y="4861511"/>
              <a:ext cx="6909" cy="6909"/>
            </a:xfrm>
            <a:custGeom>
              <a:avLst/>
              <a:gdLst>
                <a:gd name="connsiteX0" fmla="*/ 6910 w 6909"/>
                <a:gd name="connsiteY0" fmla="*/ 0 h 6909"/>
                <a:gd name="connsiteX1" fmla="*/ 0 w 6909"/>
                <a:gd name="connsiteY1" fmla="*/ 6910 h 6909"/>
                <a:gd name="connsiteX2" fmla="*/ 6910 w 6909"/>
                <a:gd name="connsiteY2" fmla="*/ 0 h 6909"/>
                <a:gd name="connsiteX3" fmla="*/ 6910 w 6909"/>
                <a:gd name="connsiteY3" fmla="*/ 0 h 6909"/>
              </a:gdLst>
              <a:ahLst/>
              <a:cxnLst>
                <a:cxn ang="0">
                  <a:pos x="connsiteX0" y="connsiteY0"/>
                </a:cxn>
                <a:cxn ang="0">
                  <a:pos x="connsiteX1" y="connsiteY1"/>
                </a:cxn>
                <a:cxn ang="0">
                  <a:pos x="connsiteX2" y="connsiteY2"/>
                </a:cxn>
                <a:cxn ang="0">
                  <a:pos x="connsiteX3" y="connsiteY3"/>
                </a:cxn>
              </a:cxnLst>
              <a:rect l="l" t="t" r="r" b="b"/>
              <a:pathLst>
                <a:path w="6909" h="6909">
                  <a:moveTo>
                    <a:pt x="6910" y="0"/>
                  </a:moveTo>
                  <a:lnTo>
                    <a:pt x="0" y="6910"/>
                  </a:lnTo>
                  <a:lnTo>
                    <a:pt x="6910" y="0"/>
                  </a:lnTo>
                  <a:lnTo>
                    <a:pt x="6910" y="0"/>
                  </a:lnTo>
                  <a:close/>
                </a:path>
              </a:pathLst>
            </a:custGeom>
            <a:solidFill>
              <a:srgbClr val="CEE3BF"/>
            </a:solidFill>
            <a:ln w="9334" cap="flat">
              <a:noFill/>
              <a:prstDash val="solid"/>
              <a:miter/>
            </a:ln>
          </p:spPr>
          <p:txBody>
            <a:bodyPr rtlCol="0" anchor="ctr"/>
            <a:lstStyle/>
            <a:p>
              <a:endParaRPr lang="en-GB" dirty="0"/>
            </a:p>
          </p:txBody>
        </p:sp>
        <p:sp>
          <p:nvSpPr>
            <p:cNvPr id="1395" name="Freeform: Shape 1394">
              <a:extLst>
                <a:ext uri="{FF2B5EF4-FFF2-40B4-BE49-F238E27FC236}">
                  <a16:creationId xmlns:a16="http://schemas.microsoft.com/office/drawing/2014/main" id="{8B79DFCC-021F-49B1-8149-914DA088D559}"/>
                </a:ext>
              </a:extLst>
            </p:cNvPr>
            <p:cNvSpPr/>
            <p:nvPr/>
          </p:nvSpPr>
          <p:spPr>
            <a:xfrm>
              <a:off x="8959406" y="5138082"/>
              <a:ext cx="3454" cy="13819"/>
            </a:xfrm>
            <a:custGeom>
              <a:avLst/>
              <a:gdLst>
                <a:gd name="connsiteX0" fmla="*/ 3455 w 3454"/>
                <a:gd name="connsiteY0" fmla="*/ 0 h 13819"/>
                <a:gd name="connsiteX1" fmla="*/ 0 w 3454"/>
                <a:gd name="connsiteY1" fmla="*/ 13819 h 13819"/>
                <a:gd name="connsiteX2" fmla="*/ 3455 w 3454"/>
                <a:gd name="connsiteY2" fmla="*/ 0 h 13819"/>
                <a:gd name="connsiteX3" fmla="*/ 3455 w 3454"/>
                <a:gd name="connsiteY3" fmla="*/ 0 h 13819"/>
              </a:gdLst>
              <a:ahLst/>
              <a:cxnLst>
                <a:cxn ang="0">
                  <a:pos x="connsiteX0" y="connsiteY0"/>
                </a:cxn>
                <a:cxn ang="0">
                  <a:pos x="connsiteX1" y="connsiteY1"/>
                </a:cxn>
                <a:cxn ang="0">
                  <a:pos x="connsiteX2" y="connsiteY2"/>
                </a:cxn>
                <a:cxn ang="0">
                  <a:pos x="connsiteX3" y="connsiteY3"/>
                </a:cxn>
              </a:cxnLst>
              <a:rect l="l" t="t" r="r" b="b"/>
              <a:pathLst>
                <a:path w="3454" h="13819">
                  <a:moveTo>
                    <a:pt x="3455" y="0"/>
                  </a:moveTo>
                  <a:lnTo>
                    <a:pt x="0" y="13819"/>
                  </a:lnTo>
                  <a:lnTo>
                    <a:pt x="3455" y="0"/>
                  </a:lnTo>
                  <a:lnTo>
                    <a:pt x="3455" y="0"/>
                  </a:lnTo>
                  <a:close/>
                </a:path>
              </a:pathLst>
            </a:custGeom>
            <a:solidFill>
              <a:srgbClr val="CEE3BF"/>
            </a:solidFill>
            <a:ln w="9334" cap="flat">
              <a:noFill/>
              <a:prstDash val="solid"/>
              <a:miter/>
            </a:ln>
          </p:spPr>
          <p:txBody>
            <a:bodyPr rtlCol="0" anchor="ctr"/>
            <a:lstStyle/>
            <a:p>
              <a:endParaRPr lang="en-GB" dirty="0"/>
            </a:p>
          </p:txBody>
        </p:sp>
        <p:sp>
          <p:nvSpPr>
            <p:cNvPr id="1396" name="Freeform: Shape 1395">
              <a:extLst>
                <a:ext uri="{FF2B5EF4-FFF2-40B4-BE49-F238E27FC236}">
                  <a16:creationId xmlns:a16="http://schemas.microsoft.com/office/drawing/2014/main" id="{BD8C4F8F-685A-4176-9B4E-9B0CA48E6463}"/>
                </a:ext>
              </a:extLst>
            </p:cNvPr>
            <p:cNvSpPr/>
            <p:nvPr/>
          </p:nvSpPr>
          <p:spPr>
            <a:xfrm>
              <a:off x="9453070" y="5431928"/>
              <a:ext cx="72551" cy="38002"/>
            </a:xfrm>
            <a:custGeom>
              <a:avLst/>
              <a:gdLst>
                <a:gd name="connsiteX0" fmla="*/ 51822 w 72551"/>
                <a:gd name="connsiteY0" fmla="*/ 13819 h 38002"/>
                <a:gd name="connsiteX1" fmla="*/ 0 w 72551"/>
                <a:gd name="connsiteY1" fmla="*/ 0 h 38002"/>
                <a:gd name="connsiteX2" fmla="*/ 51822 w 72551"/>
                <a:gd name="connsiteY2" fmla="*/ 13819 h 38002"/>
                <a:gd name="connsiteX3" fmla="*/ 62186 w 72551"/>
                <a:gd name="connsiteY3" fmla="*/ 24184 h 38002"/>
                <a:gd name="connsiteX4" fmla="*/ 72551 w 72551"/>
                <a:gd name="connsiteY4" fmla="*/ 38003 h 38002"/>
                <a:gd name="connsiteX5" fmla="*/ 62186 w 72551"/>
                <a:gd name="connsiteY5" fmla="*/ 24184 h 38002"/>
                <a:gd name="connsiteX6" fmla="*/ 51822 w 72551"/>
                <a:gd name="connsiteY6" fmla="*/ 13819 h 3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551" h="38002">
                  <a:moveTo>
                    <a:pt x="51822" y="13819"/>
                  </a:moveTo>
                  <a:lnTo>
                    <a:pt x="0" y="0"/>
                  </a:lnTo>
                  <a:lnTo>
                    <a:pt x="51822" y="13819"/>
                  </a:lnTo>
                  <a:lnTo>
                    <a:pt x="62186" y="24184"/>
                  </a:lnTo>
                  <a:lnTo>
                    <a:pt x="72551" y="38003"/>
                  </a:lnTo>
                  <a:lnTo>
                    <a:pt x="62186" y="24184"/>
                  </a:lnTo>
                  <a:lnTo>
                    <a:pt x="51822" y="13819"/>
                  </a:lnTo>
                  <a:close/>
                </a:path>
              </a:pathLst>
            </a:custGeom>
            <a:solidFill>
              <a:srgbClr val="CEE3BF"/>
            </a:solidFill>
            <a:ln w="9334" cap="flat">
              <a:noFill/>
              <a:prstDash val="solid"/>
              <a:miter/>
            </a:ln>
          </p:spPr>
          <p:txBody>
            <a:bodyPr rtlCol="0" anchor="ctr"/>
            <a:lstStyle/>
            <a:p>
              <a:endParaRPr lang="en-GB" dirty="0"/>
            </a:p>
          </p:txBody>
        </p:sp>
        <p:sp>
          <p:nvSpPr>
            <p:cNvPr id="1397" name="Freeform: Shape 1396">
              <a:extLst>
                <a:ext uri="{FF2B5EF4-FFF2-40B4-BE49-F238E27FC236}">
                  <a16:creationId xmlns:a16="http://schemas.microsoft.com/office/drawing/2014/main" id="{85AB73AA-0B72-4CB2-979F-A24E67333F9B}"/>
                </a:ext>
              </a:extLst>
            </p:cNvPr>
            <p:cNvSpPr/>
            <p:nvPr/>
          </p:nvSpPr>
          <p:spPr>
            <a:xfrm>
              <a:off x="9045682" y="5079351"/>
              <a:ext cx="82915" cy="20728"/>
            </a:xfrm>
            <a:custGeom>
              <a:avLst/>
              <a:gdLst>
                <a:gd name="connsiteX0" fmla="*/ 82915 w 82915"/>
                <a:gd name="connsiteY0" fmla="*/ 0 h 20728"/>
                <a:gd name="connsiteX1" fmla="*/ 41458 w 82915"/>
                <a:gd name="connsiteY1" fmla="*/ 13819 h 20728"/>
                <a:gd name="connsiteX2" fmla="*/ 0 w 82915"/>
                <a:gd name="connsiteY2" fmla="*/ 20729 h 20728"/>
                <a:gd name="connsiteX3" fmla="*/ 41458 w 82915"/>
                <a:gd name="connsiteY3" fmla="*/ 13819 h 20728"/>
                <a:gd name="connsiteX4" fmla="*/ 82915 w 82915"/>
                <a:gd name="connsiteY4" fmla="*/ 0 h 20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15" h="20728">
                  <a:moveTo>
                    <a:pt x="82915" y="0"/>
                  </a:moveTo>
                  <a:lnTo>
                    <a:pt x="41458" y="13819"/>
                  </a:lnTo>
                  <a:lnTo>
                    <a:pt x="0" y="20729"/>
                  </a:lnTo>
                  <a:lnTo>
                    <a:pt x="41458" y="13819"/>
                  </a:lnTo>
                  <a:lnTo>
                    <a:pt x="82915" y="0"/>
                  </a:lnTo>
                  <a:close/>
                </a:path>
              </a:pathLst>
            </a:custGeom>
            <a:solidFill>
              <a:srgbClr val="CEE3BF"/>
            </a:solidFill>
            <a:ln w="9334" cap="flat">
              <a:noFill/>
              <a:prstDash val="solid"/>
              <a:miter/>
            </a:ln>
          </p:spPr>
          <p:txBody>
            <a:bodyPr rtlCol="0" anchor="ctr"/>
            <a:lstStyle/>
            <a:p>
              <a:endParaRPr lang="en-GB" dirty="0"/>
            </a:p>
          </p:txBody>
        </p:sp>
        <p:sp>
          <p:nvSpPr>
            <p:cNvPr id="1398" name="Freeform: Shape 1397">
              <a:extLst>
                <a:ext uri="{FF2B5EF4-FFF2-40B4-BE49-F238E27FC236}">
                  <a16:creationId xmlns:a16="http://schemas.microsoft.com/office/drawing/2014/main" id="{8638E715-83DD-4FF7-AEA6-038E1F3BEF5B}"/>
                </a:ext>
              </a:extLst>
            </p:cNvPr>
            <p:cNvSpPr/>
            <p:nvPr/>
          </p:nvSpPr>
          <p:spPr>
            <a:xfrm>
              <a:off x="8938677" y="4826963"/>
              <a:ext cx="1104791" cy="822711"/>
            </a:xfrm>
            <a:custGeom>
              <a:avLst/>
              <a:gdLst>
                <a:gd name="connsiteX0" fmla="*/ 1101337 w 1104791"/>
                <a:gd name="connsiteY0" fmla="*/ 487408 h 822711"/>
                <a:gd name="connsiteX1" fmla="*/ 1097882 w 1104791"/>
                <a:gd name="connsiteY1" fmla="*/ 466679 h 822711"/>
                <a:gd name="connsiteX2" fmla="*/ 1094428 w 1104791"/>
                <a:gd name="connsiteY2" fmla="*/ 439041 h 822711"/>
                <a:gd name="connsiteX3" fmla="*/ 1087518 w 1104791"/>
                <a:gd name="connsiteY3" fmla="*/ 418312 h 822711"/>
                <a:gd name="connsiteX4" fmla="*/ 1077154 w 1104791"/>
                <a:gd name="connsiteY4" fmla="*/ 394128 h 822711"/>
                <a:gd name="connsiteX5" fmla="*/ 1056425 w 1104791"/>
                <a:gd name="connsiteY5" fmla="*/ 369851 h 822711"/>
                <a:gd name="connsiteX6" fmla="*/ 1032241 w 1104791"/>
                <a:gd name="connsiteY6" fmla="*/ 352577 h 822711"/>
                <a:gd name="connsiteX7" fmla="*/ 1025331 w 1104791"/>
                <a:gd name="connsiteY7" fmla="*/ 324939 h 822711"/>
                <a:gd name="connsiteX8" fmla="*/ 1004603 w 1104791"/>
                <a:gd name="connsiteY8" fmla="*/ 324939 h 822711"/>
                <a:gd name="connsiteX9" fmla="*/ 997787 w 1104791"/>
                <a:gd name="connsiteY9" fmla="*/ 314574 h 822711"/>
                <a:gd name="connsiteX10" fmla="*/ 997787 w 1104791"/>
                <a:gd name="connsiteY10" fmla="*/ 297300 h 822711"/>
                <a:gd name="connsiteX11" fmla="*/ 980512 w 1104791"/>
                <a:gd name="connsiteY11" fmla="*/ 280026 h 822711"/>
                <a:gd name="connsiteX12" fmla="*/ 963238 w 1104791"/>
                <a:gd name="connsiteY12" fmla="*/ 255843 h 822711"/>
                <a:gd name="connsiteX13" fmla="*/ 939054 w 1104791"/>
                <a:gd name="connsiteY13" fmla="*/ 238568 h 822711"/>
                <a:gd name="connsiteX14" fmla="*/ 918326 w 1104791"/>
                <a:gd name="connsiteY14" fmla="*/ 231659 h 822711"/>
                <a:gd name="connsiteX15" fmla="*/ 907961 w 1104791"/>
                <a:gd name="connsiteY15" fmla="*/ 214385 h 822711"/>
                <a:gd name="connsiteX16" fmla="*/ 907961 w 1104791"/>
                <a:gd name="connsiteY16" fmla="*/ 193562 h 822711"/>
                <a:gd name="connsiteX17" fmla="*/ 901051 w 1104791"/>
                <a:gd name="connsiteY17" fmla="*/ 176288 h 822711"/>
                <a:gd name="connsiteX18" fmla="*/ 883778 w 1104791"/>
                <a:gd name="connsiteY18" fmla="*/ 165924 h 822711"/>
                <a:gd name="connsiteX19" fmla="*/ 883778 w 1104791"/>
                <a:gd name="connsiteY19" fmla="*/ 141740 h 822711"/>
                <a:gd name="connsiteX20" fmla="*/ 880323 w 1104791"/>
                <a:gd name="connsiteY20" fmla="*/ 124466 h 822711"/>
                <a:gd name="connsiteX21" fmla="*/ 873413 w 1104791"/>
                <a:gd name="connsiteY21" fmla="*/ 107192 h 822711"/>
                <a:gd name="connsiteX22" fmla="*/ 852778 w 1104791"/>
                <a:gd name="connsiteY22" fmla="*/ 100283 h 822711"/>
                <a:gd name="connsiteX23" fmla="*/ 835504 w 1104791"/>
                <a:gd name="connsiteY23" fmla="*/ 93373 h 822711"/>
                <a:gd name="connsiteX24" fmla="*/ 832049 w 1104791"/>
                <a:gd name="connsiteY24" fmla="*/ 55370 h 822711"/>
                <a:gd name="connsiteX25" fmla="*/ 825139 w 1104791"/>
                <a:gd name="connsiteY25" fmla="*/ 34548 h 822711"/>
                <a:gd name="connsiteX26" fmla="*/ 811320 w 1104791"/>
                <a:gd name="connsiteY26" fmla="*/ 10364 h 822711"/>
                <a:gd name="connsiteX27" fmla="*/ 800956 w 1104791"/>
                <a:gd name="connsiteY27" fmla="*/ 0 h 822711"/>
                <a:gd name="connsiteX28" fmla="*/ 794046 w 1104791"/>
                <a:gd name="connsiteY28" fmla="*/ 17274 h 822711"/>
                <a:gd name="connsiteX29" fmla="*/ 787137 w 1104791"/>
                <a:gd name="connsiteY29" fmla="*/ 38003 h 822711"/>
                <a:gd name="connsiteX30" fmla="*/ 776772 w 1104791"/>
                <a:gd name="connsiteY30" fmla="*/ 69189 h 822711"/>
                <a:gd name="connsiteX31" fmla="*/ 780226 w 1104791"/>
                <a:gd name="connsiteY31" fmla="*/ 114102 h 822711"/>
                <a:gd name="connsiteX32" fmla="*/ 776772 w 1104791"/>
                <a:gd name="connsiteY32" fmla="*/ 145195 h 822711"/>
                <a:gd name="connsiteX33" fmla="*/ 762953 w 1104791"/>
                <a:gd name="connsiteY33" fmla="*/ 172834 h 822711"/>
                <a:gd name="connsiteX34" fmla="*/ 745679 w 1104791"/>
                <a:gd name="connsiteY34" fmla="*/ 193562 h 822711"/>
                <a:gd name="connsiteX35" fmla="*/ 718134 w 1104791"/>
                <a:gd name="connsiteY35" fmla="*/ 176288 h 822711"/>
                <a:gd name="connsiteX36" fmla="*/ 697405 w 1104791"/>
                <a:gd name="connsiteY36" fmla="*/ 165924 h 822711"/>
                <a:gd name="connsiteX37" fmla="*/ 669766 w 1104791"/>
                <a:gd name="connsiteY37" fmla="*/ 145195 h 822711"/>
                <a:gd name="connsiteX38" fmla="*/ 642128 w 1104791"/>
                <a:gd name="connsiteY38" fmla="*/ 134831 h 822711"/>
                <a:gd name="connsiteX39" fmla="*/ 617944 w 1104791"/>
                <a:gd name="connsiteY39" fmla="*/ 117557 h 822711"/>
                <a:gd name="connsiteX40" fmla="*/ 607580 w 1104791"/>
                <a:gd name="connsiteY40" fmla="*/ 107192 h 822711"/>
                <a:gd name="connsiteX41" fmla="*/ 607580 w 1104791"/>
                <a:gd name="connsiteY41" fmla="*/ 93373 h 822711"/>
                <a:gd name="connsiteX42" fmla="*/ 621399 w 1104791"/>
                <a:gd name="connsiteY42" fmla="*/ 83009 h 822711"/>
                <a:gd name="connsiteX43" fmla="*/ 631763 w 1104791"/>
                <a:gd name="connsiteY43" fmla="*/ 69189 h 822711"/>
                <a:gd name="connsiteX44" fmla="*/ 642128 w 1104791"/>
                <a:gd name="connsiteY44" fmla="*/ 51915 h 822711"/>
                <a:gd name="connsiteX45" fmla="*/ 655947 w 1104791"/>
                <a:gd name="connsiteY45" fmla="*/ 38003 h 822711"/>
                <a:gd name="connsiteX46" fmla="*/ 642128 w 1104791"/>
                <a:gd name="connsiteY46" fmla="*/ 31093 h 822711"/>
                <a:gd name="connsiteX47" fmla="*/ 624854 w 1104791"/>
                <a:gd name="connsiteY47" fmla="*/ 38003 h 822711"/>
                <a:gd name="connsiteX48" fmla="*/ 611034 w 1104791"/>
                <a:gd name="connsiteY48" fmla="*/ 38003 h 822711"/>
                <a:gd name="connsiteX49" fmla="*/ 600670 w 1104791"/>
                <a:gd name="connsiteY49" fmla="*/ 34548 h 822711"/>
                <a:gd name="connsiteX50" fmla="*/ 586944 w 1104791"/>
                <a:gd name="connsiteY50" fmla="*/ 31093 h 822711"/>
                <a:gd name="connsiteX51" fmla="*/ 569670 w 1104791"/>
                <a:gd name="connsiteY51" fmla="*/ 24184 h 822711"/>
                <a:gd name="connsiteX52" fmla="*/ 555851 w 1104791"/>
                <a:gd name="connsiteY52" fmla="*/ 17274 h 822711"/>
                <a:gd name="connsiteX53" fmla="*/ 531667 w 1104791"/>
                <a:gd name="connsiteY53" fmla="*/ 6910 h 822711"/>
                <a:gd name="connsiteX54" fmla="*/ 521303 w 1104791"/>
                <a:gd name="connsiteY54" fmla="*/ 10364 h 822711"/>
                <a:gd name="connsiteX55" fmla="*/ 535122 w 1104791"/>
                <a:gd name="connsiteY55" fmla="*/ 20729 h 822711"/>
                <a:gd name="connsiteX56" fmla="*/ 531667 w 1104791"/>
                <a:gd name="connsiteY56" fmla="*/ 31093 h 822711"/>
                <a:gd name="connsiteX57" fmla="*/ 510938 w 1104791"/>
                <a:gd name="connsiteY57" fmla="*/ 38003 h 822711"/>
                <a:gd name="connsiteX58" fmla="*/ 493664 w 1104791"/>
                <a:gd name="connsiteY58" fmla="*/ 34548 h 822711"/>
                <a:gd name="connsiteX59" fmla="*/ 486755 w 1104791"/>
                <a:gd name="connsiteY59" fmla="*/ 41457 h 822711"/>
                <a:gd name="connsiteX60" fmla="*/ 472936 w 1104791"/>
                <a:gd name="connsiteY60" fmla="*/ 48460 h 822711"/>
                <a:gd name="connsiteX61" fmla="*/ 462571 w 1104791"/>
                <a:gd name="connsiteY61" fmla="*/ 69189 h 822711"/>
                <a:gd name="connsiteX62" fmla="*/ 441936 w 1104791"/>
                <a:gd name="connsiteY62" fmla="*/ 89918 h 822711"/>
                <a:gd name="connsiteX63" fmla="*/ 452300 w 1104791"/>
                <a:gd name="connsiteY63" fmla="*/ 107192 h 822711"/>
                <a:gd name="connsiteX64" fmla="*/ 438481 w 1104791"/>
                <a:gd name="connsiteY64" fmla="*/ 110647 h 822711"/>
                <a:gd name="connsiteX65" fmla="*/ 417752 w 1104791"/>
                <a:gd name="connsiteY65" fmla="*/ 114102 h 822711"/>
                <a:gd name="connsiteX66" fmla="*/ 417752 w 1104791"/>
                <a:gd name="connsiteY66" fmla="*/ 114102 h 822711"/>
                <a:gd name="connsiteX67" fmla="*/ 417752 w 1104791"/>
                <a:gd name="connsiteY67" fmla="*/ 114102 h 822711"/>
                <a:gd name="connsiteX68" fmla="*/ 407387 w 1104791"/>
                <a:gd name="connsiteY68" fmla="*/ 103737 h 822711"/>
                <a:gd name="connsiteX69" fmla="*/ 397023 w 1104791"/>
                <a:gd name="connsiteY69" fmla="*/ 93373 h 822711"/>
                <a:gd name="connsiteX70" fmla="*/ 379749 w 1104791"/>
                <a:gd name="connsiteY70" fmla="*/ 83009 h 822711"/>
                <a:gd name="connsiteX71" fmla="*/ 352111 w 1104791"/>
                <a:gd name="connsiteY71" fmla="*/ 103737 h 822711"/>
                <a:gd name="connsiteX72" fmla="*/ 341746 w 1104791"/>
                <a:gd name="connsiteY72" fmla="*/ 103737 h 822711"/>
                <a:gd name="connsiteX73" fmla="*/ 331381 w 1104791"/>
                <a:gd name="connsiteY73" fmla="*/ 114102 h 822711"/>
                <a:gd name="connsiteX74" fmla="*/ 314201 w 1104791"/>
                <a:gd name="connsiteY74" fmla="*/ 124466 h 822711"/>
                <a:gd name="connsiteX75" fmla="*/ 310746 w 1104791"/>
                <a:gd name="connsiteY75" fmla="*/ 145195 h 822711"/>
                <a:gd name="connsiteX76" fmla="*/ 303837 w 1104791"/>
                <a:gd name="connsiteY76" fmla="*/ 152105 h 822711"/>
                <a:gd name="connsiteX77" fmla="*/ 290017 w 1104791"/>
                <a:gd name="connsiteY77" fmla="*/ 145195 h 822711"/>
                <a:gd name="connsiteX78" fmla="*/ 290017 w 1104791"/>
                <a:gd name="connsiteY78" fmla="*/ 165924 h 822711"/>
                <a:gd name="connsiteX79" fmla="*/ 283108 w 1104791"/>
                <a:gd name="connsiteY79" fmla="*/ 176288 h 822711"/>
                <a:gd name="connsiteX80" fmla="*/ 276198 w 1104791"/>
                <a:gd name="connsiteY80" fmla="*/ 169379 h 822711"/>
                <a:gd name="connsiteX81" fmla="*/ 269289 w 1104791"/>
                <a:gd name="connsiteY81" fmla="*/ 159015 h 822711"/>
                <a:gd name="connsiteX82" fmla="*/ 252014 w 1104791"/>
                <a:gd name="connsiteY82" fmla="*/ 169379 h 822711"/>
                <a:gd name="connsiteX83" fmla="*/ 245105 w 1104791"/>
                <a:gd name="connsiteY83" fmla="*/ 183198 h 822711"/>
                <a:gd name="connsiteX84" fmla="*/ 248559 w 1104791"/>
                <a:gd name="connsiteY84" fmla="*/ 204020 h 822711"/>
                <a:gd name="connsiteX85" fmla="*/ 210557 w 1104791"/>
                <a:gd name="connsiteY85" fmla="*/ 248933 h 822711"/>
                <a:gd name="connsiteX86" fmla="*/ 189921 w 1104791"/>
                <a:gd name="connsiteY86" fmla="*/ 252388 h 822711"/>
                <a:gd name="connsiteX87" fmla="*/ 148464 w 1104791"/>
                <a:gd name="connsiteY87" fmla="*/ 266207 h 822711"/>
                <a:gd name="connsiteX88" fmla="*/ 107006 w 1104791"/>
                <a:gd name="connsiteY88" fmla="*/ 273117 h 822711"/>
                <a:gd name="connsiteX89" fmla="*/ 82822 w 1104791"/>
                <a:gd name="connsiteY89" fmla="*/ 280026 h 822711"/>
                <a:gd name="connsiteX90" fmla="*/ 58639 w 1104791"/>
                <a:gd name="connsiteY90" fmla="*/ 307665 h 822711"/>
                <a:gd name="connsiteX91" fmla="*/ 41458 w 1104791"/>
                <a:gd name="connsiteY91" fmla="*/ 307665 h 822711"/>
                <a:gd name="connsiteX92" fmla="*/ 34548 w 1104791"/>
                <a:gd name="connsiteY92" fmla="*/ 321484 h 822711"/>
                <a:gd name="connsiteX93" fmla="*/ 24184 w 1104791"/>
                <a:gd name="connsiteY93" fmla="*/ 311119 h 822711"/>
                <a:gd name="connsiteX94" fmla="*/ 20729 w 1104791"/>
                <a:gd name="connsiteY94" fmla="*/ 324939 h 822711"/>
                <a:gd name="connsiteX95" fmla="*/ 10365 w 1104791"/>
                <a:gd name="connsiteY95" fmla="*/ 352577 h 822711"/>
                <a:gd name="connsiteX96" fmla="*/ 10365 w 1104791"/>
                <a:gd name="connsiteY96" fmla="*/ 376854 h 822711"/>
                <a:gd name="connsiteX97" fmla="*/ 20729 w 1104791"/>
                <a:gd name="connsiteY97" fmla="*/ 411402 h 822711"/>
                <a:gd name="connsiteX98" fmla="*/ 34548 w 1104791"/>
                <a:gd name="connsiteY98" fmla="*/ 421767 h 822711"/>
                <a:gd name="connsiteX99" fmla="*/ 31093 w 1104791"/>
                <a:gd name="connsiteY99" fmla="*/ 439041 h 822711"/>
                <a:gd name="connsiteX100" fmla="*/ 17274 w 1104791"/>
                <a:gd name="connsiteY100" fmla="*/ 439041 h 822711"/>
                <a:gd name="connsiteX101" fmla="*/ 10365 w 1104791"/>
                <a:gd name="connsiteY101" fmla="*/ 428676 h 822711"/>
                <a:gd name="connsiteX102" fmla="*/ 0 w 1104791"/>
                <a:gd name="connsiteY102" fmla="*/ 425221 h 822711"/>
                <a:gd name="connsiteX103" fmla="*/ 6910 w 1104791"/>
                <a:gd name="connsiteY103" fmla="*/ 439041 h 822711"/>
                <a:gd name="connsiteX104" fmla="*/ 17274 w 1104791"/>
                <a:gd name="connsiteY104" fmla="*/ 456315 h 822711"/>
                <a:gd name="connsiteX105" fmla="*/ 31093 w 1104791"/>
                <a:gd name="connsiteY105" fmla="*/ 483953 h 822711"/>
                <a:gd name="connsiteX106" fmla="*/ 51823 w 1104791"/>
                <a:gd name="connsiteY106" fmla="*/ 535869 h 822711"/>
                <a:gd name="connsiteX107" fmla="*/ 51823 w 1104791"/>
                <a:gd name="connsiteY107" fmla="*/ 566962 h 822711"/>
                <a:gd name="connsiteX108" fmla="*/ 69003 w 1104791"/>
                <a:gd name="connsiteY108" fmla="*/ 591146 h 822711"/>
                <a:gd name="connsiteX109" fmla="*/ 69003 w 1104791"/>
                <a:gd name="connsiteY109" fmla="*/ 615329 h 822711"/>
                <a:gd name="connsiteX110" fmla="*/ 69003 w 1104791"/>
                <a:gd name="connsiteY110" fmla="*/ 653332 h 822711"/>
                <a:gd name="connsiteX111" fmla="*/ 48367 w 1104791"/>
                <a:gd name="connsiteY111" fmla="*/ 663697 h 822711"/>
                <a:gd name="connsiteX112" fmla="*/ 51823 w 1104791"/>
                <a:gd name="connsiteY112" fmla="*/ 680971 h 822711"/>
                <a:gd name="connsiteX113" fmla="*/ 72458 w 1104791"/>
                <a:gd name="connsiteY113" fmla="*/ 691428 h 822711"/>
                <a:gd name="connsiteX114" fmla="*/ 93187 w 1104791"/>
                <a:gd name="connsiteY114" fmla="*/ 705248 h 822711"/>
                <a:gd name="connsiteX115" fmla="*/ 138099 w 1104791"/>
                <a:gd name="connsiteY115" fmla="*/ 701793 h 822711"/>
                <a:gd name="connsiteX116" fmla="*/ 155373 w 1104791"/>
                <a:gd name="connsiteY116" fmla="*/ 680971 h 822711"/>
                <a:gd name="connsiteX117" fmla="*/ 172647 w 1104791"/>
                <a:gd name="connsiteY117" fmla="*/ 680971 h 822711"/>
                <a:gd name="connsiteX118" fmla="*/ 186467 w 1104791"/>
                <a:gd name="connsiteY118" fmla="*/ 667151 h 822711"/>
                <a:gd name="connsiteX119" fmla="*/ 283108 w 1104791"/>
                <a:gd name="connsiteY119" fmla="*/ 667151 h 822711"/>
                <a:gd name="connsiteX120" fmla="*/ 293472 w 1104791"/>
                <a:gd name="connsiteY120" fmla="*/ 656787 h 822711"/>
                <a:gd name="connsiteX121" fmla="*/ 296927 w 1104791"/>
                <a:gd name="connsiteY121" fmla="*/ 642968 h 822711"/>
                <a:gd name="connsiteX122" fmla="*/ 317656 w 1104791"/>
                <a:gd name="connsiteY122" fmla="*/ 636058 h 822711"/>
                <a:gd name="connsiteX123" fmla="*/ 345201 w 1104791"/>
                <a:gd name="connsiteY123" fmla="*/ 618784 h 822711"/>
                <a:gd name="connsiteX124" fmla="*/ 393568 w 1104791"/>
                <a:gd name="connsiteY124" fmla="*/ 615329 h 822711"/>
                <a:gd name="connsiteX125" fmla="*/ 424662 w 1104791"/>
                <a:gd name="connsiteY125" fmla="*/ 601510 h 822711"/>
                <a:gd name="connsiteX126" fmla="*/ 445390 w 1104791"/>
                <a:gd name="connsiteY126" fmla="*/ 594600 h 822711"/>
                <a:gd name="connsiteX127" fmla="*/ 514393 w 1104791"/>
                <a:gd name="connsiteY127" fmla="*/ 604965 h 822711"/>
                <a:gd name="connsiteX128" fmla="*/ 566215 w 1104791"/>
                <a:gd name="connsiteY128" fmla="*/ 618784 h 822711"/>
                <a:gd name="connsiteX129" fmla="*/ 576580 w 1104791"/>
                <a:gd name="connsiteY129" fmla="*/ 629148 h 822711"/>
                <a:gd name="connsiteX130" fmla="*/ 586944 w 1104791"/>
                <a:gd name="connsiteY130" fmla="*/ 642968 h 822711"/>
                <a:gd name="connsiteX131" fmla="*/ 604125 w 1104791"/>
                <a:gd name="connsiteY131" fmla="*/ 667151 h 822711"/>
                <a:gd name="connsiteX132" fmla="*/ 607580 w 1104791"/>
                <a:gd name="connsiteY132" fmla="*/ 687880 h 822711"/>
                <a:gd name="connsiteX133" fmla="*/ 621399 w 1104791"/>
                <a:gd name="connsiteY133" fmla="*/ 694883 h 822711"/>
                <a:gd name="connsiteX134" fmla="*/ 631763 w 1104791"/>
                <a:gd name="connsiteY134" fmla="*/ 680971 h 822711"/>
                <a:gd name="connsiteX135" fmla="*/ 649037 w 1104791"/>
                <a:gd name="connsiteY135" fmla="*/ 667151 h 822711"/>
                <a:gd name="connsiteX136" fmla="*/ 659402 w 1104791"/>
                <a:gd name="connsiteY136" fmla="*/ 649877 h 822711"/>
                <a:gd name="connsiteX137" fmla="*/ 673221 w 1104791"/>
                <a:gd name="connsiteY137" fmla="*/ 632603 h 822711"/>
                <a:gd name="connsiteX138" fmla="*/ 680131 w 1104791"/>
                <a:gd name="connsiteY138" fmla="*/ 649877 h 822711"/>
                <a:gd name="connsiteX139" fmla="*/ 676676 w 1104791"/>
                <a:gd name="connsiteY139" fmla="*/ 660242 h 822711"/>
                <a:gd name="connsiteX140" fmla="*/ 666312 w 1104791"/>
                <a:gd name="connsiteY140" fmla="*/ 670606 h 822711"/>
                <a:gd name="connsiteX141" fmla="*/ 655947 w 1104791"/>
                <a:gd name="connsiteY141" fmla="*/ 705248 h 822711"/>
                <a:gd name="connsiteX142" fmla="*/ 673221 w 1104791"/>
                <a:gd name="connsiteY142" fmla="*/ 694883 h 822711"/>
                <a:gd name="connsiteX143" fmla="*/ 687040 w 1104791"/>
                <a:gd name="connsiteY143" fmla="*/ 680971 h 822711"/>
                <a:gd name="connsiteX144" fmla="*/ 700859 w 1104791"/>
                <a:gd name="connsiteY144" fmla="*/ 687880 h 822711"/>
                <a:gd name="connsiteX145" fmla="*/ 690495 w 1104791"/>
                <a:gd name="connsiteY145" fmla="*/ 705248 h 822711"/>
                <a:gd name="connsiteX146" fmla="*/ 693950 w 1104791"/>
                <a:gd name="connsiteY146" fmla="*/ 719067 h 822711"/>
                <a:gd name="connsiteX147" fmla="*/ 707769 w 1104791"/>
                <a:gd name="connsiteY147" fmla="*/ 719067 h 822711"/>
                <a:gd name="connsiteX148" fmla="*/ 721495 w 1104791"/>
                <a:gd name="connsiteY148" fmla="*/ 732886 h 822711"/>
                <a:gd name="connsiteX149" fmla="*/ 735314 w 1104791"/>
                <a:gd name="connsiteY149" fmla="*/ 750160 h 822711"/>
                <a:gd name="connsiteX150" fmla="*/ 731859 w 1104791"/>
                <a:gd name="connsiteY150" fmla="*/ 767434 h 822711"/>
                <a:gd name="connsiteX151" fmla="*/ 742224 w 1104791"/>
                <a:gd name="connsiteY151" fmla="*/ 781253 h 822711"/>
                <a:gd name="connsiteX152" fmla="*/ 756043 w 1104791"/>
                <a:gd name="connsiteY152" fmla="*/ 798528 h 822711"/>
                <a:gd name="connsiteX153" fmla="*/ 776772 w 1104791"/>
                <a:gd name="connsiteY153" fmla="*/ 801982 h 822711"/>
                <a:gd name="connsiteX154" fmla="*/ 797501 w 1104791"/>
                <a:gd name="connsiteY154" fmla="*/ 801982 h 822711"/>
                <a:gd name="connsiteX155" fmla="*/ 818229 w 1104791"/>
                <a:gd name="connsiteY155" fmla="*/ 812347 h 822711"/>
                <a:gd name="connsiteX156" fmla="*/ 838959 w 1104791"/>
                <a:gd name="connsiteY156" fmla="*/ 819256 h 822711"/>
                <a:gd name="connsiteX157" fmla="*/ 863142 w 1104791"/>
                <a:gd name="connsiteY157" fmla="*/ 795073 h 822711"/>
                <a:gd name="connsiteX158" fmla="*/ 873413 w 1104791"/>
                <a:gd name="connsiteY158" fmla="*/ 791618 h 822711"/>
                <a:gd name="connsiteX159" fmla="*/ 880323 w 1104791"/>
                <a:gd name="connsiteY159" fmla="*/ 798528 h 822711"/>
                <a:gd name="connsiteX160" fmla="*/ 890687 w 1104791"/>
                <a:gd name="connsiteY160" fmla="*/ 808892 h 822711"/>
                <a:gd name="connsiteX161" fmla="*/ 897597 w 1104791"/>
                <a:gd name="connsiteY161" fmla="*/ 815802 h 822711"/>
                <a:gd name="connsiteX162" fmla="*/ 907961 w 1104791"/>
                <a:gd name="connsiteY162" fmla="*/ 822711 h 822711"/>
                <a:gd name="connsiteX163" fmla="*/ 918326 w 1104791"/>
                <a:gd name="connsiteY163" fmla="*/ 819256 h 822711"/>
                <a:gd name="connsiteX164" fmla="*/ 921781 w 1104791"/>
                <a:gd name="connsiteY164" fmla="*/ 815802 h 822711"/>
                <a:gd name="connsiteX165" fmla="*/ 942509 w 1104791"/>
                <a:gd name="connsiteY165" fmla="*/ 801982 h 822711"/>
                <a:gd name="connsiteX166" fmla="*/ 949419 w 1104791"/>
                <a:gd name="connsiteY166" fmla="*/ 781253 h 822711"/>
                <a:gd name="connsiteX167" fmla="*/ 977057 w 1104791"/>
                <a:gd name="connsiteY167" fmla="*/ 784708 h 822711"/>
                <a:gd name="connsiteX168" fmla="*/ 994238 w 1104791"/>
                <a:gd name="connsiteY168" fmla="*/ 784708 h 822711"/>
                <a:gd name="connsiteX169" fmla="*/ 1004603 w 1104791"/>
                <a:gd name="connsiteY169" fmla="*/ 777799 h 822711"/>
                <a:gd name="connsiteX170" fmla="*/ 1004603 w 1104791"/>
                <a:gd name="connsiteY170" fmla="*/ 746705 h 822711"/>
                <a:gd name="connsiteX171" fmla="*/ 1018422 w 1104791"/>
                <a:gd name="connsiteY171" fmla="*/ 722522 h 822711"/>
                <a:gd name="connsiteX172" fmla="*/ 1028786 w 1104791"/>
                <a:gd name="connsiteY172" fmla="*/ 694883 h 822711"/>
                <a:gd name="connsiteX173" fmla="*/ 1046060 w 1104791"/>
                <a:gd name="connsiteY173" fmla="*/ 656787 h 822711"/>
                <a:gd name="connsiteX174" fmla="*/ 1056425 w 1104791"/>
                <a:gd name="connsiteY174" fmla="*/ 636058 h 822711"/>
                <a:gd name="connsiteX175" fmla="*/ 1077154 w 1104791"/>
                <a:gd name="connsiteY175" fmla="*/ 618784 h 822711"/>
                <a:gd name="connsiteX176" fmla="*/ 1090973 w 1104791"/>
                <a:gd name="connsiteY176" fmla="*/ 587691 h 822711"/>
                <a:gd name="connsiteX177" fmla="*/ 1094428 w 1104791"/>
                <a:gd name="connsiteY177" fmla="*/ 556598 h 822711"/>
                <a:gd name="connsiteX178" fmla="*/ 1104792 w 1104791"/>
                <a:gd name="connsiteY178" fmla="*/ 518501 h 822711"/>
                <a:gd name="connsiteX179" fmla="*/ 1101337 w 1104791"/>
                <a:gd name="connsiteY179" fmla="*/ 487408 h 82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04791" h="822711">
                  <a:moveTo>
                    <a:pt x="1101337" y="487408"/>
                  </a:moveTo>
                  <a:lnTo>
                    <a:pt x="1097882" y="466679"/>
                  </a:lnTo>
                  <a:lnTo>
                    <a:pt x="1094428" y="439041"/>
                  </a:lnTo>
                  <a:lnTo>
                    <a:pt x="1087518" y="418312"/>
                  </a:lnTo>
                  <a:lnTo>
                    <a:pt x="1077154" y="394128"/>
                  </a:lnTo>
                  <a:lnTo>
                    <a:pt x="1056425" y="369851"/>
                  </a:lnTo>
                  <a:lnTo>
                    <a:pt x="1032241" y="352577"/>
                  </a:lnTo>
                  <a:lnTo>
                    <a:pt x="1025331" y="324939"/>
                  </a:lnTo>
                  <a:lnTo>
                    <a:pt x="1004603" y="324939"/>
                  </a:lnTo>
                  <a:lnTo>
                    <a:pt x="997787" y="314574"/>
                  </a:lnTo>
                  <a:lnTo>
                    <a:pt x="997787" y="297300"/>
                  </a:lnTo>
                  <a:lnTo>
                    <a:pt x="980512" y="280026"/>
                  </a:lnTo>
                  <a:lnTo>
                    <a:pt x="963238" y="255843"/>
                  </a:lnTo>
                  <a:lnTo>
                    <a:pt x="939054" y="238568"/>
                  </a:lnTo>
                  <a:lnTo>
                    <a:pt x="918326" y="231659"/>
                  </a:lnTo>
                  <a:lnTo>
                    <a:pt x="907961" y="214385"/>
                  </a:lnTo>
                  <a:lnTo>
                    <a:pt x="907961" y="193562"/>
                  </a:lnTo>
                  <a:lnTo>
                    <a:pt x="901051" y="176288"/>
                  </a:lnTo>
                  <a:lnTo>
                    <a:pt x="883778" y="165924"/>
                  </a:lnTo>
                  <a:lnTo>
                    <a:pt x="883778" y="141740"/>
                  </a:lnTo>
                  <a:lnTo>
                    <a:pt x="880323" y="124466"/>
                  </a:lnTo>
                  <a:lnTo>
                    <a:pt x="873413" y="107192"/>
                  </a:lnTo>
                  <a:lnTo>
                    <a:pt x="852778" y="100283"/>
                  </a:lnTo>
                  <a:lnTo>
                    <a:pt x="835504" y="93373"/>
                  </a:lnTo>
                  <a:lnTo>
                    <a:pt x="832049" y="55370"/>
                  </a:lnTo>
                  <a:lnTo>
                    <a:pt x="825139" y="34548"/>
                  </a:lnTo>
                  <a:lnTo>
                    <a:pt x="811320" y="10364"/>
                  </a:lnTo>
                  <a:lnTo>
                    <a:pt x="800956" y="0"/>
                  </a:lnTo>
                  <a:lnTo>
                    <a:pt x="794046" y="17274"/>
                  </a:lnTo>
                  <a:lnTo>
                    <a:pt x="787137" y="38003"/>
                  </a:lnTo>
                  <a:lnTo>
                    <a:pt x="776772" y="69189"/>
                  </a:lnTo>
                  <a:lnTo>
                    <a:pt x="780226" y="114102"/>
                  </a:lnTo>
                  <a:lnTo>
                    <a:pt x="776772" y="145195"/>
                  </a:lnTo>
                  <a:lnTo>
                    <a:pt x="762953" y="172834"/>
                  </a:lnTo>
                  <a:lnTo>
                    <a:pt x="745679" y="193562"/>
                  </a:lnTo>
                  <a:lnTo>
                    <a:pt x="718134" y="176288"/>
                  </a:lnTo>
                  <a:lnTo>
                    <a:pt x="697405" y="165924"/>
                  </a:lnTo>
                  <a:lnTo>
                    <a:pt x="669766" y="145195"/>
                  </a:lnTo>
                  <a:lnTo>
                    <a:pt x="642128" y="134831"/>
                  </a:lnTo>
                  <a:lnTo>
                    <a:pt x="617944" y="117557"/>
                  </a:lnTo>
                  <a:lnTo>
                    <a:pt x="607580" y="107192"/>
                  </a:lnTo>
                  <a:lnTo>
                    <a:pt x="607580" y="93373"/>
                  </a:lnTo>
                  <a:lnTo>
                    <a:pt x="621399" y="83009"/>
                  </a:lnTo>
                  <a:lnTo>
                    <a:pt x="631763" y="69189"/>
                  </a:lnTo>
                  <a:lnTo>
                    <a:pt x="642128" y="51915"/>
                  </a:lnTo>
                  <a:lnTo>
                    <a:pt x="655947" y="38003"/>
                  </a:lnTo>
                  <a:lnTo>
                    <a:pt x="642128" y="31093"/>
                  </a:lnTo>
                  <a:lnTo>
                    <a:pt x="624854" y="38003"/>
                  </a:lnTo>
                  <a:lnTo>
                    <a:pt x="611034" y="38003"/>
                  </a:lnTo>
                  <a:lnTo>
                    <a:pt x="600670" y="34548"/>
                  </a:lnTo>
                  <a:lnTo>
                    <a:pt x="586944" y="31093"/>
                  </a:lnTo>
                  <a:lnTo>
                    <a:pt x="569670" y="24184"/>
                  </a:lnTo>
                  <a:lnTo>
                    <a:pt x="555851" y="17274"/>
                  </a:lnTo>
                  <a:lnTo>
                    <a:pt x="531667" y="6910"/>
                  </a:lnTo>
                  <a:lnTo>
                    <a:pt x="521303" y="10364"/>
                  </a:lnTo>
                  <a:lnTo>
                    <a:pt x="535122" y="20729"/>
                  </a:lnTo>
                  <a:lnTo>
                    <a:pt x="531667" y="31093"/>
                  </a:lnTo>
                  <a:lnTo>
                    <a:pt x="510938" y="38003"/>
                  </a:lnTo>
                  <a:lnTo>
                    <a:pt x="493664" y="34548"/>
                  </a:lnTo>
                  <a:lnTo>
                    <a:pt x="486755" y="41457"/>
                  </a:lnTo>
                  <a:lnTo>
                    <a:pt x="472936" y="48460"/>
                  </a:lnTo>
                  <a:lnTo>
                    <a:pt x="462571" y="69189"/>
                  </a:lnTo>
                  <a:lnTo>
                    <a:pt x="441936" y="89918"/>
                  </a:lnTo>
                  <a:lnTo>
                    <a:pt x="452300" y="107192"/>
                  </a:lnTo>
                  <a:lnTo>
                    <a:pt x="438481" y="110647"/>
                  </a:lnTo>
                  <a:lnTo>
                    <a:pt x="417752" y="114102"/>
                  </a:lnTo>
                  <a:lnTo>
                    <a:pt x="417752" y="114102"/>
                  </a:lnTo>
                  <a:lnTo>
                    <a:pt x="417752" y="114102"/>
                  </a:lnTo>
                  <a:lnTo>
                    <a:pt x="407387" y="103737"/>
                  </a:lnTo>
                  <a:lnTo>
                    <a:pt x="397023" y="93373"/>
                  </a:lnTo>
                  <a:lnTo>
                    <a:pt x="379749" y="83009"/>
                  </a:lnTo>
                  <a:lnTo>
                    <a:pt x="352111" y="103737"/>
                  </a:lnTo>
                  <a:lnTo>
                    <a:pt x="341746" y="103737"/>
                  </a:lnTo>
                  <a:lnTo>
                    <a:pt x="331381" y="114102"/>
                  </a:lnTo>
                  <a:lnTo>
                    <a:pt x="314201" y="124466"/>
                  </a:lnTo>
                  <a:lnTo>
                    <a:pt x="310746" y="145195"/>
                  </a:lnTo>
                  <a:lnTo>
                    <a:pt x="303837" y="152105"/>
                  </a:lnTo>
                  <a:lnTo>
                    <a:pt x="290017" y="145195"/>
                  </a:lnTo>
                  <a:lnTo>
                    <a:pt x="290017" y="165924"/>
                  </a:lnTo>
                  <a:lnTo>
                    <a:pt x="283108" y="176288"/>
                  </a:lnTo>
                  <a:lnTo>
                    <a:pt x="276198" y="169379"/>
                  </a:lnTo>
                  <a:lnTo>
                    <a:pt x="269289" y="159015"/>
                  </a:lnTo>
                  <a:lnTo>
                    <a:pt x="252014" y="169379"/>
                  </a:lnTo>
                  <a:lnTo>
                    <a:pt x="245105" y="183198"/>
                  </a:lnTo>
                  <a:lnTo>
                    <a:pt x="248559" y="204020"/>
                  </a:lnTo>
                  <a:lnTo>
                    <a:pt x="210557" y="248933"/>
                  </a:lnTo>
                  <a:lnTo>
                    <a:pt x="189921" y="252388"/>
                  </a:lnTo>
                  <a:lnTo>
                    <a:pt x="148464" y="266207"/>
                  </a:lnTo>
                  <a:lnTo>
                    <a:pt x="107006" y="273117"/>
                  </a:lnTo>
                  <a:lnTo>
                    <a:pt x="82822" y="280026"/>
                  </a:lnTo>
                  <a:lnTo>
                    <a:pt x="58639" y="307665"/>
                  </a:lnTo>
                  <a:lnTo>
                    <a:pt x="41458" y="307665"/>
                  </a:lnTo>
                  <a:lnTo>
                    <a:pt x="34548" y="321484"/>
                  </a:lnTo>
                  <a:lnTo>
                    <a:pt x="24184" y="311119"/>
                  </a:lnTo>
                  <a:lnTo>
                    <a:pt x="20729" y="324939"/>
                  </a:lnTo>
                  <a:lnTo>
                    <a:pt x="10365" y="352577"/>
                  </a:lnTo>
                  <a:lnTo>
                    <a:pt x="10365" y="376854"/>
                  </a:lnTo>
                  <a:lnTo>
                    <a:pt x="20729" y="411402"/>
                  </a:lnTo>
                  <a:lnTo>
                    <a:pt x="34548" y="421767"/>
                  </a:lnTo>
                  <a:lnTo>
                    <a:pt x="31093" y="439041"/>
                  </a:lnTo>
                  <a:lnTo>
                    <a:pt x="17274" y="439041"/>
                  </a:lnTo>
                  <a:lnTo>
                    <a:pt x="10365" y="428676"/>
                  </a:lnTo>
                  <a:lnTo>
                    <a:pt x="0" y="425221"/>
                  </a:lnTo>
                  <a:lnTo>
                    <a:pt x="6910" y="439041"/>
                  </a:lnTo>
                  <a:lnTo>
                    <a:pt x="17274" y="456315"/>
                  </a:lnTo>
                  <a:lnTo>
                    <a:pt x="31093" y="483953"/>
                  </a:lnTo>
                  <a:lnTo>
                    <a:pt x="51823" y="535869"/>
                  </a:lnTo>
                  <a:lnTo>
                    <a:pt x="51823" y="566962"/>
                  </a:lnTo>
                  <a:lnTo>
                    <a:pt x="69003" y="591146"/>
                  </a:lnTo>
                  <a:lnTo>
                    <a:pt x="69003" y="615329"/>
                  </a:lnTo>
                  <a:lnTo>
                    <a:pt x="69003" y="653332"/>
                  </a:lnTo>
                  <a:lnTo>
                    <a:pt x="48367" y="663697"/>
                  </a:lnTo>
                  <a:lnTo>
                    <a:pt x="51823" y="680971"/>
                  </a:lnTo>
                  <a:lnTo>
                    <a:pt x="72458" y="691428"/>
                  </a:lnTo>
                  <a:lnTo>
                    <a:pt x="93187" y="705248"/>
                  </a:lnTo>
                  <a:lnTo>
                    <a:pt x="138099" y="701793"/>
                  </a:lnTo>
                  <a:lnTo>
                    <a:pt x="155373" y="680971"/>
                  </a:lnTo>
                  <a:lnTo>
                    <a:pt x="172647" y="680971"/>
                  </a:lnTo>
                  <a:lnTo>
                    <a:pt x="186467" y="667151"/>
                  </a:lnTo>
                  <a:lnTo>
                    <a:pt x="283108" y="667151"/>
                  </a:lnTo>
                  <a:lnTo>
                    <a:pt x="293472" y="656787"/>
                  </a:lnTo>
                  <a:lnTo>
                    <a:pt x="296927" y="642968"/>
                  </a:lnTo>
                  <a:lnTo>
                    <a:pt x="317656" y="636058"/>
                  </a:lnTo>
                  <a:lnTo>
                    <a:pt x="345201" y="618784"/>
                  </a:lnTo>
                  <a:lnTo>
                    <a:pt x="393568" y="615329"/>
                  </a:lnTo>
                  <a:lnTo>
                    <a:pt x="424662" y="601510"/>
                  </a:lnTo>
                  <a:lnTo>
                    <a:pt x="445390" y="594600"/>
                  </a:lnTo>
                  <a:lnTo>
                    <a:pt x="514393" y="604965"/>
                  </a:lnTo>
                  <a:lnTo>
                    <a:pt x="566215" y="618784"/>
                  </a:lnTo>
                  <a:lnTo>
                    <a:pt x="576580" y="629148"/>
                  </a:lnTo>
                  <a:lnTo>
                    <a:pt x="586944" y="642968"/>
                  </a:lnTo>
                  <a:lnTo>
                    <a:pt x="604125" y="667151"/>
                  </a:lnTo>
                  <a:lnTo>
                    <a:pt x="607580" y="687880"/>
                  </a:lnTo>
                  <a:lnTo>
                    <a:pt x="621399" y="694883"/>
                  </a:lnTo>
                  <a:lnTo>
                    <a:pt x="631763" y="680971"/>
                  </a:lnTo>
                  <a:lnTo>
                    <a:pt x="649037" y="667151"/>
                  </a:lnTo>
                  <a:lnTo>
                    <a:pt x="659402" y="649877"/>
                  </a:lnTo>
                  <a:lnTo>
                    <a:pt x="673221" y="632603"/>
                  </a:lnTo>
                  <a:lnTo>
                    <a:pt x="680131" y="649877"/>
                  </a:lnTo>
                  <a:lnTo>
                    <a:pt x="676676" y="660242"/>
                  </a:lnTo>
                  <a:lnTo>
                    <a:pt x="666312" y="670606"/>
                  </a:lnTo>
                  <a:lnTo>
                    <a:pt x="655947" y="705248"/>
                  </a:lnTo>
                  <a:lnTo>
                    <a:pt x="673221" y="694883"/>
                  </a:lnTo>
                  <a:lnTo>
                    <a:pt x="687040" y="680971"/>
                  </a:lnTo>
                  <a:lnTo>
                    <a:pt x="700859" y="687880"/>
                  </a:lnTo>
                  <a:lnTo>
                    <a:pt x="690495" y="705248"/>
                  </a:lnTo>
                  <a:lnTo>
                    <a:pt x="693950" y="719067"/>
                  </a:lnTo>
                  <a:lnTo>
                    <a:pt x="707769" y="719067"/>
                  </a:lnTo>
                  <a:lnTo>
                    <a:pt x="721495" y="732886"/>
                  </a:lnTo>
                  <a:lnTo>
                    <a:pt x="735314" y="750160"/>
                  </a:lnTo>
                  <a:lnTo>
                    <a:pt x="731859" y="767434"/>
                  </a:lnTo>
                  <a:lnTo>
                    <a:pt x="742224" y="781253"/>
                  </a:lnTo>
                  <a:lnTo>
                    <a:pt x="756043" y="798528"/>
                  </a:lnTo>
                  <a:lnTo>
                    <a:pt x="776772" y="801982"/>
                  </a:lnTo>
                  <a:lnTo>
                    <a:pt x="797501" y="801982"/>
                  </a:lnTo>
                  <a:lnTo>
                    <a:pt x="818229" y="812347"/>
                  </a:lnTo>
                  <a:lnTo>
                    <a:pt x="838959" y="819256"/>
                  </a:lnTo>
                  <a:lnTo>
                    <a:pt x="863142" y="795073"/>
                  </a:lnTo>
                  <a:lnTo>
                    <a:pt x="873413" y="791618"/>
                  </a:lnTo>
                  <a:lnTo>
                    <a:pt x="880323" y="798528"/>
                  </a:lnTo>
                  <a:lnTo>
                    <a:pt x="890687" y="808892"/>
                  </a:lnTo>
                  <a:lnTo>
                    <a:pt x="897597" y="815802"/>
                  </a:lnTo>
                  <a:lnTo>
                    <a:pt x="907961" y="822711"/>
                  </a:lnTo>
                  <a:lnTo>
                    <a:pt x="918326" y="819256"/>
                  </a:lnTo>
                  <a:lnTo>
                    <a:pt x="921781" y="815802"/>
                  </a:lnTo>
                  <a:lnTo>
                    <a:pt x="942509" y="801982"/>
                  </a:lnTo>
                  <a:lnTo>
                    <a:pt x="949419" y="781253"/>
                  </a:lnTo>
                  <a:lnTo>
                    <a:pt x="977057" y="784708"/>
                  </a:lnTo>
                  <a:lnTo>
                    <a:pt x="994238" y="784708"/>
                  </a:lnTo>
                  <a:lnTo>
                    <a:pt x="1004603" y="777799"/>
                  </a:lnTo>
                  <a:lnTo>
                    <a:pt x="1004603" y="746705"/>
                  </a:lnTo>
                  <a:lnTo>
                    <a:pt x="1018422" y="722522"/>
                  </a:lnTo>
                  <a:lnTo>
                    <a:pt x="1028786" y="694883"/>
                  </a:lnTo>
                  <a:lnTo>
                    <a:pt x="1046060" y="656787"/>
                  </a:lnTo>
                  <a:lnTo>
                    <a:pt x="1056425" y="636058"/>
                  </a:lnTo>
                  <a:lnTo>
                    <a:pt x="1077154" y="618784"/>
                  </a:lnTo>
                  <a:lnTo>
                    <a:pt x="1090973" y="587691"/>
                  </a:lnTo>
                  <a:lnTo>
                    <a:pt x="1094428" y="556598"/>
                  </a:lnTo>
                  <a:lnTo>
                    <a:pt x="1104792" y="518501"/>
                  </a:lnTo>
                  <a:lnTo>
                    <a:pt x="1101337" y="487408"/>
                  </a:lnTo>
                  <a:close/>
                </a:path>
              </a:pathLst>
            </a:custGeom>
            <a:solidFill>
              <a:srgbClr val="CEE3BF"/>
            </a:solidFill>
            <a:ln w="9334" cap="flat">
              <a:noFill/>
              <a:prstDash val="solid"/>
              <a:miter/>
            </a:ln>
          </p:spPr>
          <p:txBody>
            <a:bodyPr rtlCol="0" anchor="ctr"/>
            <a:lstStyle/>
            <a:p>
              <a:endParaRPr lang="en-GB" dirty="0"/>
            </a:p>
          </p:txBody>
        </p:sp>
        <p:sp>
          <p:nvSpPr>
            <p:cNvPr id="1399" name="Freeform: Shape 1398">
              <a:extLst>
                <a:ext uri="{FF2B5EF4-FFF2-40B4-BE49-F238E27FC236}">
                  <a16:creationId xmlns:a16="http://schemas.microsoft.com/office/drawing/2014/main" id="{3741775E-70A7-4414-9D61-F480875952F0}"/>
                </a:ext>
              </a:extLst>
            </p:cNvPr>
            <p:cNvSpPr/>
            <p:nvPr/>
          </p:nvSpPr>
          <p:spPr>
            <a:xfrm>
              <a:off x="10575135" y="5504479"/>
              <a:ext cx="151824" cy="235113"/>
            </a:xfrm>
            <a:custGeom>
              <a:avLst/>
              <a:gdLst>
                <a:gd name="connsiteX0" fmla="*/ 131189 w 151824"/>
                <a:gd name="connsiteY0" fmla="*/ 114102 h 235113"/>
                <a:gd name="connsiteX1" fmla="*/ 110461 w 151824"/>
                <a:gd name="connsiteY1" fmla="*/ 117557 h 235113"/>
                <a:gd name="connsiteX2" fmla="*/ 89732 w 151824"/>
                <a:gd name="connsiteY2" fmla="*/ 103737 h 235113"/>
                <a:gd name="connsiteX3" fmla="*/ 79367 w 151824"/>
                <a:gd name="connsiteY3" fmla="*/ 89918 h 235113"/>
                <a:gd name="connsiteX4" fmla="*/ 75912 w 151824"/>
                <a:gd name="connsiteY4" fmla="*/ 79554 h 235113"/>
                <a:gd name="connsiteX5" fmla="*/ 65548 w 151824"/>
                <a:gd name="connsiteY5" fmla="*/ 89918 h 235113"/>
                <a:gd name="connsiteX6" fmla="*/ 58639 w 151824"/>
                <a:gd name="connsiteY6" fmla="*/ 76099 h 235113"/>
                <a:gd name="connsiteX7" fmla="*/ 48274 w 151824"/>
                <a:gd name="connsiteY7" fmla="*/ 58825 h 235113"/>
                <a:gd name="connsiteX8" fmla="*/ 51729 w 151824"/>
                <a:gd name="connsiteY8" fmla="*/ 45006 h 235113"/>
                <a:gd name="connsiteX9" fmla="*/ 37909 w 151824"/>
                <a:gd name="connsiteY9" fmla="*/ 31187 h 235113"/>
                <a:gd name="connsiteX10" fmla="*/ 17274 w 151824"/>
                <a:gd name="connsiteY10" fmla="*/ 17367 h 235113"/>
                <a:gd name="connsiteX11" fmla="*/ 0 w 151824"/>
                <a:gd name="connsiteY11" fmla="*/ 0 h 235113"/>
                <a:gd name="connsiteX12" fmla="*/ 3455 w 151824"/>
                <a:gd name="connsiteY12" fmla="*/ 17367 h 235113"/>
                <a:gd name="connsiteX13" fmla="*/ 13819 w 151824"/>
                <a:gd name="connsiteY13" fmla="*/ 45006 h 235113"/>
                <a:gd name="connsiteX14" fmla="*/ 34455 w 151824"/>
                <a:gd name="connsiteY14" fmla="*/ 58825 h 235113"/>
                <a:gd name="connsiteX15" fmla="*/ 51729 w 151824"/>
                <a:gd name="connsiteY15" fmla="*/ 79554 h 235113"/>
                <a:gd name="connsiteX16" fmla="*/ 48274 w 151824"/>
                <a:gd name="connsiteY16" fmla="*/ 107192 h 235113"/>
                <a:gd name="connsiteX17" fmla="*/ 48274 w 151824"/>
                <a:gd name="connsiteY17" fmla="*/ 138286 h 235113"/>
                <a:gd name="connsiteX18" fmla="*/ 37909 w 151824"/>
                <a:gd name="connsiteY18" fmla="*/ 145195 h 235113"/>
                <a:gd name="connsiteX19" fmla="*/ 24184 w 151824"/>
                <a:gd name="connsiteY19" fmla="*/ 155560 h 235113"/>
                <a:gd name="connsiteX20" fmla="*/ 34455 w 151824"/>
                <a:gd name="connsiteY20" fmla="*/ 169379 h 235113"/>
                <a:gd name="connsiteX21" fmla="*/ 51729 w 151824"/>
                <a:gd name="connsiteY21" fmla="*/ 172834 h 235113"/>
                <a:gd name="connsiteX22" fmla="*/ 62093 w 151824"/>
                <a:gd name="connsiteY22" fmla="*/ 186746 h 235113"/>
                <a:gd name="connsiteX23" fmla="*/ 62093 w 151824"/>
                <a:gd name="connsiteY23" fmla="*/ 200565 h 235113"/>
                <a:gd name="connsiteX24" fmla="*/ 51729 w 151824"/>
                <a:gd name="connsiteY24" fmla="*/ 210930 h 235113"/>
                <a:gd name="connsiteX25" fmla="*/ 55184 w 151824"/>
                <a:gd name="connsiteY25" fmla="*/ 231659 h 235113"/>
                <a:gd name="connsiteX26" fmla="*/ 69003 w 151824"/>
                <a:gd name="connsiteY26" fmla="*/ 235114 h 235113"/>
                <a:gd name="connsiteX27" fmla="*/ 86277 w 151824"/>
                <a:gd name="connsiteY27" fmla="*/ 217840 h 235113"/>
                <a:gd name="connsiteX28" fmla="*/ 100096 w 151824"/>
                <a:gd name="connsiteY28" fmla="*/ 197111 h 235113"/>
                <a:gd name="connsiteX29" fmla="*/ 110461 w 151824"/>
                <a:gd name="connsiteY29" fmla="*/ 183291 h 235113"/>
                <a:gd name="connsiteX30" fmla="*/ 110461 w 151824"/>
                <a:gd name="connsiteY30" fmla="*/ 169379 h 235113"/>
                <a:gd name="connsiteX31" fmla="*/ 110461 w 151824"/>
                <a:gd name="connsiteY31" fmla="*/ 155560 h 235113"/>
                <a:gd name="connsiteX32" fmla="*/ 138099 w 151824"/>
                <a:gd name="connsiteY32" fmla="*/ 152105 h 235113"/>
                <a:gd name="connsiteX33" fmla="*/ 138099 w 151824"/>
                <a:gd name="connsiteY33" fmla="*/ 138286 h 235113"/>
                <a:gd name="connsiteX34" fmla="*/ 151825 w 151824"/>
                <a:gd name="connsiteY34" fmla="*/ 127921 h 235113"/>
                <a:gd name="connsiteX35" fmla="*/ 151825 w 151824"/>
                <a:gd name="connsiteY35" fmla="*/ 107192 h 235113"/>
                <a:gd name="connsiteX36" fmla="*/ 141554 w 151824"/>
                <a:gd name="connsiteY36" fmla="*/ 103737 h 235113"/>
                <a:gd name="connsiteX37" fmla="*/ 131189 w 151824"/>
                <a:gd name="connsiteY37" fmla="*/ 114102 h 23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1824" h="235113">
                  <a:moveTo>
                    <a:pt x="131189" y="114102"/>
                  </a:moveTo>
                  <a:lnTo>
                    <a:pt x="110461" y="117557"/>
                  </a:lnTo>
                  <a:lnTo>
                    <a:pt x="89732" y="103737"/>
                  </a:lnTo>
                  <a:lnTo>
                    <a:pt x="79367" y="89918"/>
                  </a:lnTo>
                  <a:lnTo>
                    <a:pt x="75912" y="79554"/>
                  </a:lnTo>
                  <a:lnTo>
                    <a:pt x="65548" y="89918"/>
                  </a:lnTo>
                  <a:lnTo>
                    <a:pt x="58639" y="76099"/>
                  </a:lnTo>
                  <a:lnTo>
                    <a:pt x="48274" y="58825"/>
                  </a:lnTo>
                  <a:lnTo>
                    <a:pt x="51729" y="45006"/>
                  </a:lnTo>
                  <a:lnTo>
                    <a:pt x="37909" y="31187"/>
                  </a:lnTo>
                  <a:lnTo>
                    <a:pt x="17274" y="17367"/>
                  </a:lnTo>
                  <a:lnTo>
                    <a:pt x="0" y="0"/>
                  </a:lnTo>
                  <a:lnTo>
                    <a:pt x="3455" y="17367"/>
                  </a:lnTo>
                  <a:lnTo>
                    <a:pt x="13819" y="45006"/>
                  </a:lnTo>
                  <a:lnTo>
                    <a:pt x="34455" y="58825"/>
                  </a:lnTo>
                  <a:lnTo>
                    <a:pt x="51729" y="79554"/>
                  </a:lnTo>
                  <a:lnTo>
                    <a:pt x="48274" y="107192"/>
                  </a:lnTo>
                  <a:lnTo>
                    <a:pt x="48274" y="138286"/>
                  </a:lnTo>
                  <a:lnTo>
                    <a:pt x="37909" y="145195"/>
                  </a:lnTo>
                  <a:lnTo>
                    <a:pt x="24184" y="155560"/>
                  </a:lnTo>
                  <a:lnTo>
                    <a:pt x="34455" y="169379"/>
                  </a:lnTo>
                  <a:lnTo>
                    <a:pt x="51729" y="172834"/>
                  </a:lnTo>
                  <a:lnTo>
                    <a:pt x="62093" y="186746"/>
                  </a:lnTo>
                  <a:lnTo>
                    <a:pt x="62093" y="200565"/>
                  </a:lnTo>
                  <a:lnTo>
                    <a:pt x="51729" y="210930"/>
                  </a:lnTo>
                  <a:lnTo>
                    <a:pt x="55184" y="231659"/>
                  </a:lnTo>
                  <a:lnTo>
                    <a:pt x="69003" y="235114"/>
                  </a:lnTo>
                  <a:lnTo>
                    <a:pt x="86277" y="217840"/>
                  </a:lnTo>
                  <a:lnTo>
                    <a:pt x="100096" y="197111"/>
                  </a:lnTo>
                  <a:lnTo>
                    <a:pt x="110461" y="183291"/>
                  </a:lnTo>
                  <a:lnTo>
                    <a:pt x="110461" y="169379"/>
                  </a:lnTo>
                  <a:lnTo>
                    <a:pt x="110461" y="155560"/>
                  </a:lnTo>
                  <a:lnTo>
                    <a:pt x="138099" y="152105"/>
                  </a:lnTo>
                  <a:lnTo>
                    <a:pt x="138099" y="138286"/>
                  </a:lnTo>
                  <a:lnTo>
                    <a:pt x="151825" y="127921"/>
                  </a:lnTo>
                  <a:lnTo>
                    <a:pt x="151825" y="107192"/>
                  </a:lnTo>
                  <a:lnTo>
                    <a:pt x="141554" y="103737"/>
                  </a:lnTo>
                  <a:lnTo>
                    <a:pt x="131189" y="114102"/>
                  </a:lnTo>
                  <a:close/>
                </a:path>
              </a:pathLst>
            </a:custGeom>
            <a:solidFill>
              <a:srgbClr val="CEE3BF"/>
            </a:solidFill>
            <a:ln w="9334" cap="flat">
              <a:noFill/>
              <a:prstDash val="solid"/>
              <a:miter/>
            </a:ln>
          </p:spPr>
          <p:txBody>
            <a:bodyPr rtlCol="0" anchor="ctr"/>
            <a:lstStyle/>
            <a:p>
              <a:endParaRPr lang="en-GB" dirty="0"/>
            </a:p>
          </p:txBody>
        </p:sp>
        <p:sp>
          <p:nvSpPr>
            <p:cNvPr id="1400" name="Freeform: Shape 1399">
              <a:extLst>
                <a:ext uri="{FF2B5EF4-FFF2-40B4-BE49-F238E27FC236}">
                  <a16:creationId xmlns:a16="http://schemas.microsoft.com/office/drawing/2014/main" id="{BF848912-8A7D-4000-A796-3843B474CD57}"/>
                </a:ext>
              </a:extLst>
            </p:cNvPr>
            <p:cNvSpPr/>
            <p:nvPr/>
          </p:nvSpPr>
          <p:spPr>
            <a:xfrm>
              <a:off x="10402488" y="5705044"/>
              <a:ext cx="210556" cy="200472"/>
            </a:xfrm>
            <a:custGeom>
              <a:avLst/>
              <a:gdLst>
                <a:gd name="connsiteX0" fmla="*/ 183011 w 210556"/>
                <a:gd name="connsiteY0" fmla="*/ 17274 h 200472"/>
                <a:gd name="connsiteX1" fmla="*/ 172647 w 210556"/>
                <a:gd name="connsiteY1" fmla="*/ 3455 h 200472"/>
                <a:gd name="connsiteX2" fmla="*/ 158828 w 210556"/>
                <a:gd name="connsiteY2" fmla="*/ 0 h 200472"/>
                <a:gd name="connsiteX3" fmla="*/ 151918 w 210556"/>
                <a:gd name="connsiteY3" fmla="*/ 17274 h 200472"/>
                <a:gd name="connsiteX4" fmla="*/ 151918 w 210556"/>
                <a:gd name="connsiteY4" fmla="*/ 34548 h 200472"/>
                <a:gd name="connsiteX5" fmla="*/ 134644 w 210556"/>
                <a:gd name="connsiteY5" fmla="*/ 44912 h 200472"/>
                <a:gd name="connsiteX6" fmla="*/ 124280 w 210556"/>
                <a:gd name="connsiteY6" fmla="*/ 62187 h 200472"/>
                <a:gd name="connsiteX7" fmla="*/ 103551 w 210556"/>
                <a:gd name="connsiteY7" fmla="*/ 89825 h 200472"/>
                <a:gd name="connsiteX8" fmla="*/ 82822 w 210556"/>
                <a:gd name="connsiteY8" fmla="*/ 89825 h 200472"/>
                <a:gd name="connsiteX9" fmla="*/ 65642 w 210556"/>
                <a:gd name="connsiteY9" fmla="*/ 110554 h 200472"/>
                <a:gd name="connsiteX10" fmla="*/ 51822 w 210556"/>
                <a:gd name="connsiteY10" fmla="*/ 110554 h 200472"/>
                <a:gd name="connsiteX11" fmla="*/ 24184 w 210556"/>
                <a:gd name="connsiteY11" fmla="*/ 138286 h 200472"/>
                <a:gd name="connsiteX12" fmla="*/ 6910 w 210556"/>
                <a:gd name="connsiteY12" fmla="*/ 159015 h 200472"/>
                <a:gd name="connsiteX13" fmla="*/ 0 w 210556"/>
                <a:gd name="connsiteY13" fmla="*/ 183198 h 200472"/>
                <a:gd name="connsiteX14" fmla="*/ 27639 w 210556"/>
                <a:gd name="connsiteY14" fmla="*/ 186653 h 200472"/>
                <a:gd name="connsiteX15" fmla="*/ 38003 w 210556"/>
                <a:gd name="connsiteY15" fmla="*/ 190108 h 200472"/>
                <a:gd name="connsiteX16" fmla="*/ 51822 w 210556"/>
                <a:gd name="connsiteY16" fmla="*/ 200472 h 200472"/>
                <a:gd name="connsiteX17" fmla="*/ 82822 w 210556"/>
                <a:gd name="connsiteY17" fmla="*/ 197018 h 200472"/>
                <a:gd name="connsiteX18" fmla="*/ 100096 w 210556"/>
                <a:gd name="connsiteY18" fmla="*/ 179743 h 200472"/>
                <a:gd name="connsiteX19" fmla="*/ 120825 w 210556"/>
                <a:gd name="connsiteY19" fmla="*/ 155560 h 200472"/>
                <a:gd name="connsiteX20" fmla="*/ 127734 w 210556"/>
                <a:gd name="connsiteY20" fmla="*/ 127921 h 200472"/>
                <a:gd name="connsiteX21" fmla="*/ 138099 w 210556"/>
                <a:gd name="connsiteY21" fmla="*/ 114009 h 200472"/>
                <a:gd name="connsiteX22" fmla="*/ 155373 w 210556"/>
                <a:gd name="connsiteY22" fmla="*/ 107099 h 200472"/>
                <a:gd name="connsiteX23" fmla="*/ 172647 w 210556"/>
                <a:gd name="connsiteY23" fmla="*/ 103644 h 200472"/>
                <a:gd name="connsiteX24" fmla="*/ 172647 w 210556"/>
                <a:gd name="connsiteY24" fmla="*/ 79461 h 200472"/>
                <a:gd name="connsiteX25" fmla="*/ 189921 w 210556"/>
                <a:gd name="connsiteY25" fmla="*/ 65641 h 200472"/>
                <a:gd name="connsiteX26" fmla="*/ 200192 w 210556"/>
                <a:gd name="connsiteY26" fmla="*/ 51822 h 200472"/>
                <a:gd name="connsiteX27" fmla="*/ 210556 w 210556"/>
                <a:gd name="connsiteY27" fmla="*/ 34548 h 200472"/>
                <a:gd name="connsiteX28" fmla="*/ 210556 w 210556"/>
                <a:gd name="connsiteY28" fmla="*/ 17274 h 200472"/>
                <a:gd name="connsiteX29" fmla="*/ 200192 w 210556"/>
                <a:gd name="connsiteY29" fmla="*/ 17274 h 200472"/>
                <a:gd name="connsiteX30" fmla="*/ 183011 w 210556"/>
                <a:gd name="connsiteY30" fmla="*/ 17274 h 20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556" h="200472">
                  <a:moveTo>
                    <a:pt x="183011" y="17274"/>
                  </a:moveTo>
                  <a:lnTo>
                    <a:pt x="172647" y="3455"/>
                  </a:lnTo>
                  <a:lnTo>
                    <a:pt x="158828" y="0"/>
                  </a:lnTo>
                  <a:lnTo>
                    <a:pt x="151918" y="17274"/>
                  </a:lnTo>
                  <a:lnTo>
                    <a:pt x="151918" y="34548"/>
                  </a:lnTo>
                  <a:lnTo>
                    <a:pt x="134644" y="44912"/>
                  </a:lnTo>
                  <a:lnTo>
                    <a:pt x="124280" y="62187"/>
                  </a:lnTo>
                  <a:lnTo>
                    <a:pt x="103551" y="89825"/>
                  </a:lnTo>
                  <a:lnTo>
                    <a:pt x="82822" y="89825"/>
                  </a:lnTo>
                  <a:lnTo>
                    <a:pt x="65642" y="110554"/>
                  </a:lnTo>
                  <a:lnTo>
                    <a:pt x="51822" y="110554"/>
                  </a:lnTo>
                  <a:lnTo>
                    <a:pt x="24184" y="138286"/>
                  </a:lnTo>
                  <a:lnTo>
                    <a:pt x="6910" y="159015"/>
                  </a:lnTo>
                  <a:lnTo>
                    <a:pt x="0" y="183198"/>
                  </a:lnTo>
                  <a:lnTo>
                    <a:pt x="27639" y="186653"/>
                  </a:lnTo>
                  <a:lnTo>
                    <a:pt x="38003" y="190108"/>
                  </a:lnTo>
                  <a:lnTo>
                    <a:pt x="51822" y="200472"/>
                  </a:lnTo>
                  <a:lnTo>
                    <a:pt x="82822" y="197018"/>
                  </a:lnTo>
                  <a:lnTo>
                    <a:pt x="100096" y="179743"/>
                  </a:lnTo>
                  <a:lnTo>
                    <a:pt x="120825" y="155560"/>
                  </a:lnTo>
                  <a:lnTo>
                    <a:pt x="127734" y="127921"/>
                  </a:lnTo>
                  <a:lnTo>
                    <a:pt x="138099" y="114009"/>
                  </a:lnTo>
                  <a:lnTo>
                    <a:pt x="155373" y="107099"/>
                  </a:lnTo>
                  <a:lnTo>
                    <a:pt x="172647" y="103644"/>
                  </a:lnTo>
                  <a:lnTo>
                    <a:pt x="172647" y="79461"/>
                  </a:lnTo>
                  <a:lnTo>
                    <a:pt x="189921" y="65641"/>
                  </a:lnTo>
                  <a:lnTo>
                    <a:pt x="200192" y="51822"/>
                  </a:lnTo>
                  <a:lnTo>
                    <a:pt x="210556" y="34548"/>
                  </a:lnTo>
                  <a:lnTo>
                    <a:pt x="210556" y="17274"/>
                  </a:lnTo>
                  <a:lnTo>
                    <a:pt x="200192" y="17274"/>
                  </a:lnTo>
                  <a:lnTo>
                    <a:pt x="183011" y="17274"/>
                  </a:lnTo>
                  <a:close/>
                </a:path>
              </a:pathLst>
            </a:custGeom>
            <a:solidFill>
              <a:srgbClr val="CEE3BF"/>
            </a:solidFill>
            <a:ln w="9334" cap="flat">
              <a:noFill/>
              <a:prstDash val="solid"/>
              <a:miter/>
            </a:ln>
          </p:spPr>
          <p:txBody>
            <a:bodyPr rtlCol="0" anchor="ctr"/>
            <a:lstStyle/>
            <a:p>
              <a:endParaRPr lang="en-GB" dirty="0"/>
            </a:p>
          </p:txBody>
        </p:sp>
        <p:sp>
          <p:nvSpPr>
            <p:cNvPr id="1401" name="Freeform: Shape 1400">
              <a:extLst>
                <a:ext uri="{FF2B5EF4-FFF2-40B4-BE49-F238E27FC236}">
                  <a16:creationId xmlns:a16="http://schemas.microsoft.com/office/drawing/2014/main" id="{9417D670-866B-44F3-8FA2-CB00E937A8AF}"/>
                </a:ext>
              </a:extLst>
            </p:cNvPr>
            <p:cNvSpPr/>
            <p:nvPr/>
          </p:nvSpPr>
          <p:spPr>
            <a:xfrm>
              <a:off x="7219396" y="3783050"/>
              <a:ext cx="13819" cy="20728"/>
            </a:xfrm>
            <a:custGeom>
              <a:avLst/>
              <a:gdLst>
                <a:gd name="connsiteX0" fmla="*/ 0 w 13819"/>
                <a:gd name="connsiteY0" fmla="*/ 0 h 20728"/>
                <a:gd name="connsiteX1" fmla="*/ 6910 w 13819"/>
                <a:gd name="connsiteY1" fmla="*/ 20729 h 20728"/>
                <a:gd name="connsiteX2" fmla="*/ 13820 w 13819"/>
                <a:gd name="connsiteY2" fmla="*/ 3455 h 20728"/>
                <a:gd name="connsiteX3" fmla="*/ 0 w 13819"/>
                <a:gd name="connsiteY3" fmla="*/ 0 h 20728"/>
              </a:gdLst>
              <a:ahLst/>
              <a:cxnLst>
                <a:cxn ang="0">
                  <a:pos x="connsiteX0" y="connsiteY0"/>
                </a:cxn>
                <a:cxn ang="0">
                  <a:pos x="connsiteX1" y="connsiteY1"/>
                </a:cxn>
                <a:cxn ang="0">
                  <a:pos x="connsiteX2" y="connsiteY2"/>
                </a:cxn>
                <a:cxn ang="0">
                  <a:pos x="connsiteX3" y="connsiteY3"/>
                </a:cxn>
              </a:cxnLst>
              <a:rect l="l" t="t" r="r" b="b"/>
              <a:pathLst>
                <a:path w="13819" h="20728">
                  <a:moveTo>
                    <a:pt x="0" y="0"/>
                  </a:moveTo>
                  <a:lnTo>
                    <a:pt x="6910" y="20729"/>
                  </a:lnTo>
                  <a:lnTo>
                    <a:pt x="13820" y="3455"/>
                  </a:lnTo>
                  <a:lnTo>
                    <a:pt x="0" y="0"/>
                  </a:lnTo>
                  <a:close/>
                </a:path>
              </a:pathLst>
            </a:custGeom>
            <a:solidFill>
              <a:srgbClr val="CEE3BF"/>
            </a:solidFill>
            <a:ln w="9334" cap="flat">
              <a:noFill/>
              <a:prstDash val="solid"/>
              <a:miter/>
            </a:ln>
          </p:spPr>
          <p:txBody>
            <a:bodyPr rtlCol="0" anchor="ctr"/>
            <a:lstStyle/>
            <a:p>
              <a:endParaRPr lang="en-GB" dirty="0"/>
            </a:p>
          </p:txBody>
        </p:sp>
        <p:sp>
          <p:nvSpPr>
            <p:cNvPr id="1402" name="Freeform: Shape 1401">
              <a:extLst>
                <a:ext uri="{FF2B5EF4-FFF2-40B4-BE49-F238E27FC236}">
                  <a16:creationId xmlns:a16="http://schemas.microsoft.com/office/drawing/2014/main" id="{A75843F4-4803-4ED0-BEFA-87A58E2F2A4D}"/>
                </a:ext>
              </a:extLst>
            </p:cNvPr>
            <p:cNvSpPr/>
            <p:nvPr/>
          </p:nvSpPr>
          <p:spPr>
            <a:xfrm>
              <a:off x="5619166" y="2835873"/>
              <a:ext cx="65641" cy="41457"/>
            </a:xfrm>
            <a:custGeom>
              <a:avLst/>
              <a:gdLst>
                <a:gd name="connsiteX0" fmla="*/ 27638 w 65641"/>
                <a:gd name="connsiteY0" fmla="*/ 31093 h 41457"/>
                <a:gd name="connsiteX1" fmla="*/ 38003 w 65641"/>
                <a:gd name="connsiteY1" fmla="*/ 41458 h 41457"/>
                <a:gd name="connsiteX2" fmla="*/ 58732 w 65641"/>
                <a:gd name="connsiteY2" fmla="*/ 41458 h 41457"/>
                <a:gd name="connsiteX3" fmla="*/ 65641 w 65641"/>
                <a:gd name="connsiteY3" fmla="*/ 27639 h 41457"/>
                <a:gd name="connsiteX4" fmla="*/ 58732 w 65641"/>
                <a:gd name="connsiteY4" fmla="*/ 13819 h 41457"/>
                <a:gd name="connsiteX5" fmla="*/ 51822 w 65641"/>
                <a:gd name="connsiteY5" fmla="*/ 3455 h 41457"/>
                <a:gd name="connsiteX6" fmla="*/ 20729 w 65641"/>
                <a:gd name="connsiteY6" fmla="*/ 0 h 41457"/>
                <a:gd name="connsiteX7" fmla="*/ 6910 w 65641"/>
                <a:gd name="connsiteY7" fmla="*/ 13819 h 41457"/>
                <a:gd name="connsiteX8" fmla="*/ 0 w 65641"/>
                <a:gd name="connsiteY8" fmla="*/ 31093 h 41457"/>
                <a:gd name="connsiteX9" fmla="*/ 13819 w 65641"/>
                <a:gd name="connsiteY9" fmla="*/ 38003 h 41457"/>
                <a:gd name="connsiteX10" fmla="*/ 27638 w 65641"/>
                <a:gd name="connsiteY10" fmla="*/ 31093 h 4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641" h="41457">
                  <a:moveTo>
                    <a:pt x="27638" y="31093"/>
                  </a:moveTo>
                  <a:lnTo>
                    <a:pt x="38003" y="41458"/>
                  </a:lnTo>
                  <a:lnTo>
                    <a:pt x="58732" y="41458"/>
                  </a:lnTo>
                  <a:lnTo>
                    <a:pt x="65641" y="27639"/>
                  </a:lnTo>
                  <a:lnTo>
                    <a:pt x="58732" y="13819"/>
                  </a:lnTo>
                  <a:lnTo>
                    <a:pt x="51822" y="3455"/>
                  </a:lnTo>
                  <a:lnTo>
                    <a:pt x="20729" y="0"/>
                  </a:lnTo>
                  <a:lnTo>
                    <a:pt x="6910" y="13819"/>
                  </a:lnTo>
                  <a:lnTo>
                    <a:pt x="0" y="31093"/>
                  </a:lnTo>
                  <a:lnTo>
                    <a:pt x="13819" y="38003"/>
                  </a:lnTo>
                  <a:lnTo>
                    <a:pt x="27638" y="31093"/>
                  </a:lnTo>
                  <a:close/>
                </a:path>
              </a:pathLst>
            </a:custGeom>
            <a:solidFill>
              <a:srgbClr val="CEE3BF"/>
            </a:solidFill>
            <a:ln w="9334" cap="flat">
              <a:noFill/>
              <a:prstDash val="solid"/>
              <a:miter/>
            </a:ln>
          </p:spPr>
          <p:txBody>
            <a:bodyPr rtlCol="0" anchor="ctr"/>
            <a:lstStyle/>
            <a:p>
              <a:endParaRPr lang="en-GB" dirty="0"/>
            </a:p>
          </p:txBody>
        </p:sp>
        <p:sp>
          <p:nvSpPr>
            <p:cNvPr id="1403" name="Freeform: Shape 1402">
              <a:extLst>
                <a:ext uri="{FF2B5EF4-FFF2-40B4-BE49-F238E27FC236}">
                  <a16:creationId xmlns:a16="http://schemas.microsoft.com/office/drawing/2014/main" id="{83C6DFDE-BB86-4782-B66C-01C8192C901C}"/>
                </a:ext>
              </a:extLst>
            </p:cNvPr>
            <p:cNvSpPr/>
            <p:nvPr/>
          </p:nvSpPr>
          <p:spPr>
            <a:xfrm>
              <a:off x="6078376" y="3274913"/>
              <a:ext cx="24183" cy="44912"/>
            </a:xfrm>
            <a:custGeom>
              <a:avLst/>
              <a:gdLst>
                <a:gd name="connsiteX0" fmla="*/ 6910 w 24183"/>
                <a:gd name="connsiteY0" fmla="*/ 3455 h 44912"/>
                <a:gd name="connsiteX1" fmla="*/ 0 w 24183"/>
                <a:gd name="connsiteY1" fmla="*/ 10364 h 44912"/>
                <a:gd name="connsiteX2" fmla="*/ 0 w 24183"/>
                <a:gd name="connsiteY2" fmla="*/ 24184 h 44912"/>
                <a:gd name="connsiteX3" fmla="*/ 0 w 24183"/>
                <a:gd name="connsiteY3" fmla="*/ 38003 h 44912"/>
                <a:gd name="connsiteX4" fmla="*/ 10364 w 24183"/>
                <a:gd name="connsiteY4" fmla="*/ 44912 h 44912"/>
                <a:gd name="connsiteX5" fmla="*/ 17274 w 24183"/>
                <a:gd name="connsiteY5" fmla="*/ 31093 h 44912"/>
                <a:gd name="connsiteX6" fmla="*/ 13819 w 24183"/>
                <a:gd name="connsiteY6" fmla="*/ 20729 h 44912"/>
                <a:gd name="connsiteX7" fmla="*/ 24183 w 24183"/>
                <a:gd name="connsiteY7" fmla="*/ 17274 h 44912"/>
                <a:gd name="connsiteX8" fmla="*/ 17274 w 24183"/>
                <a:gd name="connsiteY8" fmla="*/ 0 h 44912"/>
                <a:gd name="connsiteX9" fmla="*/ 6910 w 24183"/>
                <a:gd name="connsiteY9" fmla="*/ 3455 h 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83" h="44912">
                  <a:moveTo>
                    <a:pt x="6910" y="3455"/>
                  </a:moveTo>
                  <a:lnTo>
                    <a:pt x="0" y="10364"/>
                  </a:lnTo>
                  <a:lnTo>
                    <a:pt x="0" y="24184"/>
                  </a:lnTo>
                  <a:lnTo>
                    <a:pt x="0" y="38003"/>
                  </a:lnTo>
                  <a:lnTo>
                    <a:pt x="10364" y="44912"/>
                  </a:lnTo>
                  <a:lnTo>
                    <a:pt x="17274" y="31093"/>
                  </a:lnTo>
                  <a:lnTo>
                    <a:pt x="13819" y="20729"/>
                  </a:lnTo>
                  <a:lnTo>
                    <a:pt x="24183" y="17274"/>
                  </a:lnTo>
                  <a:lnTo>
                    <a:pt x="17274" y="0"/>
                  </a:lnTo>
                  <a:lnTo>
                    <a:pt x="6910" y="3455"/>
                  </a:lnTo>
                  <a:close/>
                </a:path>
              </a:pathLst>
            </a:custGeom>
            <a:solidFill>
              <a:srgbClr val="CEE3BF"/>
            </a:solidFill>
            <a:ln w="9334" cap="flat">
              <a:noFill/>
              <a:prstDash val="solid"/>
              <a:miter/>
            </a:ln>
          </p:spPr>
          <p:txBody>
            <a:bodyPr rtlCol="0" anchor="ctr"/>
            <a:lstStyle/>
            <a:p>
              <a:endParaRPr lang="en-GB" dirty="0"/>
            </a:p>
          </p:txBody>
        </p:sp>
        <p:sp>
          <p:nvSpPr>
            <p:cNvPr id="1404" name="Freeform: Shape 1403">
              <a:extLst>
                <a:ext uri="{FF2B5EF4-FFF2-40B4-BE49-F238E27FC236}">
                  <a16:creationId xmlns:a16="http://schemas.microsoft.com/office/drawing/2014/main" id="{2C0787C7-FA8A-433E-A13C-4ED1FE54A0E1}"/>
                </a:ext>
              </a:extLst>
            </p:cNvPr>
            <p:cNvSpPr/>
            <p:nvPr/>
          </p:nvSpPr>
          <p:spPr>
            <a:xfrm>
              <a:off x="6068011" y="3333645"/>
              <a:ext cx="34548" cy="65641"/>
            </a:xfrm>
            <a:custGeom>
              <a:avLst/>
              <a:gdLst>
                <a:gd name="connsiteX0" fmla="*/ 31093 w 34548"/>
                <a:gd name="connsiteY0" fmla="*/ 3455 h 65641"/>
                <a:gd name="connsiteX1" fmla="*/ 17274 w 34548"/>
                <a:gd name="connsiteY1" fmla="*/ 0 h 65641"/>
                <a:gd name="connsiteX2" fmla="*/ 13820 w 34548"/>
                <a:gd name="connsiteY2" fmla="*/ 6910 h 65641"/>
                <a:gd name="connsiteX3" fmla="*/ 3455 w 34548"/>
                <a:gd name="connsiteY3" fmla="*/ 6910 h 65641"/>
                <a:gd name="connsiteX4" fmla="*/ 0 w 34548"/>
                <a:gd name="connsiteY4" fmla="*/ 20729 h 65641"/>
                <a:gd name="connsiteX5" fmla="*/ 6910 w 34548"/>
                <a:gd name="connsiteY5" fmla="*/ 27638 h 65641"/>
                <a:gd name="connsiteX6" fmla="*/ 6910 w 34548"/>
                <a:gd name="connsiteY6" fmla="*/ 44912 h 65641"/>
                <a:gd name="connsiteX7" fmla="*/ 6910 w 34548"/>
                <a:gd name="connsiteY7" fmla="*/ 62186 h 65641"/>
                <a:gd name="connsiteX8" fmla="*/ 17274 w 34548"/>
                <a:gd name="connsiteY8" fmla="*/ 65641 h 65641"/>
                <a:gd name="connsiteX9" fmla="*/ 24184 w 34548"/>
                <a:gd name="connsiteY9" fmla="*/ 58732 h 65641"/>
                <a:gd name="connsiteX10" fmla="*/ 34548 w 34548"/>
                <a:gd name="connsiteY10" fmla="*/ 48367 h 65641"/>
                <a:gd name="connsiteX11" fmla="*/ 31093 w 34548"/>
                <a:gd name="connsiteY11" fmla="*/ 24184 h 65641"/>
                <a:gd name="connsiteX12" fmla="*/ 34548 w 34548"/>
                <a:gd name="connsiteY12" fmla="*/ 10364 h 65641"/>
                <a:gd name="connsiteX13" fmla="*/ 31093 w 34548"/>
                <a:gd name="connsiteY13" fmla="*/ 3455 h 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548" h="65641">
                  <a:moveTo>
                    <a:pt x="31093" y="3455"/>
                  </a:moveTo>
                  <a:lnTo>
                    <a:pt x="17274" y="0"/>
                  </a:lnTo>
                  <a:lnTo>
                    <a:pt x="13820" y="6910"/>
                  </a:lnTo>
                  <a:lnTo>
                    <a:pt x="3455" y="6910"/>
                  </a:lnTo>
                  <a:lnTo>
                    <a:pt x="0" y="20729"/>
                  </a:lnTo>
                  <a:lnTo>
                    <a:pt x="6910" y="27638"/>
                  </a:lnTo>
                  <a:lnTo>
                    <a:pt x="6910" y="44912"/>
                  </a:lnTo>
                  <a:lnTo>
                    <a:pt x="6910" y="62186"/>
                  </a:lnTo>
                  <a:lnTo>
                    <a:pt x="17274" y="65641"/>
                  </a:lnTo>
                  <a:lnTo>
                    <a:pt x="24184" y="58732"/>
                  </a:lnTo>
                  <a:lnTo>
                    <a:pt x="34548" y="48367"/>
                  </a:lnTo>
                  <a:lnTo>
                    <a:pt x="31093" y="24184"/>
                  </a:lnTo>
                  <a:lnTo>
                    <a:pt x="34548" y="10364"/>
                  </a:lnTo>
                  <a:lnTo>
                    <a:pt x="31093" y="3455"/>
                  </a:lnTo>
                  <a:close/>
                </a:path>
              </a:pathLst>
            </a:custGeom>
            <a:solidFill>
              <a:srgbClr val="CEE3BF"/>
            </a:solidFill>
            <a:ln w="9334" cap="flat">
              <a:noFill/>
              <a:prstDash val="solid"/>
              <a:miter/>
            </a:ln>
          </p:spPr>
          <p:txBody>
            <a:bodyPr rtlCol="0" anchor="ctr"/>
            <a:lstStyle/>
            <a:p>
              <a:endParaRPr lang="en-GB" dirty="0"/>
            </a:p>
          </p:txBody>
        </p:sp>
        <p:sp>
          <p:nvSpPr>
            <p:cNvPr id="1405" name="Freeform: Shape 1404">
              <a:extLst>
                <a:ext uri="{FF2B5EF4-FFF2-40B4-BE49-F238E27FC236}">
                  <a16:creationId xmlns:a16="http://schemas.microsoft.com/office/drawing/2014/main" id="{2DEC1F06-124E-4C44-9D5B-5783DCCC9302}"/>
                </a:ext>
              </a:extLst>
            </p:cNvPr>
            <p:cNvSpPr/>
            <p:nvPr/>
          </p:nvSpPr>
          <p:spPr>
            <a:xfrm>
              <a:off x="6187062" y="3430473"/>
              <a:ext cx="72551" cy="41457"/>
            </a:xfrm>
            <a:custGeom>
              <a:avLst/>
              <a:gdLst>
                <a:gd name="connsiteX0" fmla="*/ 27639 w 72551"/>
                <a:gd name="connsiteY0" fmla="*/ 0 h 41457"/>
                <a:gd name="connsiteX1" fmla="*/ 3455 w 72551"/>
                <a:gd name="connsiteY1" fmla="*/ 0 h 41457"/>
                <a:gd name="connsiteX2" fmla="*/ 0 w 72551"/>
                <a:gd name="connsiteY2" fmla="*/ 13819 h 41457"/>
                <a:gd name="connsiteX3" fmla="*/ 17274 w 72551"/>
                <a:gd name="connsiteY3" fmla="*/ 17274 h 41457"/>
                <a:gd name="connsiteX4" fmla="*/ 27639 w 72551"/>
                <a:gd name="connsiteY4" fmla="*/ 27638 h 41457"/>
                <a:gd name="connsiteX5" fmla="*/ 44912 w 72551"/>
                <a:gd name="connsiteY5" fmla="*/ 27638 h 41457"/>
                <a:gd name="connsiteX6" fmla="*/ 58732 w 72551"/>
                <a:gd name="connsiteY6" fmla="*/ 41458 h 41457"/>
                <a:gd name="connsiteX7" fmla="*/ 65642 w 72551"/>
                <a:gd name="connsiteY7" fmla="*/ 31093 h 41457"/>
                <a:gd name="connsiteX8" fmla="*/ 62187 w 72551"/>
                <a:gd name="connsiteY8" fmla="*/ 17274 h 41457"/>
                <a:gd name="connsiteX9" fmla="*/ 72551 w 72551"/>
                <a:gd name="connsiteY9" fmla="*/ 6910 h 41457"/>
                <a:gd name="connsiteX10" fmla="*/ 72551 w 72551"/>
                <a:gd name="connsiteY10" fmla="*/ 0 h 41457"/>
                <a:gd name="connsiteX11" fmla="*/ 44912 w 72551"/>
                <a:gd name="connsiteY11" fmla="*/ 0 h 41457"/>
                <a:gd name="connsiteX12" fmla="*/ 27639 w 72551"/>
                <a:gd name="connsiteY12" fmla="*/ 0 h 4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551" h="41457">
                  <a:moveTo>
                    <a:pt x="27639" y="0"/>
                  </a:moveTo>
                  <a:lnTo>
                    <a:pt x="3455" y="0"/>
                  </a:lnTo>
                  <a:lnTo>
                    <a:pt x="0" y="13819"/>
                  </a:lnTo>
                  <a:lnTo>
                    <a:pt x="17274" y="17274"/>
                  </a:lnTo>
                  <a:lnTo>
                    <a:pt x="27639" y="27638"/>
                  </a:lnTo>
                  <a:lnTo>
                    <a:pt x="44912" y="27638"/>
                  </a:lnTo>
                  <a:lnTo>
                    <a:pt x="58732" y="41458"/>
                  </a:lnTo>
                  <a:lnTo>
                    <a:pt x="65642" y="31093"/>
                  </a:lnTo>
                  <a:lnTo>
                    <a:pt x="62187" y="17274"/>
                  </a:lnTo>
                  <a:lnTo>
                    <a:pt x="72551" y="6910"/>
                  </a:lnTo>
                  <a:lnTo>
                    <a:pt x="72551" y="0"/>
                  </a:lnTo>
                  <a:lnTo>
                    <a:pt x="44912" y="0"/>
                  </a:lnTo>
                  <a:lnTo>
                    <a:pt x="27639" y="0"/>
                  </a:lnTo>
                  <a:close/>
                </a:path>
              </a:pathLst>
            </a:custGeom>
            <a:solidFill>
              <a:srgbClr val="CEE3BF"/>
            </a:solidFill>
            <a:ln w="9334" cap="flat">
              <a:noFill/>
              <a:prstDash val="solid"/>
              <a:miter/>
            </a:ln>
          </p:spPr>
          <p:txBody>
            <a:bodyPr rtlCol="0" anchor="ctr"/>
            <a:lstStyle/>
            <a:p>
              <a:endParaRPr lang="en-GB" dirty="0"/>
            </a:p>
          </p:txBody>
        </p:sp>
        <p:sp>
          <p:nvSpPr>
            <p:cNvPr id="1406" name="Freeform: Shape 1405">
              <a:extLst>
                <a:ext uri="{FF2B5EF4-FFF2-40B4-BE49-F238E27FC236}">
                  <a16:creationId xmlns:a16="http://schemas.microsoft.com/office/drawing/2014/main" id="{56C9860E-163C-463C-87F0-D87DD8C4A26E}"/>
                </a:ext>
              </a:extLst>
            </p:cNvPr>
            <p:cNvSpPr/>
            <p:nvPr/>
          </p:nvSpPr>
          <p:spPr>
            <a:xfrm>
              <a:off x="9801818" y="5705044"/>
              <a:ext cx="100096" cy="100189"/>
            </a:xfrm>
            <a:custGeom>
              <a:avLst/>
              <a:gdLst>
                <a:gd name="connsiteX0" fmla="*/ 69003 w 100096"/>
                <a:gd name="connsiteY0" fmla="*/ 17274 h 100189"/>
                <a:gd name="connsiteX1" fmla="*/ 44819 w 100096"/>
                <a:gd name="connsiteY1" fmla="*/ 20729 h 100189"/>
                <a:gd name="connsiteX2" fmla="*/ 20636 w 100096"/>
                <a:gd name="connsiteY2" fmla="*/ 10365 h 100189"/>
                <a:gd name="connsiteX3" fmla="*/ 3362 w 100096"/>
                <a:gd name="connsiteY3" fmla="*/ 0 h 100189"/>
                <a:gd name="connsiteX4" fmla="*/ 0 w 100096"/>
                <a:gd name="connsiteY4" fmla="*/ 20729 h 100189"/>
                <a:gd name="connsiteX5" fmla="*/ 13726 w 100096"/>
                <a:gd name="connsiteY5" fmla="*/ 31093 h 100189"/>
                <a:gd name="connsiteX6" fmla="*/ 20636 w 100096"/>
                <a:gd name="connsiteY6" fmla="*/ 44912 h 100189"/>
                <a:gd name="connsiteX7" fmla="*/ 17181 w 100096"/>
                <a:gd name="connsiteY7" fmla="*/ 69096 h 100189"/>
                <a:gd name="connsiteX8" fmla="*/ 27545 w 100096"/>
                <a:gd name="connsiteY8" fmla="*/ 82915 h 100189"/>
                <a:gd name="connsiteX9" fmla="*/ 41364 w 100096"/>
                <a:gd name="connsiteY9" fmla="*/ 96735 h 100189"/>
                <a:gd name="connsiteX10" fmla="*/ 55184 w 100096"/>
                <a:gd name="connsiteY10" fmla="*/ 100190 h 100189"/>
                <a:gd name="connsiteX11" fmla="*/ 69003 w 100096"/>
                <a:gd name="connsiteY11" fmla="*/ 86370 h 100189"/>
                <a:gd name="connsiteX12" fmla="*/ 72458 w 100096"/>
                <a:gd name="connsiteY12" fmla="*/ 79461 h 100189"/>
                <a:gd name="connsiteX13" fmla="*/ 82822 w 100096"/>
                <a:gd name="connsiteY13" fmla="*/ 79461 h 100189"/>
                <a:gd name="connsiteX14" fmla="*/ 89732 w 100096"/>
                <a:gd name="connsiteY14" fmla="*/ 72551 h 100189"/>
                <a:gd name="connsiteX15" fmla="*/ 93187 w 100096"/>
                <a:gd name="connsiteY15" fmla="*/ 58732 h 100189"/>
                <a:gd name="connsiteX16" fmla="*/ 100096 w 100096"/>
                <a:gd name="connsiteY16" fmla="*/ 44912 h 100189"/>
                <a:gd name="connsiteX17" fmla="*/ 100096 w 100096"/>
                <a:gd name="connsiteY17" fmla="*/ 17274 h 100189"/>
                <a:gd name="connsiteX18" fmla="*/ 89732 w 100096"/>
                <a:gd name="connsiteY18" fmla="*/ 13819 h 100189"/>
                <a:gd name="connsiteX19" fmla="*/ 69003 w 100096"/>
                <a:gd name="connsiteY19" fmla="*/ 17274 h 10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096" h="100189">
                  <a:moveTo>
                    <a:pt x="69003" y="17274"/>
                  </a:moveTo>
                  <a:lnTo>
                    <a:pt x="44819" y="20729"/>
                  </a:lnTo>
                  <a:lnTo>
                    <a:pt x="20636" y="10365"/>
                  </a:lnTo>
                  <a:lnTo>
                    <a:pt x="3362" y="0"/>
                  </a:lnTo>
                  <a:lnTo>
                    <a:pt x="0" y="20729"/>
                  </a:lnTo>
                  <a:lnTo>
                    <a:pt x="13726" y="31093"/>
                  </a:lnTo>
                  <a:lnTo>
                    <a:pt x="20636" y="44912"/>
                  </a:lnTo>
                  <a:lnTo>
                    <a:pt x="17181" y="69096"/>
                  </a:lnTo>
                  <a:lnTo>
                    <a:pt x="27545" y="82915"/>
                  </a:lnTo>
                  <a:lnTo>
                    <a:pt x="41364" y="96735"/>
                  </a:lnTo>
                  <a:lnTo>
                    <a:pt x="55184" y="100190"/>
                  </a:lnTo>
                  <a:lnTo>
                    <a:pt x="69003" y="86370"/>
                  </a:lnTo>
                  <a:lnTo>
                    <a:pt x="72458" y="79461"/>
                  </a:lnTo>
                  <a:lnTo>
                    <a:pt x="82822" y="79461"/>
                  </a:lnTo>
                  <a:lnTo>
                    <a:pt x="89732" y="72551"/>
                  </a:lnTo>
                  <a:lnTo>
                    <a:pt x="93187" y="58732"/>
                  </a:lnTo>
                  <a:lnTo>
                    <a:pt x="100096" y="44912"/>
                  </a:lnTo>
                  <a:lnTo>
                    <a:pt x="100096" y="17274"/>
                  </a:lnTo>
                  <a:lnTo>
                    <a:pt x="89732" y="13819"/>
                  </a:lnTo>
                  <a:lnTo>
                    <a:pt x="69003" y="17274"/>
                  </a:lnTo>
                  <a:close/>
                </a:path>
              </a:pathLst>
            </a:custGeom>
            <a:solidFill>
              <a:srgbClr val="CEE3BF"/>
            </a:solidFill>
            <a:ln w="9334" cap="flat">
              <a:noFill/>
              <a:prstDash val="solid"/>
              <a:miter/>
            </a:ln>
          </p:spPr>
          <p:txBody>
            <a:bodyPr rtlCol="0" anchor="ctr"/>
            <a:lstStyle/>
            <a:p>
              <a:endParaRPr lang="en-GB" dirty="0"/>
            </a:p>
          </p:txBody>
        </p:sp>
        <p:sp>
          <p:nvSpPr>
            <p:cNvPr id="1407" name="Freeform: Shape 1406">
              <a:extLst>
                <a:ext uri="{FF2B5EF4-FFF2-40B4-BE49-F238E27FC236}">
                  <a16:creationId xmlns:a16="http://schemas.microsoft.com/office/drawing/2014/main" id="{74E1425B-DAB7-4A01-A872-124E8F32A2AF}"/>
                </a:ext>
              </a:extLst>
            </p:cNvPr>
            <p:cNvSpPr/>
            <p:nvPr/>
          </p:nvSpPr>
          <p:spPr>
            <a:xfrm>
              <a:off x="8814397" y="3969703"/>
              <a:ext cx="65548" cy="51822"/>
            </a:xfrm>
            <a:custGeom>
              <a:avLst/>
              <a:gdLst>
                <a:gd name="connsiteX0" fmla="*/ 34548 w 65548"/>
                <a:gd name="connsiteY0" fmla="*/ 0 h 51822"/>
                <a:gd name="connsiteX1" fmla="*/ 17274 w 65548"/>
                <a:gd name="connsiteY1" fmla="*/ 10365 h 51822"/>
                <a:gd name="connsiteX2" fmla="*/ 0 w 65548"/>
                <a:gd name="connsiteY2" fmla="*/ 17274 h 51822"/>
                <a:gd name="connsiteX3" fmla="*/ 0 w 65548"/>
                <a:gd name="connsiteY3" fmla="*/ 34548 h 51822"/>
                <a:gd name="connsiteX4" fmla="*/ 10365 w 65548"/>
                <a:gd name="connsiteY4" fmla="*/ 48368 h 51822"/>
                <a:gd name="connsiteX5" fmla="*/ 27639 w 65548"/>
                <a:gd name="connsiteY5" fmla="*/ 51822 h 51822"/>
                <a:gd name="connsiteX6" fmla="*/ 38003 w 65548"/>
                <a:gd name="connsiteY6" fmla="*/ 44913 h 51822"/>
                <a:gd name="connsiteX7" fmla="*/ 51729 w 65548"/>
                <a:gd name="connsiteY7" fmla="*/ 41458 h 51822"/>
                <a:gd name="connsiteX8" fmla="*/ 51729 w 65548"/>
                <a:gd name="connsiteY8" fmla="*/ 24184 h 51822"/>
                <a:gd name="connsiteX9" fmla="*/ 58639 w 65548"/>
                <a:gd name="connsiteY9" fmla="*/ 13819 h 51822"/>
                <a:gd name="connsiteX10" fmla="*/ 65548 w 65548"/>
                <a:gd name="connsiteY10" fmla="*/ 3455 h 51822"/>
                <a:gd name="connsiteX11" fmla="*/ 51729 w 65548"/>
                <a:gd name="connsiteY11" fmla="*/ 0 h 51822"/>
                <a:gd name="connsiteX12" fmla="*/ 34548 w 65548"/>
                <a:gd name="connsiteY12" fmla="*/ 0 h 51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548" h="51822">
                  <a:moveTo>
                    <a:pt x="34548" y="0"/>
                  </a:moveTo>
                  <a:lnTo>
                    <a:pt x="17274" y="10365"/>
                  </a:lnTo>
                  <a:lnTo>
                    <a:pt x="0" y="17274"/>
                  </a:lnTo>
                  <a:lnTo>
                    <a:pt x="0" y="34548"/>
                  </a:lnTo>
                  <a:lnTo>
                    <a:pt x="10365" y="48368"/>
                  </a:lnTo>
                  <a:lnTo>
                    <a:pt x="27639" y="51822"/>
                  </a:lnTo>
                  <a:lnTo>
                    <a:pt x="38003" y="44913"/>
                  </a:lnTo>
                  <a:lnTo>
                    <a:pt x="51729" y="41458"/>
                  </a:lnTo>
                  <a:lnTo>
                    <a:pt x="51729" y="24184"/>
                  </a:lnTo>
                  <a:lnTo>
                    <a:pt x="58639" y="13819"/>
                  </a:lnTo>
                  <a:lnTo>
                    <a:pt x="65548" y="3455"/>
                  </a:lnTo>
                  <a:lnTo>
                    <a:pt x="51729" y="0"/>
                  </a:lnTo>
                  <a:lnTo>
                    <a:pt x="34548" y="0"/>
                  </a:lnTo>
                  <a:close/>
                </a:path>
              </a:pathLst>
            </a:custGeom>
            <a:solidFill>
              <a:srgbClr val="CEE3BF"/>
            </a:solidFill>
            <a:ln w="9334" cap="flat">
              <a:noFill/>
              <a:prstDash val="solid"/>
              <a:miter/>
            </a:ln>
          </p:spPr>
          <p:txBody>
            <a:bodyPr rtlCol="0" anchor="ctr"/>
            <a:lstStyle/>
            <a:p>
              <a:endParaRPr lang="en-GB" dirty="0"/>
            </a:p>
          </p:txBody>
        </p:sp>
        <p:sp>
          <p:nvSpPr>
            <p:cNvPr id="1408" name="Freeform: Shape 1407">
              <a:extLst>
                <a:ext uri="{FF2B5EF4-FFF2-40B4-BE49-F238E27FC236}">
                  <a16:creationId xmlns:a16="http://schemas.microsoft.com/office/drawing/2014/main" id="{C3DCA36D-199F-4A52-A43B-5933FA9AFBFA}"/>
                </a:ext>
              </a:extLst>
            </p:cNvPr>
            <p:cNvSpPr/>
            <p:nvPr/>
          </p:nvSpPr>
          <p:spPr>
            <a:xfrm>
              <a:off x="6404622" y="3088167"/>
              <a:ext cx="245104" cy="155559"/>
            </a:xfrm>
            <a:custGeom>
              <a:avLst/>
              <a:gdLst>
                <a:gd name="connsiteX0" fmla="*/ 207102 w 245104"/>
                <a:gd name="connsiteY0" fmla="*/ 48461 h 155559"/>
                <a:gd name="connsiteX1" fmla="*/ 186373 w 245104"/>
                <a:gd name="connsiteY1" fmla="*/ 27732 h 155559"/>
                <a:gd name="connsiteX2" fmla="*/ 183011 w 245104"/>
                <a:gd name="connsiteY2" fmla="*/ 17367 h 155559"/>
                <a:gd name="connsiteX3" fmla="*/ 176102 w 245104"/>
                <a:gd name="connsiteY3" fmla="*/ 0 h 155559"/>
                <a:gd name="connsiteX4" fmla="*/ 155373 w 245104"/>
                <a:gd name="connsiteY4" fmla="*/ 0 h 155559"/>
                <a:gd name="connsiteX5" fmla="*/ 148463 w 245104"/>
                <a:gd name="connsiteY5" fmla="*/ 13913 h 155559"/>
                <a:gd name="connsiteX6" fmla="*/ 113915 w 245104"/>
                <a:gd name="connsiteY6" fmla="*/ 13913 h 155559"/>
                <a:gd name="connsiteX7" fmla="*/ 93186 w 245104"/>
                <a:gd name="connsiteY7" fmla="*/ 3548 h 155559"/>
                <a:gd name="connsiteX8" fmla="*/ 79367 w 245104"/>
                <a:gd name="connsiteY8" fmla="*/ 7003 h 155559"/>
                <a:gd name="connsiteX9" fmla="*/ 55183 w 245104"/>
                <a:gd name="connsiteY9" fmla="*/ 17367 h 155559"/>
                <a:gd name="connsiteX10" fmla="*/ 41458 w 245104"/>
                <a:gd name="connsiteY10" fmla="*/ 27732 h 155559"/>
                <a:gd name="connsiteX11" fmla="*/ 24183 w 245104"/>
                <a:gd name="connsiteY11" fmla="*/ 51915 h 155559"/>
                <a:gd name="connsiteX12" fmla="*/ 0 w 245104"/>
                <a:gd name="connsiteY12" fmla="*/ 76099 h 155559"/>
                <a:gd name="connsiteX13" fmla="*/ 3455 w 245104"/>
                <a:gd name="connsiteY13" fmla="*/ 89918 h 155559"/>
                <a:gd name="connsiteX14" fmla="*/ 13819 w 245104"/>
                <a:gd name="connsiteY14" fmla="*/ 103738 h 155559"/>
                <a:gd name="connsiteX15" fmla="*/ 27638 w 245104"/>
                <a:gd name="connsiteY15" fmla="*/ 124466 h 155559"/>
                <a:gd name="connsiteX16" fmla="*/ 55183 w 245104"/>
                <a:gd name="connsiteY16" fmla="*/ 127921 h 155559"/>
                <a:gd name="connsiteX17" fmla="*/ 55183 w 245104"/>
                <a:gd name="connsiteY17" fmla="*/ 145195 h 155559"/>
                <a:gd name="connsiteX18" fmla="*/ 75912 w 245104"/>
                <a:gd name="connsiteY18" fmla="*/ 152105 h 155559"/>
                <a:gd name="connsiteX19" fmla="*/ 124280 w 245104"/>
                <a:gd name="connsiteY19" fmla="*/ 152105 h 155559"/>
                <a:gd name="connsiteX20" fmla="*/ 145008 w 245104"/>
                <a:gd name="connsiteY20" fmla="*/ 152105 h 155559"/>
                <a:gd name="connsiteX21" fmla="*/ 158827 w 245104"/>
                <a:gd name="connsiteY21" fmla="*/ 138286 h 155559"/>
                <a:gd name="connsiteX22" fmla="*/ 183011 w 245104"/>
                <a:gd name="connsiteY22" fmla="*/ 145195 h 155559"/>
                <a:gd name="connsiteX23" fmla="*/ 203647 w 245104"/>
                <a:gd name="connsiteY23" fmla="*/ 155560 h 155559"/>
                <a:gd name="connsiteX24" fmla="*/ 214011 w 245104"/>
                <a:gd name="connsiteY24" fmla="*/ 155560 h 155559"/>
                <a:gd name="connsiteX25" fmla="*/ 217466 w 245104"/>
                <a:gd name="connsiteY25" fmla="*/ 134831 h 155559"/>
                <a:gd name="connsiteX26" fmla="*/ 224376 w 245104"/>
                <a:gd name="connsiteY26" fmla="*/ 124466 h 155559"/>
                <a:gd name="connsiteX27" fmla="*/ 238195 w 245104"/>
                <a:gd name="connsiteY27" fmla="*/ 117557 h 155559"/>
                <a:gd name="connsiteX28" fmla="*/ 245105 w 245104"/>
                <a:gd name="connsiteY28" fmla="*/ 107192 h 155559"/>
                <a:gd name="connsiteX29" fmla="*/ 234740 w 245104"/>
                <a:gd name="connsiteY29" fmla="*/ 96828 h 155559"/>
                <a:gd name="connsiteX30" fmla="*/ 227830 w 245104"/>
                <a:gd name="connsiteY30" fmla="*/ 103738 h 155559"/>
                <a:gd name="connsiteX31" fmla="*/ 210556 w 245104"/>
                <a:gd name="connsiteY31" fmla="*/ 100283 h 155559"/>
                <a:gd name="connsiteX32" fmla="*/ 207102 w 245104"/>
                <a:gd name="connsiteY32" fmla="*/ 89918 h 155559"/>
                <a:gd name="connsiteX33" fmla="*/ 203647 w 245104"/>
                <a:gd name="connsiteY33" fmla="*/ 72644 h 155559"/>
                <a:gd name="connsiteX34" fmla="*/ 210556 w 245104"/>
                <a:gd name="connsiteY34" fmla="*/ 55370 h 155559"/>
                <a:gd name="connsiteX35" fmla="*/ 207102 w 245104"/>
                <a:gd name="connsiteY35" fmla="*/ 48461 h 15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5104" h="155559">
                  <a:moveTo>
                    <a:pt x="207102" y="48461"/>
                  </a:moveTo>
                  <a:lnTo>
                    <a:pt x="186373" y="27732"/>
                  </a:lnTo>
                  <a:lnTo>
                    <a:pt x="183011" y="17367"/>
                  </a:lnTo>
                  <a:lnTo>
                    <a:pt x="176102" y="0"/>
                  </a:lnTo>
                  <a:lnTo>
                    <a:pt x="155373" y="0"/>
                  </a:lnTo>
                  <a:lnTo>
                    <a:pt x="148463" y="13913"/>
                  </a:lnTo>
                  <a:lnTo>
                    <a:pt x="113915" y="13913"/>
                  </a:lnTo>
                  <a:lnTo>
                    <a:pt x="93186" y="3548"/>
                  </a:lnTo>
                  <a:lnTo>
                    <a:pt x="79367" y="7003"/>
                  </a:lnTo>
                  <a:lnTo>
                    <a:pt x="55183" y="17367"/>
                  </a:lnTo>
                  <a:lnTo>
                    <a:pt x="41458" y="27732"/>
                  </a:lnTo>
                  <a:lnTo>
                    <a:pt x="24183" y="51915"/>
                  </a:lnTo>
                  <a:lnTo>
                    <a:pt x="0" y="76099"/>
                  </a:lnTo>
                  <a:lnTo>
                    <a:pt x="3455" y="89918"/>
                  </a:lnTo>
                  <a:lnTo>
                    <a:pt x="13819" y="103738"/>
                  </a:lnTo>
                  <a:lnTo>
                    <a:pt x="27638" y="124466"/>
                  </a:lnTo>
                  <a:lnTo>
                    <a:pt x="55183" y="127921"/>
                  </a:lnTo>
                  <a:lnTo>
                    <a:pt x="55183" y="145195"/>
                  </a:lnTo>
                  <a:lnTo>
                    <a:pt x="75912" y="152105"/>
                  </a:lnTo>
                  <a:lnTo>
                    <a:pt x="124280" y="152105"/>
                  </a:lnTo>
                  <a:lnTo>
                    <a:pt x="145008" y="152105"/>
                  </a:lnTo>
                  <a:lnTo>
                    <a:pt x="158827" y="138286"/>
                  </a:lnTo>
                  <a:lnTo>
                    <a:pt x="183011" y="145195"/>
                  </a:lnTo>
                  <a:lnTo>
                    <a:pt x="203647" y="155560"/>
                  </a:lnTo>
                  <a:lnTo>
                    <a:pt x="214011" y="155560"/>
                  </a:lnTo>
                  <a:lnTo>
                    <a:pt x="217466" y="134831"/>
                  </a:lnTo>
                  <a:lnTo>
                    <a:pt x="224376" y="124466"/>
                  </a:lnTo>
                  <a:lnTo>
                    <a:pt x="238195" y="117557"/>
                  </a:lnTo>
                  <a:lnTo>
                    <a:pt x="245105" y="107192"/>
                  </a:lnTo>
                  <a:lnTo>
                    <a:pt x="234740" y="96828"/>
                  </a:lnTo>
                  <a:lnTo>
                    <a:pt x="227830" y="103738"/>
                  </a:lnTo>
                  <a:lnTo>
                    <a:pt x="210556" y="100283"/>
                  </a:lnTo>
                  <a:lnTo>
                    <a:pt x="207102" y="89918"/>
                  </a:lnTo>
                  <a:lnTo>
                    <a:pt x="203647" y="72644"/>
                  </a:lnTo>
                  <a:lnTo>
                    <a:pt x="210556" y="55370"/>
                  </a:lnTo>
                  <a:lnTo>
                    <a:pt x="207102" y="48461"/>
                  </a:lnTo>
                  <a:close/>
                </a:path>
              </a:pathLst>
            </a:custGeom>
            <a:solidFill>
              <a:srgbClr val="CEE3BF"/>
            </a:solidFill>
            <a:ln w="9334" cap="flat">
              <a:noFill/>
              <a:prstDash val="solid"/>
              <a:miter/>
            </a:ln>
          </p:spPr>
          <p:txBody>
            <a:bodyPr rtlCol="0" anchor="ctr"/>
            <a:lstStyle/>
            <a:p>
              <a:endParaRPr lang="en-GB" dirty="0"/>
            </a:p>
          </p:txBody>
        </p:sp>
        <p:sp>
          <p:nvSpPr>
            <p:cNvPr id="1409" name="Freeform: Shape 1408">
              <a:extLst>
                <a:ext uri="{FF2B5EF4-FFF2-40B4-BE49-F238E27FC236}">
                  <a16:creationId xmlns:a16="http://schemas.microsoft.com/office/drawing/2014/main" id="{C94D1E5C-532E-498C-B54C-0FE920DAA785}"/>
                </a:ext>
              </a:extLst>
            </p:cNvPr>
            <p:cNvSpPr/>
            <p:nvPr/>
          </p:nvSpPr>
          <p:spPr>
            <a:xfrm>
              <a:off x="6483989" y="4192398"/>
              <a:ext cx="289270" cy="91879"/>
            </a:xfrm>
            <a:custGeom>
              <a:avLst/>
              <a:gdLst>
                <a:gd name="connsiteX0" fmla="*/ 0 w 289270"/>
                <a:gd name="connsiteY0" fmla="*/ 91879 h 91879"/>
                <a:gd name="connsiteX1" fmla="*/ 27078 w 289270"/>
                <a:gd name="connsiteY1" fmla="*/ 74605 h 91879"/>
                <a:gd name="connsiteX2" fmla="*/ 48087 w 289270"/>
                <a:gd name="connsiteY2" fmla="*/ 74605 h 91879"/>
                <a:gd name="connsiteX3" fmla="*/ 66762 w 289270"/>
                <a:gd name="connsiteY3" fmla="*/ 55557 h 91879"/>
                <a:gd name="connsiteX4" fmla="*/ 78433 w 289270"/>
                <a:gd name="connsiteY4" fmla="*/ 55557 h 91879"/>
                <a:gd name="connsiteX5" fmla="*/ 99442 w 289270"/>
                <a:gd name="connsiteY5" fmla="*/ 71617 h 91879"/>
                <a:gd name="connsiteX6" fmla="*/ 125120 w 289270"/>
                <a:gd name="connsiteY6" fmla="*/ 78060 h 91879"/>
                <a:gd name="connsiteX7" fmla="*/ 139126 w 289270"/>
                <a:gd name="connsiteY7" fmla="*/ 90199 h 91879"/>
                <a:gd name="connsiteX8" fmla="*/ 178809 w 289270"/>
                <a:gd name="connsiteY8" fmla="*/ 62560 h 91879"/>
                <a:gd name="connsiteX9" fmla="*/ 197484 w 289270"/>
                <a:gd name="connsiteY9" fmla="*/ 66015 h 91879"/>
                <a:gd name="connsiteX10" fmla="*/ 211490 w 289270"/>
                <a:gd name="connsiteY10" fmla="*/ 78153 h 91879"/>
                <a:gd name="connsiteX11" fmla="*/ 232499 w 289270"/>
                <a:gd name="connsiteY11" fmla="*/ 21102 h 91879"/>
                <a:gd name="connsiteX12" fmla="*/ 246505 w 289270"/>
                <a:gd name="connsiteY12" fmla="*/ 21102 h 91879"/>
                <a:gd name="connsiteX13" fmla="*/ 260698 w 289270"/>
                <a:gd name="connsiteY13" fmla="*/ 0 h 91879"/>
                <a:gd name="connsiteX14" fmla="*/ 274144 w 289270"/>
                <a:gd name="connsiteY14" fmla="*/ 45940 h 91879"/>
                <a:gd name="connsiteX15" fmla="*/ 279186 w 289270"/>
                <a:gd name="connsiteY15" fmla="*/ 62560 h 91879"/>
                <a:gd name="connsiteX16" fmla="*/ 289270 w 289270"/>
                <a:gd name="connsiteY16" fmla="*/ 74699 h 9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9270" h="91879">
                  <a:moveTo>
                    <a:pt x="0" y="91879"/>
                  </a:moveTo>
                  <a:lnTo>
                    <a:pt x="27078" y="74605"/>
                  </a:lnTo>
                  <a:lnTo>
                    <a:pt x="48087" y="74605"/>
                  </a:lnTo>
                  <a:lnTo>
                    <a:pt x="66762" y="55557"/>
                  </a:lnTo>
                  <a:cubicBezTo>
                    <a:pt x="66762" y="55557"/>
                    <a:pt x="69096" y="49861"/>
                    <a:pt x="78433" y="55557"/>
                  </a:cubicBezTo>
                  <a:cubicBezTo>
                    <a:pt x="87770" y="61253"/>
                    <a:pt x="99442" y="71617"/>
                    <a:pt x="99442" y="71617"/>
                  </a:cubicBezTo>
                  <a:lnTo>
                    <a:pt x="125120" y="78060"/>
                  </a:lnTo>
                  <a:lnTo>
                    <a:pt x="139126" y="90199"/>
                  </a:lnTo>
                  <a:lnTo>
                    <a:pt x="178809" y="62560"/>
                  </a:lnTo>
                  <a:lnTo>
                    <a:pt x="197484" y="66015"/>
                  </a:lnTo>
                  <a:lnTo>
                    <a:pt x="211490" y="78153"/>
                  </a:lnTo>
                  <a:lnTo>
                    <a:pt x="232499" y="21102"/>
                  </a:lnTo>
                  <a:lnTo>
                    <a:pt x="246505" y="21102"/>
                  </a:lnTo>
                  <a:lnTo>
                    <a:pt x="260698" y="0"/>
                  </a:lnTo>
                  <a:lnTo>
                    <a:pt x="274144" y="45940"/>
                  </a:lnTo>
                  <a:lnTo>
                    <a:pt x="279186" y="62560"/>
                  </a:lnTo>
                  <a:lnTo>
                    <a:pt x="289270" y="74699"/>
                  </a:lnTo>
                </a:path>
              </a:pathLst>
            </a:custGeom>
            <a:solidFill>
              <a:srgbClr val="CEE3BF"/>
            </a:solidFill>
            <a:ln w="9334" cap="flat">
              <a:noFill/>
              <a:prstDash val="solid"/>
              <a:miter/>
            </a:ln>
          </p:spPr>
          <p:txBody>
            <a:bodyPr rtlCol="0" anchor="ctr"/>
            <a:lstStyle/>
            <a:p>
              <a:endParaRPr lang="en-GB" dirty="0"/>
            </a:p>
          </p:txBody>
        </p:sp>
        <p:sp>
          <p:nvSpPr>
            <p:cNvPr id="1410" name="Freeform: Shape 1409">
              <a:extLst>
                <a:ext uri="{FF2B5EF4-FFF2-40B4-BE49-F238E27FC236}">
                  <a16:creationId xmlns:a16="http://schemas.microsoft.com/office/drawing/2014/main" id="{861AD449-FE1F-4CB2-BE29-4576CC618F00}"/>
                </a:ext>
              </a:extLst>
            </p:cNvPr>
            <p:cNvSpPr/>
            <p:nvPr/>
          </p:nvSpPr>
          <p:spPr>
            <a:xfrm>
              <a:off x="7854614" y="2898059"/>
              <a:ext cx="1677916" cy="1057825"/>
            </a:xfrm>
            <a:custGeom>
              <a:avLst/>
              <a:gdLst>
                <a:gd name="connsiteX0" fmla="*/ 1601911 w 1677916"/>
                <a:gd name="connsiteY0" fmla="*/ 290391 h 1057825"/>
                <a:gd name="connsiteX1" fmla="*/ 1612275 w 1677916"/>
                <a:gd name="connsiteY1" fmla="*/ 300755 h 1057825"/>
                <a:gd name="connsiteX2" fmla="*/ 1633004 w 1677916"/>
                <a:gd name="connsiteY2" fmla="*/ 297300 h 1057825"/>
                <a:gd name="connsiteX3" fmla="*/ 1653733 w 1677916"/>
                <a:gd name="connsiteY3" fmla="*/ 259297 h 1057825"/>
                <a:gd name="connsiteX4" fmla="*/ 1664097 w 1677916"/>
                <a:gd name="connsiteY4" fmla="*/ 221294 h 1057825"/>
                <a:gd name="connsiteX5" fmla="*/ 1677917 w 1677916"/>
                <a:gd name="connsiteY5" fmla="*/ 214385 h 1057825"/>
                <a:gd name="connsiteX6" fmla="*/ 1674462 w 1677916"/>
                <a:gd name="connsiteY6" fmla="*/ 190108 h 1057825"/>
                <a:gd name="connsiteX7" fmla="*/ 1646823 w 1677916"/>
                <a:gd name="connsiteY7" fmla="*/ 193656 h 1057825"/>
                <a:gd name="connsiteX8" fmla="*/ 1622639 w 1677916"/>
                <a:gd name="connsiteY8" fmla="*/ 197111 h 1057825"/>
                <a:gd name="connsiteX9" fmla="*/ 1612275 w 1677916"/>
                <a:gd name="connsiteY9" fmla="*/ 210930 h 1057825"/>
                <a:gd name="connsiteX10" fmla="*/ 1574272 w 1677916"/>
                <a:gd name="connsiteY10" fmla="*/ 207475 h 1057825"/>
                <a:gd name="connsiteX11" fmla="*/ 1567363 w 1677916"/>
                <a:gd name="connsiteY11" fmla="*/ 172834 h 1057825"/>
                <a:gd name="connsiteX12" fmla="*/ 1556998 w 1677916"/>
                <a:gd name="connsiteY12" fmla="*/ 169379 h 1057825"/>
                <a:gd name="connsiteX13" fmla="*/ 1532908 w 1677916"/>
                <a:gd name="connsiteY13" fmla="*/ 155560 h 1057825"/>
                <a:gd name="connsiteX14" fmla="*/ 1515634 w 1677916"/>
                <a:gd name="connsiteY14" fmla="*/ 145195 h 1057825"/>
                <a:gd name="connsiteX15" fmla="*/ 1487995 w 1677916"/>
                <a:gd name="connsiteY15" fmla="*/ 145195 h 1057825"/>
                <a:gd name="connsiteX16" fmla="*/ 1469041 w 1677916"/>
                <a:gd name="connsiteY16" fmla="*/ 100283 h 1057825"/>
                <a:gd name="connsiteX17" fmla="*/ 1463812 w 1677916"/>
                <a:gd name="connsiteY17" fmla="*/ 89918 h 1057825"/>
                <a:gd name="connsiteX18" fmla="*/ 1449992 w 1677916"/>
                <a:gd name="connsiteY18" fmla="*/ 55370 h 1057825"/>
                <a:gd name="connsiteX19" fmla="*/ 1429264 w 1677916"/>
                <a:gd name="connsiteY19" fmla="*/ 20729 h 1057825"/>
                <a:gd name="connsiteX20" fmla="*/ 1377535 w 1677916"/>
                <a:gd name="connsiteY20" fmla="*/ 0 h 1057825"/>
                <a:gd name="connsiteX21" fmla="*/ 1346442 w 1677916"/>
                <a:gd name="connsiteY21" fmla="*/ 3455 h 1057825"/>
                <a:gd name="connsiteX22" fmla="*/ 1301529 w 1677916"/>
                <a:gd name="connsiteY22" fmla="*/ 6910 h 1057825"/>
                <a:gd name="connsiteX23" fmla="*/ 1277345 w 1677916"/>
                <a:gd name="connsiteY23" fmla="*/ 17274 h 1057825"/>
                <a:gd name="connsiteX24" fmla="*/ 1273984 w 1677916"/>
                <a:gd name="connsiteY24" fmla="*/ 31093 h 1057825"/>
                <a:gd name="connsiteX25" fmla="*/ 1294620 w 1677916"/>
                <a:gd name="connsiteY25" fmla="*/ 34548 h 1057825"/>
                <a:gd name="connsiteX26" fmla="*/ 1294620 w 1677916"/>
                <a:gd name="connsiteY26" fmla="*/ 58825 h 1057825"/>
                <a:gd name="connsiteX27" fmla="*/ 1277345 w 1677916"/>
                <a:gd name="connsiteY27" fmla="*/ 69190 h 1057825"/>
                <a:gd name="connsiteX28" fmla="*/ 1260165 w 1677916"/>
                <a:gd name="connsiteY28" fmla="*/ 100283 h 1057825"/>
                <a:gd name="connsiteX29" fmla="*/ 1253255 w 1677916"/>
                <a:gd name="connsiteY29" fmla="*/ 127921 h 1057825"/>
                <a:gd name="connsiteX30" fmla="*/ 1232526 w 1677916"/>
                <a:gd name="connsiteY30" fmla="*/ 131376 h 1057825"/>
                <a:gd name="connsiteX31" fmla="*/ 1215253 w 1677916"/>
                <a:gd name="connsiteY31" fmla="*/ 148650 h 1057825"/>
                <a:gd name="connsiteX32" fmla="*/ 1184159 w 1677916"/>
                <a:gd name="connsiteY32" fmla="*/ 131376 h 1057825"/>
                <a:gd name="connsiteX33" fmla="*/ 1173795 w 1677916"/>
                <a:gd name="connsiteY33" fmla="*/ 145195 h 1057825"/>
                <a:gd name="connsiteX34" fmla="*/ 1159975 w 1677916"/>
                <a:gd name="connsiteY34" fmla="*/ 176289 h 1057825"/>
                <a:gd name="connsiteX35" fmla="*/ 1153066 w 1677916"/>
                <a:gd name="connsiteY35" fmla="*/ 200566 h 1057825"/>
                <a:gd name="connsiteX36" fmla="*/ 1201433 w 1677916"/>
                <a:gd name="connsiteY36" fmla="*/ 204021 h 1057825"/>
                <a:gd name="connsiteX37" fmla="*/ 1215253 w 1677916"/>
                <a:gd name="connsiteY37" fmla="*/ 193656 h 1057825"/>
                <a:gd name="connsiteX38" fmla="*/ 1232526 w 1677916"/>
                <a:gd name="connsiteY38" fmla="*/ 197111 h 1057825"/>
                <a:gd name="connsiteX39" fmla="*/ 1267075 w 1677916"/>
                <a:gd name="connsiteY39" fmla="*/ 231659 h 1057825"/>
                <a:gd name="connsiteX40" fmla="*/ 1270529 w 1677916"/>
                <a:gd name="connsiteY40" fmla="*/ 248933 h 1057825"/>
                <a:gd name="connsiteX41" fmla="*/ 1242891 w 1677916"/>
                <a:gd name="connsiteY41" fmla="*/ 245478 h 1057825"/>
                <a:gd name="connsiteX42" fmla="*/ 1222162 w 1677916"/>
                <a:gd name="connsiteY42" fmla="*/ 245478 h 1057825"/>
                <a:gd name="connsiteX43" fmla="*/ 1187614 w 1677916"/>
                <a:gd name="connsiteY43" fmla="*/ 259297 h 1057825"/>
                <a:gd name="connsiteX44" fmla="*/ 1156520 w 1677916"/>
                <a:gd name="connsiteY44" fmla="*/ 283481 h 1057825"/>
                <a:gd name="connsiteX45" fmla="*/ 1128975 w 1677916"/>
                <a:gd name="connsiteY45" fmla="*/ 283481 h 1057825"/>
                <a:gd name="connsiteX46" fmla="*/ 1104792 w 1677916"/>
                <a:gd name="connsiteY46" fmla="*/ 307665 h 1057825"/>
                <a:gd name="connsiteX47" fmla="*/ 1073698 w 1677916"/>
                <a:gd name="connsiteY47" fmla="*/ 304210 h 1057825"/>
                <a:gd name="connsiteX48" fmla="*/ 1049515 w 1677916"/>
                <a:gd name="connsiteY48" fmla="*/ 304210 h 1057825"/>
                <a:gd name="connsiteX49" fmla="*/ 1039150 w 1677916"/>
                <a:gd name="connsiteY49" fmla="*/ 324939 h 1057825"/>
                <a:gd name="connsiteX50" fmla="*/ 1049515 w 1677916"/>
                <a:gd name="connsiteY50" fmla="*/ 345668 h 1057825"/>
                <a:gd name="connsiteX51" fmla="*/ 1018422 w 1677916"/>
                <a:gd name="connsiteY51" fmla="*/ 363035 h 1057825"/>
                <a:gd name="connsiteX52" fmla="*/ 1018422 w 1677916"/>
                <a:gd name="connsiteY52" fmla="*/ 373399 h 1057825"/>
                <a:gd name="connsiteX53" fmla="*/ 987422 w 1677916"/>
                <a:gd name="connsiteY53" fmla="*/ 390673 h 1057825"/>
                <a:gd name="connsiteX54" fmla="*/ 911416 w 1677916"/>
                <a:gd name="connsiteY54" fmla="*/ 390673 h 1057825"/>
                <a:gd name="connsiteX55" fmla="*/ 873413 w 1677916"/>
                <a:gd name="connsiteY55" fmla="*/ 414857 h 1057825"/>
                <a:gd name="connsiteX56" fmla="*/ 811320 w 1677916"/>
                <a:gd name="connsiteY56" fmla="*/ 407948 h 1057825"/>
                <a:gd name="connsiteX57" fmla="*/ 769862 w 1677916"/>
                <a:gd name="connsiteY57" fmla="*/ 387219 h 1057825"/>
                <a:gd name="connsiteX58" fmla="*/ 721588 w 1677916"/>
                <a:gd name="connsiteY58" fmla="*/ 383764 h 1057825"/>
                <a:gd name="connsiteX59" fmla="*/ 628308 w 1677916"/>
                <a:gd name="connsiteY59" fmla="*/ 380309 h 1057825"/>
                <a:gd name="connsiteX60" fmla="*/ 617944 w 1677916"/>
                <a:gd name="connsiteY60" fmla="*/ 366490 h 1057825"/>
                <a:gd name="connsiteX61" fmla="*/ 607673 w 1677916"/>
                <a:gd name="connsiteY61" fmla="*/ 342213 h 1057825"/>
                <a:gd name="connsiteX62" fmla="*/ 569670 w 1677916"/>
                <a:gd name="connsiteY62" fmla="*/ 321484 h 1057825"/>
                <a:gd name="connsiteX63" fmla="*/ 552396 w 1677916"/>
                <a:gd name="connsiteY63" fmla="*/ 304210 h 1057825"/>
                <a:gd name="connsiteX64" fmla="*/ 493664 w 1677916"/>
                <a:gd name="connsiteY64" fmla="*/ 300755 h 1057825"/>
                <a:gd name="connsiteX65" fmla="*/ 479845 w 1677916"/>
                <a:gd name="connsiteY65" fmla="*/ 293845 h 1057825"/>
                <a:gd name="connsiteX66" fmla="*/ 473028 w 1677916"/>
                <a:gd name="connsiteY66" fmla="*/ 273117 h 1057825"/>
                <a:gd name="connsiteX67" fmla="*/ 483300 w 1677916"/>
                <a:gd name="connsiteY67" fmla="*/ 259297 h 1057825"/>
                <a:gd name="connsiteX68" fmla="*/ 483300 w 1677916"/>
                <a:gd name="connsiteY68" fmla="*/ 245478 h 1057825"/>
                <a:gd name="connsiteX69" fmla="*/ 469574 w 1677916"/>
                <a:gd name="connsiteY69" fmla="*/ 224749 h 1057825"/>
                <a:gd name="connsiteX70" fmla="*/ 445390 w 1677916"/>
                <a:gd name="connsiteY70" fmla="*/ 200566 h 1057825"/>
                <a:gd name="connsiteX71" fmla="*/ 417752 w 1677916"/>
                <a:gd name="connsiteY71" fmla="*/ 197111 h 1057825"/>
                <a:gd name="connsiteX72" fmla="*/ 400478 w 1677916"/>
                <a:gd name="connsiteY72" fmla="*/ 179743 h 1057825"/>
                <a:gd name="connsiteX73" fmla="*/ 393568 w 1677916"/>
                <a:gd name="connsiteY73" fmla="*/ 162469 h 1057825"/>
                <a:gd name="connsiteX74" fmla="*/ 365930 w 1677916"/>
                <a:gd name="connsiteY74" fmla="*/ 162469 h 1057825"/>
                <a:gd name="connsiteX75" fmla="*/ 362475 w 1677916"/>
                <a:gd name="connsiteY75" fmla="*/ 179743 h 1057825"/>
                <a:gd name="connsiteX76" fmla="*/ 341839 w 1677916"/>
                <a:gd name="connsiteY76" fmla="*/ 179743 h 1057825"/>
                <a:gd name="connsiteX77" fmla="*/ 334930 w 1677916"/>
                <a:gd name="connsiteY77" fmla="*/ 204021 h 1057825"/>
                <a:gd name="connsiteX78" fmla="*/ 334930 w 1677916"/>
                <a:gd name="connsiteY78" fmla="*/ 228204 h 1057825"/>
                <a:gd name="connsiteX79" fmla="*/ 317656 w 1677916"/>
                <a:gd name="connsiteY79" fmla="*/ 231659 h 1057825"/>
                <a:gd name="connsiteX80" fmla="*/ 293472 w 1677916"/>
                <a:gd name="connsiteY80" fmla="*/ 231659 h 1057825"/>
                <a:gd name="connsiteX81" fmla="*/ 262378 w 1677916"/>
                <a:gd name="connsiteY81" fmla="*/ 228204 h 1057825"/>
                <a:gd name="connsiteX82" fmla="*/ 245105 w 1677916"/>
                <a:gd name="connsiteY82" fmla="*/ 269662 h 1057825"/>
                <a:gd name="connsiteX83" fmla="*/ 238195 w 1677916"/>
                <a:gd name="connsiteY83" fmla="*/ 293845 h 1057825"/>
                <a:gd name="connsiteX84" fmla="*/ 207195 w 1677916"/>
                <a:gd name="connsiteY84" fmla="*/ 293845 h 1057825"/>
                <a:gd name="connsiteX85" fmla="*/ 186466 w 1677916"/>
                <a:gd name="connsiteY85" fmla="*/ 304210 h 1057825"/>
                <a:gd name="connsiteX86" fmla="*/ 189921 w 1677916"/>
                <a:gd name="connsiteY86" fmla="*/ 335303 h 1057825"/>
                <a:gd name="connsiteX87" fmla="*/ 200286 w 1677916"/>
                <a:gd name="connsiteY87" fmla="*/ 363035 h 1057825"/>
                <a:gd name="connsiteX88" fmla="*/ 186466 w 1677916"/>
                <a:gd name="connsiteY88" fmla="*/ 376854 h 1057825"/>
                <a:gd name="connsiteX89" fmla="*/ 186466 w 1677916"/>
                <a:gd name="connsiteY89" fmla="*/ 394128 h 1057825"/>
                <a:gd name="connsiteX90" fmla="*/ 176102 w 1677916"/>
                <a:gd name="connsiteY90" fmla="*/ 401038 h 1057825"/>
                <a:gd name="connsiteX91" fmla="*/ 131189 w 1677916"/>
                <a:gd name="connsiteY91" fmla="*/ 421767 h 1057825"/>
                <a:gd name="connsiteX92" fmla="*/ 124280 w 1677916"/>
                <a:gd name="connsiteY92" fmla="*/ 435586 h 1057825"/>
                <a:gd name="connsiteX93" fmla="*/ 89732 w 1677916"/>
                <a:gd name="connsiteY93" fmla="*/ 435586 h 1057825"/>
                <a:gd name="connsiteX94" fmla="*/ 82822 w 1677916"/>
                <a:gd name="connsiteY94" fmla="*/ 452860 h 1057825"/>
                <a:gd name="connsiteX95" fmla="*/ 55277 w 1677916"/>
                <a:gd name="connsiteY95" fmla="*/ 459770 h 1057825"/>
                <a:gd name="connsiteX96" fmla="*/ 55277 w 1677916"/>
                <a:gd name="connsiteY96" fmla="*/ 449405 h 1057825"/>
                <a:gd name="connsiteX97" fmla="*/ 31093 w 1677916"/>
                <a:gd name="connsiteY97" fmla="*/ 449405 h 1057825"/>
                <a:gd name="connsiteX98" fmla="*/ 27639 w 1677916"/>
                <a:gd name="connsiteY98" fmla="*/ 459770 h 1057825"/>
                <a:gd name="connsiteX99" fmla="*/ 6910 w 1677916"/>
                <a:gd name="connsiteY99" fmla="*/ 473589 h 1057825"/>
                <a:gd name="connsiteX100" fmla="*/ 3455 w 1677916"/>
                <a:gd name="connsiteY100" fmla="*/ 490863 h 1057825"/>
                <a:gd name="connsiteX101" fmla="*/ 0 w 1677916"/>
                <a:gd name="connsiteY101" fmla="*/ 501227 h 1057825"/>
                <a:gd name="connsiteX102" fmla="*/ 3455 w 1677916"/>
                <a:gd name="connsiteY102" fmla="*/ 515047 h 1057825"/>
                <a:gd name="connsiteX103" fmla="*/ 13819 w 1677916"/>
                <a:gd name="connsiteY103" fmla="*/ 518501 h 1057825"/>
                <a:gd name="connsiteX104" fmla="*/ 34548 w 1677916"/>
                <a:gd name="connsiteY104" fmla="*/ 515047 h 1057825"/>
                <a:gd name="connsiteX105" fmla="*/ 34548 w 1677916"/>
                <a:gd name="connsiteY105" fmla="*/ 549688 h 1057825"/>
                <a:gd name="connsiteX106" fmla="*/ 34548 w 1677916"/>
                <a:gd name="connsiteY106" fmla="*/ 563507 h 1057825"/>
                <a:gd name="connsiteX107" fmla="*/ 65641 w 1677916"/>
                <a:gd name="connsiteY107" fmla="*/ 573872 h 1057825"/>
                <a:gd name="connsiteX108" fmla="*/ 65641 w 1677916"/>
                <a:gd name="connsiteY108" fmla="*/ 591146 h 1057825"/>
                <a:gd name="connsiteX109" fmla="*/ 100096 w 1677916"/>
                <a:gd name="connsiteY109" fmla="*/ 604965 h 1057825"/>
                <a:gd name="connsiteX110" fmla="*/ 111207 w 1677916"/>
                <a:gd name="connsiteY110" fmla="*/ 626254 h 1057825"/>
                <a:gd name="connsiteX111" fmla="*/ 139219 w 1677916"/>
                <a:gd name="connsiteY111" fmla="*/ 648010 h 1057825"/>
                <a:gd name="connsiteX112" fmla="*/ 157894 w 1677916"/>
                <a:gd name="connsiteY112" fmla="*/ 641847 h 1057825"/>
                <a:gd name="connsiteX113" fmla="*/ 173394 w 1677916"/>
                <a:gd name="connsiteY113" fmla="*/ 628588 h 1057825"/>
                <a:gd name="connsiteX114" fmla="*/ 172647 w 1677916"/>
                <a:gd name="connsiteY114" fmla="*/ 642968 h 1057825"/>
                <a:gd name="connsiteX115" fmla="*/ 145008 w 1677916"/>
                <a:gd name="connsiteY115" fmla="*/ 656787 h 1057825"/>
                <a:gd name="connsiteX116" fmla="*/ 145008 w 1677916"/>
                <a:gd name="connsiteY116" fmla="*/ 674061 h 1057825"/>
                <a:gd name="connsiteX117" fmla="*/ 165737 w 1677916"/>
                <a:gd name="connsiteY117" fmla="*/ 687974 h 1057825"/>
                <a:gd name="connsiteX118" fmla="*/ 162283 w 1677916"/>
                <a:gd name="connsiteY118" fmla="*/ 701793 h 1057825"/>
                <a:gd name="connsiteX119" fmla="*/ 145008 w 1677916"/>
                <a:gd name="connsiteY119" fmla="*/ 705248 h 1057825"/>
                <a:gd name="connsiteX120" fmla="*/ 138099 w 1677916"/>
                <a:gd name="connsiteY120" fmla="*/ 722522 h 1057825"/>
                <a:gd name="connsiteX121" fmla="*/ 138099 w 1677916"/>
                <a:gd name="connsiteY121" fmla="*/ 736341 h 1057825"/>
                <a:gd name="connsiteX122" fmla="*/ 173394 w 1677916"/>
                <a:gd name="connsiteY122" fmla="*/ 766127 h 1057825"/>
                <a:gd name="connsiteX123" fmla="*/ 203553 w 1677916"/>
                <a:gd name="connsiteY123" fmla="*/ 794886 h 1057825"/>
                <a:gd name="connsiteX124" fmla="*/ 228111 w 1677916"/>
                <a:gd name="connsiteY124" fmla="*/ 776678 h 1057825"/>
                <a:gd name="connsiteX125" fmla="*/ 250240 w 1677916"/>
                <a:gd name="connsiteY125" fmla="*/ 798808 h 1057825"/>
                <a:gd name="connsiteX126" fmla="*/ 278906 w 1677916"/>
                <a:gd name="connsiteY126" fmla="*/ 808145 h 1057825"/>
                <a:gd name="connsiteX127" fmla="*/ 296927 w 1677916"/>
                <a:gd name="connsiteY127" fmla="*/ 824485 h 1057825"/>
                <a:gd name="connsiteX128" fmla="*/ 331381 w 1677916"/>
                <a:gd name="connsiteY128" fmla="*/ 840265 h 1057825"/>
                <a:gd name="connsiteX129" fmla="*/ 358833 w 1677916"/>
                <a:gd name="connsiteY129" fmla="*/ 846708 h 1057825"/>
                <a:gd name="connsiteX130" fmla="*/ 397023 w 1677916"/>
                <a:gd name="connsiteY130" fmla="*/ 843440 h 1057825"/>
                <a:gd name="connsiteX131" fmla="*/ 424661 w 1677916"/>
                <a:gd name="connsiteY131" fmla="*/ 843440 h 1057825"/>
                <a:gd name="connsiteX132" fmla="*/ 431571 w 1677916"/>
                <a:gd name="connsiteY132" fmla="*/ 843440 h 1057825"/>
                <a:gd name="connsiteX133" fmla="*/ 441936 w 1677916"/>
                <a:gd name="connsiteY133" fmla="*/ 833076 h 1057825"/>
                <a:gd name="connsiteX134" fmla="*/ 459209 w 1677916"/>
                <a:gd name="connsiteY134" fmla="*/ 833076 h 1057825"/>
                <a:gd name="connsiteX135" fmla="*/ 479845 w 1677916"/>
                <a:gd name="connsiteY135" fmla="*/ 839985 h 1057825"/>
                <a:gd name="connsiteX136" fmla="*/ 504028 w 1677916"/>
                <a:gd name="connsiteY136" fmla="*/ 843440 h 1057825"/>
                <a:gd name="connsiteX137" fmla="*/ 521303 w 1677916"/>
                <a:gd name="connsiteY137" fmla="*/ 839985 h 1057825"/>
                <a:gd name="connsiteX138" fmla="*/ 538577 w 1677916"/>
                <a:gd name="connsiteY138" fmla="*/ 815802 h 1057825"/>
                <a:gd name="connsiteX139" fmla="*/ 559306 w 1677916"/>
                <a:gd name="connsiteY139" fmla="*/ 815802 h 1057825"/>
                <a:gd name="connsiteX140" fmla="*/ 569670 w 1677916"/>
                <a:gd name="connsiteY140" fmla="*/ 801982 h 1057825"/>
                <a:gd name="connsiteX141" fmla="*/ 588158 w 1677916"/>
                <a:gd name="connsiteY141" fmla="*/ 835597 h 1057825"/>
                <a:gd name="connsiteX142" fmla="*/ 608420 w 1677916"/>
                <a:gd name="connsiteY142" fmla="*/ 836344 h 1057825"/>
                <a:gd name="connsiteX143" fmla="*/ 624853 w 1677916"/>
                <a:gd name="connsiteY143" fmla="*/ 822711 h 1057825"/>
                <a:gd name="connsiteX144" fmla="*/ 652492 w 1677916"/>
                <a:gd name="connsiteY144" fmla="*/ 826166 h 1057825"/>
                <a:gd name="connsiteX145" fmla="*/ 666311 w 1677916"/>
                <a:gd name="connsiteY145" fmla="*/ 829621 h 1057825"/>
                <a:gd name="connsiteX146" fmla="*/ 676675 w 1677916"/>
                <a:gd name="connsiteY146" fmla="*/ 846988 h 1057825"/>
                <a:gd name="connsiteX147" fmla="*/ 690495 w 1677916"/>
                <a:gd name="connsiteY147" fmla="*/ 857353 h 1057825"/>
                <a:gd name="connsiteX148" fmla="*/ 687040 w 1677916"/>
                <a:gd name="connsiteY148" fmla="*/ 898811 h 1057825"/>
                <a:gd name="connsiteX149" fmla="*/ 659402 w 1677916"/>
                <a:gd name="connsiteY149" fmla="*/ 936813 h 1057825"/>
                <a:gd name="connsiteX150" fmla="*/ 659402 w 1677916"/>
                <a:gd name="connsiteY150" fmla="*/ 943723 h 1057825"/>
                <a:gd name="connsiteX151" fmla="*/ 693950 w 1677916"/>
                <a:gd name="connsiteY151" fmla="*/ 954087 h 1057825"/>
                <a:gd name="connsiteX152" fmla="*/ 693950 w 1677916"/>
                <a:gd name="connsiteY152" fmla="*/ 978271 h 1057825"/>
                <a:gd name="connsiteX153" fmla="*/ 711224 w 1677916"/>
                <a:gd name="connsiteY153" fmla="*/ 985181 h 1057825"/>
                <a:gd name="connsiteX154" fmla="*/ 711224 w 1677916"/>
                <a:gd name="connsiteY154" fmla="*/ 985181 h 1057825"/>
                <a:gd name="connsiteX155" fmla="*/ 711224 w 1677916"/>
                <a:gd name="connsiteY155" fmla="*/ 1012913 h 1057825"/>
                <a:gd name="connsiteX156" fmla="*/ 725043 w 1677916"/>
                <a:gd name="connsiteY156" fmla="*/ 1016367 h 1057825"/>
                <a:gd name="connsiteX157" fmla="*/ 725043 w 1677916"/>
                <a:gd name="connsiteY157" fmla="*/ 1026732 h 1057825"/>
                <a:gd name="connsiteX158" fmla="*/ 738769 w 1677916"/>
                <a:gd name="connsiteY158" fmla="*/ 1026732 h 1057825"/>
                <a:gd name="connsiteX159" fmla="*/ 752588 w 1677916"/>
                <a:gd name="connsiteY159" fmla="*/ 1026732 h 1057825"/>
                <a:gd name="connsiteX160" fmla="*/ 759497 w 1677916"/>
                <a:gd name="connsiteY160" fmla="*/ 1033641 h 1057825"/>
                <a:gd name="connsiteX161" fmla="*/ 773317 w 1677916"/>
                <a:gd name="connsiteY161" fmla="*/ 1033641 h 1057825"/>
                <a:gd name="connsiteX162" fmla="*/ 776772 w 1677916"/>
                <a:gd name="connsiteY162" fmla="*/ 1019822 h 1057825"/>
                <a:gd name="connsiteX163" fmla="*/ 766407 w 1677916"/>
                <a:gd name="connsiteY163" fmla="*/ 1016367 h 1057825"/>
                <a:gd name="connsiteX164" fmla="*/ 766407 w 1677916"/>
                <a:gd name="connsiteY164" fmla="*/ 1002455 h 1057825"/>
                <a:gd name="connsiteX165" fmla="*/ 787136 w 1677916"/>
                <a:gd name="connsiteY165" fmla="*/ 1002455 h 1057825"/>
                <a:gd name="connsiteX166" fmla="*/ 790591 w 1677916"/>
                <a:gd name="connsiteY166" fmla="*/ 995545 h 1057825"/>
                <a:gd name="connsiteX167" fmla="*/ 849323 w 1677916"/>
                <a:gd name="connsiteY167" fmla="*/ 995545 h 1057825"/>
                <a:gd name="connsiteX168" fmla="*/ 863142 w 1677916"/>
                <a:gd name="connsiteY168" fmla="*/ 981726 h 1057825"/>
                <a:gd name="connsiteX169" fmla="*/ 876868 w 1677916"/>
                <a:gd name="connsiteY169" fmla="*/ 981726 h 1057825"/>
                <a:gd name="connsiteX170" fmla="*/ 887232 w 1677916"/>
                <a:gd name="connsiteY170" fmla="*/ 988635 h 1057825"/>
                <a:gd name="connsiteX171" fmla="*/ 907961 w 1677916"/>
                <a:gd name="connsiteY171" fmla="*/ 992090 h 1057825"/>
                <a:gd name="connsiteX172" fmla="*/ 911416 w 1677916"/>
                <a:gd name="connsiteY172" fmla="*/ 1019822 h 1057825"/>
                <a:gd name="connsiteX173" fmla="*/ 925235 w 1677916"/>
                <a:gd name="connsiteY173" fmla="*/ 1026732 h 1057825"/>
                <a:gd name="connsiteX174" fmla="*/ 942509 w 1677916"/>
                <a:gd name="connsiteY174" fmla="*/ 1026732 h 1057825"/>
                <a:gd name="connsiteX175" fmla="*/ 959783 w 1677916"/>
                <a:gd name="connsiteY175" fmla="*/ 1019822 h 1057825"/>
                <a:gd name="connsiteX176" fmla="*/ 977057 w 1677916"/>
                <a:gd name="connsiteY176" fmla="*/ 1026732 h 1057825"/>
                <a:gd name="connsiteX177" fmla="*/ 994331 w 1677916"/>
                <a:gd name="connsiteY177" fmla="*/ 1026732 h 1057825"/>
                <a:gd name="connsiteX178" fmla="*/ 994331 w 1677916"/>
                <a:gd name="connsiteY178" fmla="*/ 1037096 h 1057825"/>
                <a:gd name="connsiteX179" fmla="*/ 994331 w 1677916"/>
                <a:gd name="connsiteY179" fmla="*/ 1050915 h 1057825"/>
                <a:gd name="connsiteX180" fmla="*/ 1008057 w 1677916"/>
                <a:gd name="connsiteY180" fmla="*/ 1057825 h 1057825"/>
                <a:gd name="connsiteX181" fmla="*/ 1004695 w 1677916"/>
                <a:gd name="connsiteY181" fmla="*/ 1044006 h 1057825"/>
                <a:gd name="connsiteX182" fmla="*/ 1011512 w 1677916"/>
                <a:gd name="connsiteY182" fmla="*/ 1030187 h 1057825"/>
                <a:gd name="connsiteX183" fmla="*/ 1032241 w 1677916"/>
                <a:gd name="connsiteY183" fmla="*/ 1026732 h 1057825"/>
                <a:gd name="connsiteX184" fmla="*/ 1066789 w 1677916"/>
                <a:gd name="connsiteY184" fmla="*/ 1016367 h 1057825"/>
                <a:gd name="connsiteX185" fmla="*/ 1090972 w 1677916"/>
                <a:gd name="connsiteY185" fmla="*/ 1009458 h 1057825"/>
                <a:gd name="connsiteX186" fmla="*/ 1090972 w 1677916"/>
                <a:gd name="connsiteY186" fmla="*/ 985181 h 1057825"/>
                <a:gd name="connsiteX187" fmla="*/ 1101337 w 1677916"/>
                <a:gd name="connsiteY187" fmla="*/ 981726 h 1057825"/>
                <a:gd name="connsiteX188" fmla="*/ 1111701 w 1677916"/>
                <a:gd name="connsiteY188" fmla="*/ 995545 h 1057825"/>
                <a:gd name="connsiteX189" fmla="*/ 1132430 w 1677916"/>
                <a:gd name="connsiteY189" fmla="*/ 995545 h 1057825"/>
                <a:gd name="connsiteX190" fmla="*/ 1170339 w 1677916"/>
                <a:gd name="connsiteY190" fmla="*/ 988635 h 1057825"/>
                <a:gd name="connsiteX191" fmla="*/ 1194523 w 1677916"/>
                <a:gd name="connsiteY191" fmla="*/ 967907 h 1057825"/>
                <a:gd name="connsiteX192" fmla="*/ 1232526 w 1677916"/>
                <a:gd name="connsiteY192" fmla="*/ 936813 h 1057825"/>
                <a:gd name="connsiteX193" fmla="*/ 1249800 w 1677916"/>
                <a:gd name="connsiteY193" fmla="*/ 905720 h 1057825"/>
                <a:gd name="connsiteX194" fmla="*/ 1273984 w 1677916"/>
                <a:gd name="connsiteY194" fmla="*/ 871172 h 1057825"/>
                <a:gd name="connsiteX195" fmla="*/ 1308439 w 1677916"/>
                <a:gd name="connsiteY195" fmla="*/ 829621 h 1057825"/>
                <a:gd name="connsiteX196" fmla="*/ 1322258 w 1677916"/>
                <a:gd name="connsiteY196" fmla="*/ 798528 h 1057825"/>
                <a:gd name="connsiteX197" fmla="*/ 1322258 w 1677916"/>
                <a:gd name="connsiteY197" fmla="*/ 777799 h 1057825"/>
                <a:gd name="connsiteX198" fmla="*/ 1304984 w 1677916"/>
                <a:gd name="connsiteY198" fmla="*/ 774344 h 1057825"/>
                <a:gd name="connsiteX199" fmla="*/ 1280800 w 1677916"/>
                <a:gd name="connsiteY199" fmla="*/ 770889 h 1057825"/>
                <a:gd name="connsiteX200" fmla="*/ 1284255 w 1677916"/>
                <a:gd name="connsiteY200" fmla="*/ 767434 h 1057825"/>
                <a:gd name="connsiteX201" fmla="*/ 1294620 w 1677916"/>
                <a:gd name="connsiteY201" fmla="*/ 760525 h 1057825"/>
                <a:gd name="connsiteX202" fmla="*/ 1311894 w 1677916"/>
                <a:gd name="connsiteY202" fmla="*/ 757070 h 1057825"/>
                <a:gd name="connsiteX203" fmla="*/ 1325713 w 1677916"/>
                <a:gd name="connsiteY203" fmla="*/ 753615 h 1057825"/>
                <a:gd name="connsiteX204" fmla="*/ 1318803 w 1677916"/>
                <a:gd name="connsiteY204" fmla="*/ 743251 h 1057825"/>
                <a:gd name="connsiteX205" fmla="*/ 1298075 w 1677916"/>
                <a:gd name="connsiteY205" fmla="*/ 736341 h 1057825"/>
                <a:gd name="connsiteX206" fmla="*/ 1304984 w 1677916"/>
                <a:gd name="connsiteY206" fmla="*/ 722522 h 1057825"/>
                <a:gd name="connsiteX207" fmla="*/ 1322258 w 1677916"/>
                <a:gd name="connsiteY207" fmla="*/ 729431 h 1057825"/>
                <a:gd name="connsiteX208" fmla="*/ 1325713 w 1677916"/>
                <a:gd name="connsiteY208" fmla="*/ 722522 h 1057825"/>
                <a:gd name="connsiteX209" fmla="*/ 1298075 w 1677916"/>
                <a:gd name="connsiteY209" fmla="*/ 701793 h 1057825"/>
                <a:gd name="connsiteX210" fmla="*/ 1294620 w 1677916"/>
                <a:gd name="connsiteY210" fmla="*/ 687974 h 1057825"/>
                <a:gd name="connsiteX211" fmla="*/ 1280800 w 1677916"/>
                <a:gd name="connsiteY211" fmla="*/ 653332 h 1057825"/>
                <a:gd name="connsiteX212" fmla="*/ 1270529 w 1677916"/>
                <a:gd name="connsiteY212" fmla="*/ 642968 h 1057825"/>
                <a:gd name="connsiteX213" fmla="*/ 1253255 w 1677916"/>
                <a:gd name="connsiteY213" fmla="*/ 636058 h 1057825"/>
                <a:gd name="connsiteX214" fmla="*/ 1260165 w 1677916"/>
                <a:gd name="connsiteY214" fmla="*/ 618784 h 1057825"/>
                <a:gd name="connsiteX215" fmla="*/ 1277345 w 1677916"/>
                <a:gd name="connsiteY215" fmla="*/ 594601 h 1057825"/>
                <a:gd name="connsiteX216" fmla="*/ 1294620 w 1677916"/>
                <a:gd name="connsiteY216" fmla="*/ 587691 h 1057825"/>
                <a:gd name="connsiteX217" fmla="*/ 1298075 w 1677916"/>
                <a:gd name="connsiteY217" fmla="*/ 577327 h 1057825"/>
                <a:gd name="connsiteX218" fmla="*/ 1311894 w 1677916"/>
                <a:gd name="connsiteY218" fmla="*/ 570417 h 1057825"/>
                <a:gd name="connsiteX219" fmla="*/ 1332622 w 1677916"/>
                <a:gd name="connsiteY219" fmla="*/ 570417 h 1057825"/>
                <a:gd name="connsiteX220" fmla="*/ 1342987 w 1677916"/>
                <a:gd name="connsiteY220" fmla="*/ 566962 h 1057825"/>
                <a:gd name="connsiteX221" fmla="*/ 1336077 w 1677916"/>
                <a:gd name="connsiteY221" fmla="*/ 553143 h 1057825"/>
                <a:gd name="connsiteX222" fmla="*/ 1308439 w 1677916"/>
                <a:gd name="connsiteY222" fmla="*/ 546233 h 1057825"/>
                <a:gd name="connsiteX223" fmla="*/ 1294620 w 1677916"/>
                <a:gd name="connsiteY223" fmla="*/ 539324 h 1057825"/>
                <a:gd name="connsiteX224" fmla="*/ 1280800 w 1677916"/>
                <a:gd name="connsiteY224" fmla="*/ 542778 h 1057825"/>
                <a:gd name="connsiteX225" fmla="*/ 1267075 w 1677916"/>
                <a:gd name="connsiteY225" fmla="*/ 556598 h 1057825"/>
                <a:gd name="connsiteX226" fmla="*/ 1246345 w 1677916"/>
                <a:gd name="connsiteY226" fmla="*/ 560052 h 1057825"/>
                <a:gd name="connsiteX227" fmla="*/ 1242891 w 1677916"/>
                <a:gd name="connsiteY227" fmla="*/ 546233 h 1057825"/>
                <a:gd name="connsiteX228" fmla="*/ 1242891 w 1677916"/>
                <a:gd name="connsiteY228" fmla="*/ 535869 h 1057825"/>
                <a:gd name="connsiteX229" fmla="*/ 1218707 w 1677916"/>
                <a:gd name="connsiteY229" fmla="*/ 532414 h 1057825"/>
                <a:gd name="connsiteX230" fmla="*/ 1208342 w 1677916"/>
                <a:gd name="connsiteY230" fmla="*/ 508137 h 1057825"/>
                <a:gd name="connsiteX231" fmla="*/ 1215253 w 1677916"/>
                <a:gd name="connsiteY231" fmla="*/ 494318 h 1057825"/>
                <a:gd name="connsiteX232" fmla="*/ 1249800 w 1677916"/>
                <a:gd name="connsiteY232" fmla="*/ 494318 h 1057825"/>
                <a:gd name="connsiteX233" fmla="*/ 1256710 w 1677916"/>
                <a:gd name="connsiteY233" fmla="*/ 477044 h 1057825"/>
                <a:gd name="connsiteX234" fmla="*/ 1294620 w 1677916"/>
                <a:gd name="connsiteY234" fmla="*/ 445950 h 1057825"/>
                <a:gd name="connsiteX235" fmla="*/ 1315348 w 1677916"/>
                <a:gd name="connsiteY235" fmla="*/ 442496 h 1057825"/>
                <a:gd name="connsiteX236" fmla="*/ 1329167 w 1677916"/>
                <a:gd name="connsiteY236" fmla="*/ 442496 h 1057825"/>
                <a:gd name="connsiteX237" fmla="*/ 1332622 w 1677916"/>
                <a:gd name="connsiteY237" fmla="*/ 459770 h 1057825"/>
                <a:gd name="connsiteX238" fmla="*/ 1315348 w 1677916"/>
                <a:gd name="connsiteY238" fmla="*/ 470134 h 1057825"/>
                <a:gd name="connsiteX239" fmla="*/ 1308439 w 1677916"/>
                <a:gd name="connsiteY239" fmla="*/ 487408 h 1057825"/>
                <a:gd name="connsiteX240" fmla="*/ 1311894 w 1677916"/>
                <a:gd name="connsiteY240" fmla="*/ 508137 h 1057825"/>
                <a:gd name="connsiteX241" fmla="*/ 1360261 w 1677916"/>
                <a:gd name="connsiteY241" fmla="*/ 477044 h 1057825"/>
                <a:gd name="connsiteX242" fmla="*/ 1377535 w 1677916"/>
                <a:gd name="connsiteY242" fmla="*/ 473589 h 1057825"/>
                <a:gd name="connsiteX243" fmla="*/ 1394809 w 1677916"/>
                <a:gd name="connsiteY243" fmla="*/ 470134 h 1057825"/>
                <a:gd name="connsiteX244" fmla="*/ 1411989 w 1677916"/>
                <a:gd name="connsiteY244" fmla="*/ 452860 h 1057825"/>
                <a:gd name="connsiteX245" fmla="*/ 1432719 w 1677916"/>
                <a:gd name="connsiteY245" fmla="*/ 439041 h 1057825"/>
                <a:gd name="connsiteX246" fmla="*/ 1456902 w 1677916"/>
                <a:gd name="connsiteY246" fmla="*/ 414857 h 1057825"/>
                <a:gd name="connsiteX247" fmla="*/ 1463812 w 1677916"/>
                <a:gd name="connsiteY247" fmla="*/ 411402 h 1057825"/>
                <a:gd name="connsiteX248" fmla="*/ 1481086 w 1677916"/>
                <a:gd name="connsiteY248" fmla="*/ 418312 h 1057825"/>
                <a:gd name="connsiteX249" fmla="*/ 1498360 w 1677916"/>
                <a:gd name="connsiteY249" fmla="*/ 414857 h 1057825"/>
                <a:gd name="connsiteX250" fmla="*/ 1501814 w 1677916"/>
                <a:gd name="connsiteY250" fmla="*/ 401038 h 1057825"/>
                <a:gd name="connsiteX251" fmla="*/ 1519089 w 1677916"/>
                <a:gd name="connsiteY251" fmla="*/ 401038 h 1057825"/>
                <a:gd name="connsiteX252" fmla="*/ 1546634 w 1677916"/>
                <a:gd name="connsiteY252" fmla="*/ 373399 h 1057825"/>
                <a:gd name="connsiteX253" fmla="*/ 1563908 w 1677916"/>
                <a:gd name="connsiteY253" fmla="*/ 387219 h 1057825"/>
                <a:gd name="connsiteX254" fmla="*/ 1577727 w 1677916"/>
                <a:gd name="connsiteY254" fmla="*/ 369945 h 1057825"/>
                <a:gd name="connsiteX255" fmla="*/ 1577727 w 1677916"/>
                <a:gd name="connsiteY255" fmla="*/ 307665 h 1057825"/>
                <a:gd name="connsiteX256" fmla="*/ 1601911 w 1677916"/>
                <a:gd name="connsiteY256" fmla="*/ 290391 h 105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1677916" h="1057825">
                  <a:moveTo>
                    <a:pt x="1601911" y="290391"/>
                  </a:moveTo>
                  <a:lnTo>
                    <a:pt x="1612275" y="300755"/>
                  </a:lnTo>
                  <a:lnTo>
                    <a:pt x="1633004" y="297300"/>
                  </a:lnTo>
                  <a:lnTo>
                    <a:pt x="1653733" y="259297"/>
                  </a:lnTo>
                  <a:lnTo>
                    <a:pt x="1664097" y="221294"/>
                  </a:lnTo>
                  <a:lnTo>
                    <a:pt x="1677917" y="214385"/>
                  </a:lnTo>
                  <a:lnTo>
                    <a:pt x="1674462" y="190108"/>
                  </a:lnTo>
                  <a:lnTo>
                    <a:pt x="1646823" y="193656"/>
                  </a:lnTo>
                  <a:lnTo>
                    <a:pt x="1622639" y="197111"/>
                  </a:lnTo>
                  <a:lnTo>
                    <a:pt x="1612275" y="210930"/>
                  </a:lnTo>
                  <a:lnTo>
                    <a:pt x="1574272" y="207475"/>
                  </a:lnTo>
                  <a:lnTo>
                    <a:pt x="1567363" y="172834"/>
                  </a:lnTo>
                  <a:lnTo>
                    <a:pt x="1556998" y="169379"/>
                  </a:lnTo>
                  <a:lnTo>
                    <a:pt x="1532908" y="155560"/>
                  </a:lnTo>
                  <a:lnTo>
                    <a:pt x="1515634" y="145195"/>
                  </a:lnTo>
                  <a:lnTo>
                    <a:pt x="1487995" y="145195"/>
                  </a:lnTo>
                  <a:lnTo>
                    <a:pt x="1469041" y="100283"/>
                  </a:lnTo>
                  <a:lnTo>
                    <a:pt x="1463812" y="89918"/>
                  </a:lnTo>
                  <a:lnTo>
                    <a:pt x="1449992" y="55370"/>
                  </a:lnTo>
                  <a:lnTo>
                    <a:pt x="1429264" y="20729"/>
                  </a:lnTo>
                  <a:lnTo>
                    <a:pt x="1377535" y="0"/>
                  </a:lnTo>
                  <a:lnTo>
                    <a:pt x="1346442" y="3455"/>
                  </a:lnTo>
                  <a:lnTo>
                    <a:pt x="1301529" y="6910"/>
                  </a:lnTo>
                  <a:lnTo>
                    <a:pt x="1277345" y="17274"/>
                  </a:lnTo>
                  <a:lnTo>
                    <a:pt x="1273984" y="31093"/>
                  </a:lnTo>
                  <a:lnTo>
                    <a:pt x="1294620" y="34548"/>
                  </a:lnTo>
                  <a:lnTo>
                    <a:pt x="1294620" y="58825"/>
                  </a:lnTo>
                  <a:lnTo>
                    <a:pt x="1277345" y="69190"/>
                  </a:lnTo>
                  <a:lnTo>
                    <a:pt x="1260165" y="100283"/>
                  </a:lnTo>
                  <a:lnTo>
                    <a:pt x="1253255" y="127921"/>
                  </a:lnTo>
                  <a:lnTo>
                    <a:pt x="1232526" y="131376"/>
                  </a:lnTo>
                  <a:lnTo>
                    <a:pt x="1215253" y="148650"/>
                  </a:lnTo>
                  <a:lnTo>
                    <a:pt x="1184159" y="131376"/>
                  </a:lnTo>
                  <a:lnTo>
                    <a:pt x="1173795" y="145195"/>
                  </a:lnTo>
                  <a:lnTo>
                    <a:pt x="1159975" y="176289"/>
                  </a:lnTo>
                  <a:lnTo>
                    <a:pt x="1153066" y="200566"/>
                  </a:lnTo>
                  <a:lnTo>
                    <a:pt x="1201433" y="204021"/>
                  </a:lnTo>
                  <a:lnTo>
                    <a:pt x="1215253" y="193656"/>
                  </a:lnTo>
                  <a:lnTo>
                    <a:pt x="1232526" y="197111"/>
                  </a:lnTo>
                  <a:lnTo>
                    <a:pt x="1267075" y="231659"/>
                  </a:lnTo>
                  <a:lnTo>
                    <a:pt x="1270529" y="248933"/>
                  </a:lnTo>
                  <a:lnTo>
                    <a:pt x="1242891" y="245478"/>
                  </a:lnTo>
                  <a:lnTo>
                    <a:pt x="1222162" y="245478"/>
                  </a:lnTo>
                  <a:lnTo>
                    <a:pt x="1187614" y="259297"/>
                  </a:lnTo>
                  <a:lnTo>
                    <a:pt x="1156520" y="283481"/>
                  </a:lnTo>
                  <a:lnTo>
                    <a:pt x="1128975" y="283481"/>
                  </a:lnTo>
                  <a:lnTo>
                    <a:pt x="1104792" y="307665"/>
                  </a:lnTo>
                  <a:lnTo>
                    <a:pt x="1073698" y="304210"/>
                  </a:lnTo>
                  <a:lnTo>
                    <a:pt x="1049515" y="304210"/>
                  </a:lnTo>
                  <a:lnTo>
                    <a:pt x="1039150" y="324939"/>
                  </a:lnTo>
                  <a:lnTo>
                    <a:pt x="1049515" y="345668"/>
                  </a:lnTo>
                  <a:lnTo>
                    <a:pt x="1018422" y="363035"/>
                  </a:lnTo>
                  <a:lnTo>
                    <a:pt x="1018422" y="373399"/>
                  </a:lnTo>
                  <a:lnTo>
                    <a:pt x="987422" y="390673"/>
                  </a:lnTo>
                  <a:lnTo>
                    <a:pt x="911416" y="390673"/>
                  </a:lnTo>
                  <a:lnTo>
                    <a:pt x="873413" y="414857"/>
                  </a:lnTo>
                  <a:lnTo>
                    <a:pt x="811320" y="407948"/>
                  </a:lnTo>
                  <a:lnTo>
                    <a:pt x="769862" y="387219"/>
                  </a:lnTo>
                  <a:lnTo>
                    <a:pt x="721588" y="383764"/>
                  </a:lnTo>
                  <a:lnTo>
                    <a:pt x="628308" y="380309"/>
                  </a:lnTo>
                  <a:lnTo>
                    <a:pt x="617944" y="366490"/>
                  </a:lnTo>
                  <a:lnTo>
                    <a:pt x="607673" y="342213"/>
                  </a:lnTo>
                  <a:lnTo>
                    <a:pt x="569670" y="321484"/>
                  </a:lnTo>
                  <a:lnTo>
                    <a:pt x="552396" y="304210"/>
                  </a:lnTo>
                  <a:lnTo>
                    <a:pt x="493664" y="300755"/>
                  </a:lnTo>
                  <a:lnTo>
                    <a:pt x="479845" y="293845"/>
                  </a:lnTo>
                  <a:lnTo>
                    <a:pt x="473028" y="273117"/>
                  </a:lnTo>
                  <a:lnTo>
                    <a:pt x="483300" y="259297"/>
                  </a:lnTo>
                  <a:lnTo>
                    <a:pt x="483300" y="245478"/>
                  </a:lnTo>
                  <a:lnTo>
                    <a:pt x="469574" y="224749"/>
                  </a:lnTo>
                  <a:lnTo>
                    <a:pt x="445390" y="200566"/>
                  </a:lnTo>
                  <a:lnTo>
                    <a:pt x="417752" y="197111"/>
                  </a:lnTo>
                  <a:lnTo>
                    <a:pt x="400478" y="179743"/>
                  </a:lnTo>
                  <a:lnTo>
                    <a:pt x="393568" y="162469"/>
                  </a:lnTo>
                  <a:lnTo>
                    <a:pt x="365930" y="162469"/>
                  </a:lnTo>
                  <a:lnTo>
                    <a:pt x="362475" y="179743"/>
                  </a:lnTo>
                  <a:lnTo>
                    <a:pt x="341839" y="179743"/>
                  </a:lnTo>
                  <a:lnTo>
                    <a:pt x="334930" y="204021"/>
                  </a:lnTo>
                  <a:lnTo>
                    <a:pt x="334930" y="228204"/>
                  </a:lnTo>
                  <a:lnTo>
                    <a:pt x="317656" y="231659"/>
                  </a:lnTo>
                  <a:lnTo>
                    <a:pt x="293472" y="231659"/>
                  </a:lnTo>
                  <a:lnTo>
                    <a:pt x="262378" y="228204"/>
                  </a:lnTo>
                  <a:lnTo>
                    <a:pt x="245105" y="269662"/>
                  </a:lnTo>
                  <a:lnTo>
                    <a:pt x="238195" y="293845"/>
                  </a:lnTo>
                  <a:lnTo>
                    <a:pt x="207195" y="293845"/>
                  </a:lnTo>
                  <a:lnTo>
                    <a:pt x="186466" y="304210"/>
                  </a:lnTo>
                  <a:lnTo>
                    <a:pt x="189921" y="335303"/>
                  </a:lnTo>
                  <a:lnTo>
                    <a:pt x="200286" y="363035"/>
                  </a:lnTo>
                  <a:lnTo>
                    <a:pt x="186466" y="376854"/>
                  </a:lnTo>
                  <a:lnTo>
                    <a:pt x="186466" y="394128"/>
                  </a:lnTo>
                  <a:lnTo>
                    <a:pt x="176102" y="401038"/>
                  </a:lnTo>
                  <a:lnTo>
                    <a:pt x="131189" y="421767"/>
                  </a:lnTo>
                  <a:lnTo>
                    <a:pt x="124280" y="435586"/>
                  </a:lnTo>
                  <a:lnTo>
                    <a:pt x="89732" y="435586"/>
                  </a:lnTo>
                  <a:lnTo>
                    <a:pt x="82822" y="452860"/>
                  </a:lnTo>
                  <a:lnTo>
                    <a:pt x="55277" y="459770"/>
                  </a:lnTo>
                  <a:lnTo>
                    <a:pt x="55277" y="449405"/>
                  </a:lnTo>
                  <a:lnTo>
                    <a:pt x="31093" y="449405"/>
                  </a:lnTo>
                  <a:lnTo>
                    <a:pt x="27639" y="459770"/>
                  </a:lnTo>
                  <a:lnTo>
                    <a:pt x="6910" y="473589"/>
                  </a:lnTo>
                  <a:lnTo>
                    <a:pt x="3455" y="490863"/>
                  </a:lnTo>
                  <a:lnTo>
                    <a:pt x="0" y="501227"/>
                  </a:lnTo>
                  <a:lnTo>
                    <a:pt x="3455" y="515047"/>
                  </a:lnTo>
                  <a:lnTo>
                    <a:pt x="13819" y="518501"/>
                  </a:lnTo>
                  <a:lnTo>
                    <a:pt x="34548" y="515047"/>
                  </a:lnTo>
                  <a:lnTo>
                    <a:pt x="34548" y="549688"/>
                  </a:lnTo>
                  <a:lnTo>
                    <a:pt x="34548" y="563507"/>
                  </a:lnTo>
                  <a:lnTo>
                    <a:pt x="65641" y="573872"/>
                  </a:lnTo>
                  <a:lnTo>
                    <a:pt x="65641" y="591146"/>
                  </a:lnTo>
                  <a:lnTo>
                    <a:pt x="100096" y="604965"/>
                  </a:lnTo>
                  <a:lnTo>
                    <a:pt x="111207" y="626254"/>
                  </a:lnTo>
                  <a:lnTo>
                    <a:pt x="139219" y="648010"/>
                  </a:lnTo>
                  <a:lnTo>
                    <a:pt x="157894" y="641847"/>
                  </a:lnTo>
                  <a:lnTo>
                    <a:pt x="173394" y="628588"/>
                  </a:lnTo>
                  <a:lnTo>
                    <a:pt x="172647" y="642968"/>
                  </a:lnTo>
                  <a:lnTo>
                    <a:pt x="145008" y="656787"/>
                  </a:lnTo>
                  <a:lnTo>
                    <a:pt x="145008" y="674061"/>
                  </a:lnTo>
                  <a:lnTo>
                    <a:pt x="165737" y="687974"/>
                  </a:lnTo>
                  <a:lnTo>
                    <a:pt x="162283" y="701793"/>
                  </a:lnTo>
                  <a:lnTo>
                    <a:pt x="145008" y="705248"/>
                  </a:lnTo>
                  <a:lnTo>
                    <a:pt x="138099" y="722522"/>
                  </a:lnTo>
                  <a:lnTo>
                    <a:pt x="138099" y="736341"/>
                  </a:lnTo>
                  <a:lnTo>
                    <a:pt x="173394" y="766127"/>
                  </a:lnTo>
                  <a:lnTo>
                    <a:pt x="203553" y="794886"/>
                  </a:lnTo>
                  <a:lnTo>
                    <a:pt x="228111" y="776678"/>
                  </a:lnTo>
                  <a:lnTo>
                    <a:pt x="250240" y="798808"/>
                  </a:lnTo>
                  <a:lnTo>
                    <a:pt x="278906" y="808145"/>
                  </a:lnTo>
                  <a:lnTo>
                    <a:pt x="296927" y="824485"/>
                  </a:lnTo>
                  <a:lnTo>
                    <a:pt x="331381" y="840265"/>
                  </a:lnTo>
                  <a:lnTo>
                    <a:pt x="358833" y="846708"/>
                  </a:lnTo>
                  <a:lnTo>
                    <a:pt x="397023" y="843440"/>
                  </a:lnTo>
                  <a:lnTo>
                    <a:pt x="424661" y="843440"/>
                  </a:lnTo>
                  <a:lnTo>
                    <a:pt x="431571" y="843440"/>
                  </a:lnTo>
                  <a:lnTo>
                    <a:pt x="441936" y="833076"/>
                  </a:lnTo>
                  <a:lnTo>
                    <a:pt x="459209" y="833076"/>
                  </a:lnTo>
                  <a:lnTo>
                    <a:pt x="479845" y="839985"/>
                  </a:lnTo>
                  <a:lnTo>
                    <a:pt x="504028" y="843440"/>
                  </a:lnTo>
                  <a:lnTo>
                    <a:pt x="521303" y="839985"/>
                  </a:lnTo>
                  <a:lnTo>
                    <a:pt x="538577" y="815802"/>
                  </a:lnTo>
                  <a:lnTo>
                    <a:pt x="559306" y="815802"/>
                  </a:lnTo>
                  <a:lnTo>
                    <a:pt x="569670" y="801982"/>
                  </a:lnTo>
                  <a:lnTo>
                    <a:pt x="588158" y="835597"/>
                  </a:lnTo>
                  <a:lnTo>
                    <a:pt x="608420" y="836344"/>
                  </a:lnTo>
                  <a:lnTo>
                    <a:pt x="624853" y="822711"/>
                  </a:lnTo>
                  <a:lnTo>
                    <a:pt x="652492" y="826166"/>
                  </a:lnTo>
                  <a:lnTo>
                    <a:pt x="666311" y="829621"/>
                  </a:lnTo>
                  <a:lnTo>
                    <a:pt x="676675" y="846988"/>
                  </a:lnTo>
                  <a:lnTo>
                    <a:pt x="690495" y="857353"/>
                  </a:lnTo>
                  <a:lnTo>
                    <a:pt x="687040" y="898811"/>
                  </a:lnTo>
                  <a:lnTo>
                    <a:pt x="659402" y="936813"/>
                  </a:lnTo>
                  <a:lnTo>
                    <a:pt x="659402" y="943723"/>
                  </a:lnTo>
                  <a:lnTo>
                    <a:pt x="693950" y="954087"/>
                  </a:lnTo>
                  <a:lnTo>
                    <a:pt x="693950" y="978271"/>
                  </a:lnTo>
                  <a:lnTo>
                    <a:pt x="711224" y="985181"/>
                  </a:lnTo>
                  <a:lnTo>
                    <a:pt x="711224" y="985181"/>
                  </a:lnTo>
                  <a:lnTo>
                    <a:pt x="711224" y="1012913"/>
                  </a:lnTo>
                  <a:lnTo>
                    <a:pt x="725043" y="1016367"/>
                  </a:lnTo>
                  <a:lnTo>
                    <a:pt x="725043" y="1026732"/>
                  </a:lnTo>
                  <a:lnTo>
                    <a:pt x="738769" y="1026732"/>
                  </a:lnTo>
                  <a:lnTo>
                    <a:pt x="752588" y="1026732"/>
                  </a:lnTo>
                  <a:lnTo>
                    <a:pt x="759497" y="1033641"/>
                  </a:lnTo>
                  <a:lnTo>
                    <a:pt x="773317" y="1033641"/>
                  </a:lnTo>
                  <a:lnTo>
                    <a:pt x="776772" y="1019822"/>
                  </a:lnTo>
                  <a:lnTo>
                    <a:pt x="766407" y="1016367"/>
                  </a:lnTo>
                  <a:lnTo>
                    <a:pt x="766407" y="1002455"/>
                  </a:lnTo>
                  <a:lnTo>
                    <a:pt x="787136" y="1002455"/>
                  </a:lnTo>
                  <a:lnTo>
                    <a:pt x="790591" y="995545"/>
                  </a:lnTo>
                  <a:lnTo>
                    <a:pt x="849323" y="995545"/>
                  </a:lnTo>
                  <a:lnTo>
                    <a:pt x="863142" y="981726"/>
                  </a:lnTo>
                  <a:lnTo>
                    <a:pt x="876868" y="981726"/>
                  </a:lnTo>
                  <a:lnTo>
                    <a:pt x="887232" y="988635"/>
                  </a:lnTo>
                  <a:lnTo>
                    <a:pt x="907961" y="992090"/>
                  </a:lnTo>
                  <a:lnTo>
                    <a:pt x="911416" y="1019822"/>
                  </a:lnTo>
                  <a:lnTo>
                    <a:pt x="925235" y="1026732"/>
                  </a:lnTo>
                  <a:lnTo>
                    <a:pt x="942509" y="1026732"/>
                  </a:lnTo>
                  <a:lnTo>
                    <a:pt x="959783" y="1019822"/>
                  </a:lnTo>
                  <a:lnTo>
                    <a:pt x="977057" y="1026732"/>
                  </a:lnTo>
                  <a:lnTo>
                    <a:pt x="994331" y="1026732"/>
                  </a:lnTo>
                  <a:lnTo>
                    <a:pt x="994331" y="1037096"/>
                  </a:lnTo>
                  <a:lnTo>
                    <a:pt x="994331" y="1050915"/>
                  </a:lnTo>
                  <a:lnTo>
                    <a:pt x="1008057" y="1057825"/>
                  </a:lnTo>
                  <a:lnTo>
                    <a:pt x="1004695" y="1044006"/>
                  </a:lnTo>
                  <a:lnTo>
                    <a:pt x="1011512" y="1030187"/>
                  </a:lnTo>
                  <a:lnTo>
                    <a:pt x="1032241" y="1026732"/>
                  </a:lnTo>
                  <a:lnTo>
                    <a:pt x="1066789" y="1016367"/>
                  </a:lnTo>
                  <a:lnTo>
                    <a:pt x="1090972" y="1009458"/>
                  </a:lnTo>
                  <a:lnTo>
                    <a:pt x="1090972" y="985181"/>
                  </a:lnTo>
                  <a:lnTo>
                    <a:pt x="1101337" y="981726"/>
                  </a:lnTo>
                  <a:lnTo>
                    <a:pt x="1111701" y="995545"/>
                  </a:lnTo>
                  <a:lnTo>
                    <a:pt x="1132430" y="995545"/>
                  </a:lnTo>
                  <a:lnTo>
                    <a:pt x="1170339" y="988635"/>
                  </a:lnTo>
                  <a:lnTo>
                    <a:pt x="1194523" y="967907"/>
                  </a:lnTo>
                  <a:lnTo>
                    <a:pt x="1232526" y="936813"/>
                  </a:lnTo>
                  <a:lnTo>
                    <a:pt x="1249800" y="905720"/>
                  </a:lnTo>
                  <a:lnTo>
                    <a:pt x="1273984" y="871172"/>
                  </a:lnTo>
                  <a:lnTo>
                    <a:pt x="1308439" y="829621"/>
                  </a:lnTo>
                  <a:lnTo>
                    <a:pt x="1322258" y="798528"/>
                  </a:lnTo>
                  <a:lnTo>
                    <a:pt x="1322258" y="777799"/>
                  </a:lnTo>
                  <a:lnTo>
                    <a:pt x="1304984" y="774344"/>
                  </a:lnTo>
                  <a:lnTo>
                    <a:pt x="1280800" y="770889"/>
                  </a:lnTo>
                  <a:lnTo>
                    <a:pt x="1284255" y="767434"/>
                  </a:lnTo>
                  <a:lnTo>
                    <a:pt x="1294620" y="760525"/>
                  </a:lnTo>
                  <a:lnTo>
                    <a:pt x="1311894" y="757070"/>
                  </a:lnTo>
                  <a:lnTo>
                    <a:pt x="1325713" y="753615"/>
                  </a:lnTo>
                  <a:lnTo>
                    <a:pt x="1318803" y="743251"/>
                  </a:lnTo>
                  <a:lnTo>
                    <a:pt x="1298075" y="736341"/>
                  </a:lnTo>
                  <a:lnTo>
                    <a:pt x="1304984" y="722522"/>
                  </a:lnTo>
                  <a:lnTo>
                    <a:pt x="1322258" y="729431"/>
                  </a:lnTo>
                  <a:lnTo>
                    <a:pt x="1325713" y="722522"/>
                  </a:lnTo>
                  <a:lnTo>
                    <a:pt x="1298075" y="701793"/>
                  </a:lnTo>
                  <a:lnTo>
                    <a:pt x="1294620" y="687974"/>
                  </a:lnTo>
                  <a:lnTo>
                    <a:pt x="1280800" y="653332"/>
                  </a:lnTo>
                  <a:lnTo>
                    <a:pt x="1270529" y="642968"/>
                  </a:lnTo>
                  <a:lnTo>
                    <a:pt x="1253255" y="636058"/>
                  </a:lnTo>
                  <a:lnTo>
                    <a:pt x="1260165" y="618784"/>
                  </a:lnTo>
                  <a:lnTo>
                    <a:pt x="1277345" y="594601"/>
                  </a:lnTo>
                  <a:lnTo>
                    <a:pt x="1294620" y="587691"/>
                  </a:lnTo>
                  <a:lnTo>
                    <a:pt x="1298075" y="577327"/>
                  </a:lnTo>
                  <a:lnTo>
                    <a:pt x="1311894" y="570417"/>
                  </a:lnTo>
                  <a:lnTo>
                    <a:pt x="1332622" y="570417"/>
                  </a:lnTo>
                  <a:lnTo>
                    <a:pt x="1342987" y="566962"/>
                  </a:lnTo>
                  <a:lnTo>
                    <a:pt x="1336077" y="553143"/>
                  </a:lnTo>
                  <a:lnTo>
                    <a:pt x="1308439" y="546233"/>
                  </a:lnTo>
                  <a:lnTo>
                    <a:pt x="1294620" y="539324"/>
                  </a:lnTo>
                  <a:lnTo>
                    <a:pt x="1280800" y="542778"/>
                  </a:lnTo>
                  <a:lnTo>
                    <a:pt x="1267075" y="556598"/>
                  </a:lnTo>
                  <a:lnTo>
                    <a:pt x="1246345" y="560052"/>
                  </a:lnTo>
                  <a:lnTo>
                    <a:pt x="1242891" y="546233"/>
                  </a:lnTo>
                  <a:lnTo>
                    <a:pt x="1242891" y="535869"/>
                  </a:lnTo>
                  <a:lnTo>
                    <a:pt x="1218707" y="532414"/>
                  </a:lnTo>
                  <a:lnTo>
                    <a:pt x="1208342" y="508137"/>
                  </a:lnTo>
                  <a:lnTo>
                    <a:pt x="1215253" y="494318"/>
                  </a:lnTo>
                  <a:lnTo>
                    <a:pt x="1249800" y="494318"/>
                  </a:lnTo>
                  <a:lnTo>
                    <a:pt x="1256710" y="477044"/>
                  </a:lnTo>
                  <a:lnTo>
                    <a:pt x="1294620" y="445950"/>
                  </a:lnTo>
                  <a:lnTo>
                    <a:pt x="1315348" y="442496"/>
                  </a:lnTo>
                  <a:lnTo>
                    <a:pt x="1329167" y="442496"/>
                  </a:lnTo>
                  <a:lnTo>
                    <a:pt x="1332622" y="459770"/>
                  </a:lnTo>
                  <a:lnTo>
                    <a:pt x="1315348" y="470134"/>
                  </a:lnTo>
                  <a:lnTo>
                    <a:pt x="1308439" y="487408"/>
                  </a:lnTo>
                  <a:lnTo>
                    <a:pt x="1311894" y="508137"/>
                  </a:lnTo>
                  <a:lnTo>
                    <a:pt x="1360261" y="477044"/>
                  </a:lnTo>
                  <a:lnTo>
                    <a:pt x="1377535" y="473589"/>
                  </a:lnTo>
                  <a:lnTo>
                    <a:pt x="1394809" y="470134"/>
                  </a:lnTo>
                  <a:lnTo>
                    <a:pt x="1411989" y="452860"/>
                  </a:lnTo>
                  <a:lnTo>
                    <a:pt x="1432719" y="439041"/>
                  </a:lnTo>
                  <a:lnTo>
                    <a:pt x="1456902" y="414857"/>
                  </a:lnTo>
                  <a:lnTo>
                    <a:pt x="1463812" y="411402"/>
                  </a:lnTo>
                  <a:lnTo>
                    <a:pt x="1481086" y="418312"/>
                  </a:lnTo>
                  <a:lnTo>
                    <a:pt x="1498360" y="414857"/>
                  </a:lnTo>
                  <a:lnTo>
                    <a:pt x="1501814" y="401038"/>
                  </a:lnTo>
                  <a:lnTo>
                    <a:pt x="1519089" y="401038"/>
                  </a:lnTo>
                  <a:lnTo>
                    <a:pt x="1546634" y="373399"/>
                  </a:lnTo>
                  <a:lnTo>
                    <a:pt x="1563908" y="387219"/>
                  </a:lnTo>
                  <a:lnTo>
                    <a:pt x="1577727" y="369945"/>
                  </a:lnTo>
                  <a:lnTo>
                    <a:pt x="1577727" y="307665"/>
                  </a:lnTo>
                  <a:lnTo>
                    <a:pt x="1601911" y="290391"/>
                  </a:lnTo>
                  <a:close/>
                </a:path>
              </a:pathLst>
            </a:custGeom>
            <a:solidFill>
              <a:srgbClr val="CEE3BF"/>
            </a:solidFill>
            <a:ln w="9334" cap="flat">
              <a:noFill/>
              <a:prstDash val="solid"/>
              <a:miter/>
            </a:ln>
          </p:spPr>
          <p:txBody>
            <a:bodyPr rtlCol="0" anchor="ctr"/>
            <a:lstStyle/>
            <a:p>
              <a:endParaRPr lang="en-GB" dirty="0"/>
            </a:p>
          </p:txBody>
        </p:sp>
        <p:sp>
          <p:nvSpPr>
            <p:cNvPr id="1411" name="Freeform: Shape 1410">
              <a:extLst>
                <a:ext uri="{FF2B5EF4-FFF2-40B4-BE49-F238E27FC236}">
                  <a16:creationId xmlns:a16="http://schemas.microsoft.com/office/drawing/2014/main" id="{285A3290-5604-44A2-A2B0-3614DD1DF464}"/>
                </a:ext>
              </a:extLst>
            </p:cNvPr>
            <p:cNvSpPr/>
            <p:nvPr/>
          </p:nvSpPr>
          <p:spPr>
            <a:xfrm>
              <a:off x="8345663" y="3711807"/>
              <a:ext cx="251267" cy="524103"/>
            </a:xfrm>
            <a:custGeom>
              <a:avLst/>
              <a:gdLst>
                <a:gd name="connsiteX0" fmla="*/ 233994 w 251267"/>
                <a:gd name="connsiteY0" fmla="*/ 202620 h 524103"/>
                <a:gd name="connsiteX1" fmla="*/ 220174 w 251267"/>
                <a:gd name="connsiteY1" fmla="*/ 199165 h 524103"/>
                <a:gd name="connsiteX2" fmla="*/ 220174 w 251267"/>
                <a:gd name="connsiteY2" fmla="*/ 171433 h 524103"/>
                <a:gd name="connsiteX3" fmla="*/ 202900 w 251267"/>
                <a:gd name="connsiteY3" fmla="*/ 164523 h 524103"/>
                <a:gd name="connsiteX4" fmla="*/ 202900 w 251267"/>
                <a:gd name="connsiteY4" fmla="*/ 164523 h 524103"/>
                <a:gd name="connsiteX5" fmla="*/ 202900 w 251267"/>
                <a:gd name="connsiteY5" fmla="*/ 164523 h 524103"/>
                <a:gd name="connsiteX6" fmla="*/ 202900 w 251267"/>
                <a:gd name="connsiteY6" fmla="*/ 140340 h 524103"/>
                <a:gd name="connsiteX7" fmla="*/ 168352 w 251267"/>
                <a:gd name="connsiteY7" fmla="*/ 129975 h 524103"/>
                <a:gd name="connsiteX8" fmla="*/ 168352 w 251267"/>
                <a:gd name="connsiteY8" fmla="*/ 123066 h 524103"/>
                <a:gd name="connsiteX9" fmla="*/ 182171 w 251267"/>
                <a:gd name="connsiteY9" fmla="*/ 102337 h 524103"/>
                <a:gd name="connsiteX10" fmla="*/ 195991 w 251267"/>
                <a:gd name="connsiteY10" fmla="*/ 85063 h 524103"/>
                <a:gd name="connsiteX11" fmla="*/ 199446 w 251267"/>
                <a:gd name="connsiteY11" fmla="*/ 43605 h 524103"/>
                <a:gd name="connsiteX12" fmla="*/ 185626 w 251267"/>
                <a:gd name="connsiteY12" fmla="*/ 33241 h 524103"/>
                <a:gd name="connsiteX13" fmla="*/ 175262 w 251267"/>
                <a:gd name="connsiteY13" fmla="*/ 15873 h 524103"/>
                <a:gd name="connsiteX14" fmla="*/ 131190 w 251267"/>
                <a:gd name="connsiteY14" fmla="*/ 0 h 524103"/>
                <a:gd name="connsiteX15" fmla="*/ 120825 w 251267"/>
                <a:gd name="connsiteY15" fmla="*/ 17274 h 524103"/>
                <a:gd name="connsiteX16" fmla="*/ 120825 w 251267"/>
                <a:gd name="connsiteY16" fmla="*/ 34641 h 524103"/>
                <a:gd name="connsiteX17" fmla="*/ 96642 w 251267"/>
                <a:gd name="connsiteY17" fmla="*/ 34641 h 524103"/>
                <a:gd name="connsiteX18" fmla="*/ 69096 w 251267"/>
                <a:gd name="connsiteY18" fmla="*/ 58825 h 524103"/>
                <a:gd name="connsiteX19" fmla="*/ 65642 w 251267"/>
                <a:gd name="connsiteY19" fmla="*/ 79554 h 524103"/>
                <a:gd name="connsiteX20" fmla="*/ 51823 w 251267"/>
                <a:gd name="connsiteY20" fmla="*/ 93373 h 524103"/>
                <a:gd name="connsiteX21" fmla="*/ 44913 w 251267"/>
                <a:gd name="connsiteY21" fmla="*/ 127921 h 524103"/>
                <a:gd name="connsiteX22" fmla="*/ 20729 w 251267"/>
                <a:gd name="connsiteY22" fmla="*/ 131376 h 524103"/>
                <a:gd name="connsiteX23" fmla="*/ 10365 w 251267"/>
                <a:gd name="connsiteY23" fmla="*/ 179743 h 524103"/>
                <a:gd name="connsiteX24" fmla="*/ 0 w 251267"/>
                <a:gd name="connsiteY24" fmla="*/ 190108 h 524103"/>
                <a:gd name="connsiteX25" fmla="*/ 0 w 251267"/>
                <a:gd name="connsiteY25" fmla="*/ 207475 h 524103"/>
                <a:gd name="connsiteX26" fmla="*/ 19889 w 251267"/>
                <a:gd name="connsiteY26" fmla="*/ 226803 h 524103"/>
                <a:gd name="connsiteX27" fmla="*/ 44072 w 251267"/>
                <a:gd name="connsiteY27" fmla="*/ 250987 h 524103"/>
                <a:gd name="connsiteX28" fmla="*/ 64801 w 251267"/>
                <a:gd name="connsiteY28" fmla="*/ 285535 h 524103"/>
                <a:gd name="connsiteX29" fmla="*/ 78621 w 251267"/>
                <a:gd name="connsiteY29" fmla="*/ 299354 h 524103"/>
                <a:gd name="connsiteX30" fmla="*/ 85530 w 251267"/>
                <a:gd name="connsiteY30" fmla="*/ 316628 h 524103"/>
                <a:gd name="connsiteX31" fmla="*/ 82075 w 251267"/>
                <a:gd name="connsiteY31" fmla="*/ 340812 h 524103"/>
                <a:gd name="connsiteX32" fmla="*/ 82075 w 251267"/>
                <a:gd name="connsiteY32" fmla="*/ 365089 h 524103"/>
                <a:gd name="connsiteX33" fmla="*/ 92440 w 251267"/>
                <a:gd name="connsiteY33" fmla="*/ 378908 h 524103"/>
                <a:gd name="connsiteX34" fmla="*/ 113169 w 251267"/>
                <a:gd name="connsiteY34" fmla="*/ 378908 h 524103"/>
                <a:gd name="connsiteX35" fmla="*/ 116624 w 251267"/>
                <a:gd name="connsiteY35" fmla="*/ 365089 h 524103"/>
                <a:gd name="connsiteX36" fmla="*/ 137259 w 251267"/>
                <a:gd name="connsiteY36" fmla="*/ 358180 h 524103"/>
                <a:gd name="connsiteX37" fmla="*/ 147624 w 251267"/>
                <a:gd name="connsiteY37" fmla="*/ 337357 h 524103"/>
                <a:gd name="connsiteX38" fmla="*/ 164897 w 251267"/>
                <a:gd name="connsiteY38" fmla="*/ 358180 h 524103"/>
                <a:gd name="connsiteX39" fmla="*/ 175262 w 251267"/>
                <a:gd name="connsiteY39" fmla="*/ 382363 h 524103"/>
                <a:gd name="connsiteX40" fmla="*/ 175262 w 251267"/>
                <a:gd name="connsiteY40" fmla="*/ 410002 h 524103"/>
                <a:gd name="connsiteX41" fmla="*/ 189081 w 251267"/>
                <a:gd name="connsiteY41" fmla="*/ 444550 h 524103"/>
                <a:gd name="connsiteX42" fmla="*/ 192536 w 251267"/>
                <a:gd name="connsiteY42" fmla="*/ 454914 h 524103"/>
                <a:gd name="connsiteX43" fmla="*/ 192536 w 251267"/>
                <a:gd name="connsiteY43" fmla="*/ 479098 h 524103"/>
                <a:gd name="connsiteX44" fmla="*/ 192536 w 251267"/>
                <a:gd name="connsiteY44" fmla="*/ 496372 h 524103"/>
                <a:gd name="connsiteX45" fmla="*/ 189081 w 251267"/>
                <a:gd name="connsiteY45" fmla="*/ 510191 h 524103"/>
                <a:gd name="connsiteX46" fmla="*/ 192536 w 251267"/>
                <a:gd name="connsiteY46" fmla="*/ 524104 h 524103"/>
                <a:gd name="connsiteX47" fmla="*/ 213265 w 251267"/>
                <a:gd name="connsiteY47" fmla="*/ 506736 h 524103"/>
                <a:gd name="connsiteX48" fmla="*/ 220174 w 251267"/>
                <a:gd name="connsiteY48" fmla="*/ 486008 h 524103"/>
                <a:gd name="connsiteX49" fmla="*/ 209810 w 251267"/>
                <a:gd name="connsiteY49" fmla="*/ 468733 h 524103"/>
                <a:gd name="connsiteX50" fmla="*/ 209810 w 251267"/>
                <a:gd name="connsiteY50" fmla="*/ 441095 h 524103"/>
                <a:gd name="connsiteX51" fmla="*/ 195991 w 251267"/>
                <a:gd name="connsiteY51" fmla="*/ 420366 h 524103"/>
                <a:gd name="connsiteX52" fmla="*/ 185626 w 251267"/>
                <a:gd name="connsiteY52" fmla="*/ 406547 h 524103"/>
                <a:gd name="connsiteX53" fmla="*/ 192536 w 251267"/>
                <a:gd name="connsiteY53" fmla="*/ 389273 h 524103"/>
                <a:gd name="connsiteX54" fmla="*/ 199446 w 251267"/>
                <a:gd name="connsiteY54" fmla="*/ 371999 h 524103"/>
                <a:gd name="connsiteX55" fmla="*/ 189081 w 251267"/>
                <a:gd name="connsiteY55" fmla="*/ 344267 h 524103"/>
                <a:gd name="connsiteX56" fmla="*/ 171807 w 251267"/>
                <a:gd name="connsiteY56" fmla="*/ 330448 h 524103"/>
                <a:gd name="connsiteX57" fmla="*/ 168352 w 251267"/>
                <a:gd name="connsiteY57" fmla="*/ 320083 h 524103"/>
                <a:gd name="connsiteX58" fmla="*/ 164897 w 251267"/>
                <a:gd name="connsiteY58" fmla="*/ 302809 h 524103"/>
                <a:gd name="connsiteX59" fmla="*/ 168352 w 251267"/>
                <a:gd name="connsiteY59" fmla="*/ 292445 h 524103"/>
                <a:gd name="connsiteX60" fmla="*/ 171807 w 251267"/>
                <a:gd name="connsiteY60" fmla="*/ 285535 h 524103"/>
                <a:gd name="connsiteX61" fmla="*/ 171807 w 251267"/>
                <a:gd name="connsiteY61" fmla="*/ 264806 h 524103"/>
                <a:gd name="connsiteX62" fmla="*/ 202900 w 251267"/>
                <a:gd name="connsiteY62" fmla="*/ 261352 h 524103"/>
                <a:gd name="connsiteX63" fmla="*/ 220174 w 251267"/>
                <a:gd name="connsiteY63" fmla="*/ 247532 h 524103"/>
                <a:gd name="connsiteX64" fmla="*/ 251268 w 251267"/>
                <a:gd name="connsiteY64" fmla="*/ 230258 h 524103"/>
                <a:gd name="connsiteX65" fmla="*/ 247719 w 251267"/>
                <a:gd name="connsiteY65" fmla="*/ 212984 h 524103"/>
                <a:gd name="connsiteX66" fmla="*/ 233994 w 251267"/>
                <a:gd name="connsiteY66" fmla="*/ 212984 h 524103"/>
                <a:gd name="connsiteX67" fmla="*/ 233994 w 251267"/>
                <a:gd name="connsiteY67" fmla="*/ 202620 h 5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51267" h="524103">
                  <a:moveTo>
                    <a:pt x="233994" y="202620"/>
                  </a:moveTo>
                  <a:lnTo>
                    <a:pt x="220174" y="199165"/>
                  </a:lnTo>
                  <a:lnTo>
                    <a:pt x="220174" y="171433"/>
                  </a:lnTo>
                  <a:lnTo>
                    <a:pt x="202900" y="164523"/>
                  </a:lnTo>
                  <a:lnTo>
                    <a:pt x="202900" y="164523"/>
                  </a:lnTo>
                  <a:lnTo>
                    <a:pt x="202900" y="164523"/>
                  </a:lnTo>
                  <a:lnTo>
                    <a:pt x="202900" y="140340"/>
                  </a:lnTo>
                  <a:lnTo>
                    <a:pt x="168352" y="129975"/>
                  </a:lnTo>
                  <a:lnTo>
                    <a:pt x="168352" y="123066"/>
                  </a:lnTo>
                  <a:lnTo>
                    <a:pt x="182171" y="102337"/>
                  </a:lnTo>
                  <a:lnTo>
                    <a:pt x="195991" y="85063"/>
                  </a:lnTo>
                  <a:lnTo>
                    <a:pt x="199446" y="43605"/>
                  </a:lnTo>
                  <a:lnTo>
                    <a:pt x="185626" y="33241"/>
                  </a:lnTo>
                  <a:lnTo>
                    <a:pt x="175262" y="15873"/>
                  </a:lnTo>
                  <a:lnTo>
                    <a:pt x="131190" y="0"/>
                  </a:lnTo>
                  <a:lnTo>
                    <a:pt x="120825" y="17274"/>
                  </a:lnTo>
                  <a:lnTo>
                    <a:pt x="120825" y="34641"/>
                  </a:lnTo>
                  <a:lnTo>
                    <a:pt x="96642" y="34641"/>
                  </a:lnTo>
                  <a:lnTo>
                    <a:pt x="69096" y="58825"/>
                  </a:lnTo>
                  <a:lnTo>
                    <a:pt x="65642" y="79554"/>
                  </a:lnTo>
                  <a:lnTo>
                    <a:pt x="51823" y="93373"/>
                  </a:lnTo>
                  <a:lnTo>
                    <a:pt x="44913" y="127921"/>
                  </a:lnTo>
                  <a:lnTo>
                    <a:pt x="20729" y="131376"/>
                  </a:lnTo>
                  <a:lnTo>
                    <a:pt x="10365" y="179743"/>
                  </a:lnTo>
                  <a:lnTo>
                    <a:pt x="0" y="190108"/>
                  </a:lnTo>
                  <a:lnTo>
                    <a:pt x="0" y="207475"/>
                  </a:lnTo>
                  <a:lnTo>
                    <a:pt x="19889" y="226803"/>
                  </a:lnTo>
                  <a:lnTo>
                    <a:pt x="44072" y="250987"/>
                  </a:lnTo>
                  <a:lnTo>
                    <a:pt x="64801" y="285535"/>
                  </a:lnTo>
                  <a:lnTo>
                    <a:pt x="78621" y="299354"/>
                  </a:lnTo>
                  <a:lnTo>
                    <a:pt x="85530" y="316628"/>
                  </a:lnTo>
                  <a:lnTo>
                    <a:pt x="82075" y="340812"/>
                  </a:lnTo>
                  <a:lnTo>
                    <a:pt x="82075" y="365089"/>
                  </a:lnTo>
                  <a:lnTo>
                    <a:pt x="92440" y="378908"/>
                  </a:lnTo>
                  <a:lnTo>
                    <a:pt x="113169" y="378908"/>
                  </a:lnTo>
                  <a:lnTo>
                    <a:pt x="116624" y="365089"/>
                  </a:lnTo>
                  <a:lnTo>
                    <a:pt x="137259" y="358180"/>
                  </a:lnTo>
                  <a:lnTo>
                    <a:pt x="147624" y="337357"/>
                  </a:lnTo>
                  <a:lnTo>
                    <a:pt x="164897" y="358180"/>
                  </a:lnTo>
                  <a:lnTo>
                    <a:pt x="175262" y="382363"/>
                  </a:lnTo>
                  <a:lnTo>
                    <a:pt x="175262" y="410002"/>
                  </a:lnTo>
                  <a:lnTo>
                    <a:pt x="189081" y="444550"/>
                  </a:lnTo>
                  <a:lnTo>
                    <a:pt x="192536" y="454914"/>
                  </a:lnTo>
                  <a:lnTo>
                    <a:pt x="192536" y="479098"/>
                  </a:lnTo>
                  <a:lnTo>
                    <a:pt x="192536" y="496372"/>
                  </a:lnTo>
                  <a:lnTo>
                    <a:pt x="189081" y="510191"/>
                  </a:lnTo>
                  <a:lnTo>
                    <a:pt x="192536" y="524104"/>
                  </a:lnTo>
                  <a:lnTo>
                    <a:pt x="213265" y="506736"/>
                  </a:lnTo>
                  <a:lnTo>
                    <a:pt x="220174" y="486008"/>
                  </a:lnTo>
                  <a:lnTo>
                    <a:pt x="209810" y="468733"/>
                  </a:lnTo>
                  <a:lnTo>
                    <a:pt x="209810" y="441095"/>
                  </a:lnTo>
                  <a:lnTo>
                    <a:pt x="195991" y="420366"/>
                  </a:lnTo>
                  <a:lnTo>
                    <a:pt x="185626" y="406547"/>
                  </a:lnTo>
                  <a:lnTo>
                    <a:pt x="192536" y="389273"/>
                  </a:lnTo>
                  <a:lnTo>
                    <a:pt x="199446" y="371999"/>
                  </a:lnTo>
                  <a:lnTo>
                    <a:pt x="189081" y="344267"/>
                  </a:lnTo>
                  <a:lnTo>
                    <a:pt x="171807" y="330448"/>
                  </a:lnTo>
                  <a:lnTo>
                    <a:pt x="168352" y="320083"/>
                  </a:lnTo>
                  <a:lnTo>
                    <a:pt x="164897" y="302809"/>
                  </a:lnTo>
                  <a:lnTo>
                    <a:pt x="168352" y="292445"/>
                  </a:lnTo>
                  <a:lnTo>
                    <a:pt x="171807" y="285535"/>
                  </a:lnTo>
                  <a:lnTo>
                    <a:pt x="171807" y="264806"/>
                  </a:lnTo>
                  <a:lnTo>
                    <a:pt x="202900" y="261352"/>
                  </a:lnTo>
                  <a:lnTo>
                    <a:pt x="220174" y="247532"/>
                  </a:lnTo>
                  <a:lnTo>
                    <a:pt x="251268" y="230258"/>
                  </a:lnTo>
                  <a:lnTo>
                    <a:pt x="247719" y="212984"/>
                  </a:lnTo>
                  <a:lnTo>
                    <a:pt x="233994" y="212984"/>
                  </a:lnTo>
                  <a:lnTo>
                    <a:pt x="233994" y="202620"/>
                  </a:lnTo>
                  <a:close/>
                </a:path>
              </a:pathLst>
            </a:custGeom>
            <a:solidFill>
              <a:srgbClr val="CEE3BF"/>
            </a:solidFill>
            <a:ln w="9334" cap="flat">
              <a:noFill/>
              <a:prstDash val="solid"/>
              <a:miter/>
            </a:ln>
          </p:spPr>
          <p:txBody>
            <a:bodyPr rtlCol="0" anchor="ctr"/>
            <a:lstStyle/>
            <a:p>
              <a:endParaRPr lang="en-GB" dirty="0"/>
            </a:p>
          </p:txBody>
        </p:sp>
        <p:sp>
          <p:nvSpPr>
            <p:cNvPr id="1412" name="Freeform: Shape 1411">
              <a:extLst>
                <a:ext uri="{FF2B5EF4-FFF2-40B4-BE49-F238E27FC236}">
                  <a16:creationId xmlns:a16="http://schemas.microsoft.com/office/drawing/2014/main" id="{6C792A85-2736-4E29-9A2B-15C04AFA67A1}"/>
                </a:ext>
              </a:extLst>
            </p:cNvPr>
            <p:cNvSpPr/>
            <p:nvPr/>
          </p:nvSpPr>
          <p:spPr>
            <a:xfrm>
              <a:off x="8236417" y="3774834"/>
              <a:ext cx="120824" cy="155559"/>
            </a:xfrm>
            <a:custGeom>
              <a:avLst/>
              <a:gdLst>
                <a:gd name="connsiteX0" fmla="*/ 24183 w 120824"/>
                <a:gd name="connsiteY0" fmla="*/ 127921 h 155559"/>
                <a:gd name="connsiteX1" fmla="*/ 17274 w 120824"/>
                <a:gd name="connsiteY1" fmla="*/ 86464 h 155559"/>
                <a:gd name="connsiteX2" fmla="*/ 13819 w 120824"/>
                <a:gd name="connsiteY2" fmla="*/ 65735 h 155559"/>
                <a:gd name="connsiteX3" fmla="*/ 3455 w 120824"/>
                <a:gd name="connsiteY3" fmla="*/ 58825 h 155559"/>
                <a:gd name="connsiteX4" fmla="*/ 0 w 120824"/>
                <a:gd name="connsiteY4" fmla="*/ 45006 h 155559"/>
                <a:gd name="connsiteX5" fmla="*/ 20729 w 120824"/>
                <a:gd name="connsiteY5" fmla="*/ 34642 h 155559"/>
                <a:gd name="connsiteX6" fmla="*/ 6910 w 120824"/>
                <a:gd name="connsiteY6" fmla="*/ 20729 h 155559"/>
                <a:gd name="connsiteX7" fmla="*/ 6910 w 120824"/>
                <a:gd name="connsiteY7" fmla="*/ 10364 h 155559"/>
                <a:gd name="connsiteX8" fmla="*/ 17274 w 120824"/>
                <a:gd name="connsiteY8" fmla="*/ 0 h 155559"/>
                <a:gd name="connsiteX9" fmla="*/ 24183 w 120824"/>
                <a:gd name="connsiteY9" fmla="*/ 10364 h 155559"/>
                <a:gd name="connsiteX10" fmla="*/ 41458 w 120824"/>
                <a:gd name="connsiteY10" fmla="*/ 17274 h 155559"/>
                <a:gd name="connsiteX11" fmla="*/ 51822 w 120824"/>
                <a:gd name="connsiteY11" fmla="*/ 38096 h 155559"/>
                <a:gd name="connsiteX12" fmla="*/ 110460 w 120824"/>
                <a:gd name="connsiteY12" fmla="*/ 38096 h 155559"/>
                <a:gd name="connsiteX13" fmla="*/ 110460 w 120824"/>
                <a:gd name="connsiteY13" fmla="*/ 58825 h 155559"/>
                <a:gd name="connsiteX14" fmla="*/ 96641 w 120824"/>
                <a:gd name="connsiteY14" fmla="*/ 65735 h 155559"/>
                <a:gd name="connsiteX15" fmla="*/ 89732 w 120824"/>
                <a:gd name="connsiteY15" fmla="*/ 69189 h 155559"/>
                <a:gd name="connsiteX16" fmla="*/ 82822 w 120824"/>
                <a:gd name="connsiteY16" fmla="*/ 79554 h 155559"/>
                <a:gd name="connsiteX17" fmla="*/ 82822 w 120824"/>
                <a:gd name="connsiteY17" fmla="*/ 86464 h 155559"/>
                <a:gd name="connsiteX18" fmla="*/ 82822 w 120824"/>
                <a:gd name="connsiteY18" fmla="*/ 93373 h 155559"/>
                <a:gd name="connsiteX19" fmla="*/ 96641 w 120824"/>
                <a:gd name="connsiteY19" fmla="*/ 100283 h 155559"/>
                <a:gd name="connsiteX20" fmla="*/ 103551 w 120824"/>
                <a:gd name="connsiteY20" fmla="*/ 79554 h 155559"/>
                <a:gd name="connsiteX21" fmla="*/ 120825 w 120824"/>
                <a:gd name="connsiteY21" fmla="*/ 83009 h 155559"/>
                <a:gd name="connsiteX22" fmla="*/ 117370 w 120824"/>
                <a:gd name="connsiteY22" fmla="*/ 103738 h 155559"/>
                <a:gd name="connsiteX23" fmla="*/ 117370 w 120824"/>
                <a:gd name="connsiteY23" fmla="*/ 121012 h 155559"/>
                <a:gd name="connsiteX24" fmla="*/ 120825 w 120824"/>
                <a:gd name="connsiteY24" fmla="*/ 131376 h 155559"/>
                <a:gd name="connsiteX25" fmla="*/ 120825 w 120824"/>
                <a:gd name="connsiteY25" fmla="*/ 148650 h 155559"/>
                <a:gd name="connsiteX26" fmla="*/ 110460 w 120824"/>
                <a:gd name="connsiteY26" fmla="*/ 155560 h 155559"/>
                <a:gd name="connsiteX27" fmla="*/ 103551 w 120824"/>
                <a:gd name="connsiteY27" fmla="*/ 141741 h 155559"/>
                <a:gd name="connsiteX28" fmla="*/ 100096 w 120824"/>
                <a:gd name="connsiteY28" fmla="*/ 117557 h 155559"/>
                <a:gd name="connsiteX29" fmla="*/ 93186 w 120824"/>
                <a:gd name="connsiteY29" fmla="*/ 110647 h 155559"/>
                <a:gd name="connsiteX30" fmla="*/ 82822 w 120824"/>
                <a:gd name="connsiteY30" fmla="*/ 107192 h 155559"/>
                <a:gd name="connsiteX31" fmla="*/ 69096 w 120824"/>
                <a:gd name="connsiteY31" fmla="*/ 96828 h 155559"/>
                <a:gd name="connsiteX32" fmla="*/ 62186 w 120824"/>
                <a:gd name="connsiteY32" fmla="*/ 107192 h 155559"/>
                <a:gd name="connsiteX33" fmla="*/ 62186 w 120824"/>
                <a:gd name="connsiteY33" fmla="*/ 127921 h 155559"/>
                <a:gd name="connsiteX34" fmla="*/ 44912 w 120824"/>
                <a:gd name="connsiteY34" fmla="*/ 127921 h 155559"/>
                <a:gd name="connsiteX35" fmla="*/ 24183 w 120824"/>
                <a:gd name="connsiteY35" fmla="*/ 127921 h 15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0824" h="155559">
                  <a:moveTo>
                    <a:pt x="24183" y="127921"/>
                  </a:moveTo>
                  <a:lnTo>
                    <a:pt x="17274" y="86464"/>
                  </a:lnTo>
                  <a:lnTo>
                    <a:pt x="13819" y="65735"/>
                  </a:lnTo>
                  <a:lnTo>
                    <a:pt x="3455" y="58825"/>
                  </a:lnTo>
                  <a:lnTo>
                    <a:pt x="0" y="45006"/>
                  </a:lnTo>
                  <a:lnTo>
                    <a:pt x="20729" y="34642"/>
                  </a:lnTo>
                  <a:lnTo>
                    <a:pt x="6910" y="20729"/>
                  </a:lnTo>
                  <a:lnTo>
                    <a:pt x="6910" y="10364"/>
                  </a:lnTo>
                  <a:lnTo>
                    <a:pt x="17274" y="0"/>
                  </a:lnTo>
                  <a:lnTo>
                    <a:pt x="24183" y="10364"/>
                  </a:lnTo>
                  <a:lnTo>
                    <a:pt x="41458" y="17274"/>
                  </a:lnTo>
                  <a:lnTo>
                    <a:pt x="51822" y="38096"/>
                  </a:lnTo>
                  <a:lnTo>
                    <a:pt x="110460" y="38096"/>
                  </a:lnTo>
                  <a:lnTo>
                    <a:pt x="110460" y="58825"/>
                  </a:lnTo>
                  <a:lnTo>
                    <a:pt x="96641" y="65735"/>
                  </a:lnTo>
                  <a:lnTo>
                    <a:pt x="89732" y="69189"/>
                  </a:lnTo>
                  <a:lnTo>
                    <a:pt x="82822" y="79554"/>
                  </a:lnTo>
                  <a:lnTo>
                    <a:pt x="82822" y="86464"/>
                  </a:lnTo>
                  <a:lnTo>
                    <a:pt x="82822" y="93373"/>
                  </a:lnTo>
                  <a:lnTo>
                    <a:pt x="96641" y="100283"/>
                  </a:lnTo>
                  <a:lnTo>
                    <a:pt x="103551" y="79554"/>
                  </a:lnTo>
                  <a:lnTo>
                    <a:pt x="120825" y="83009"/>
                  </a:lnTo>
                  <a:lnTo>
                    <a:pt x="117370" y="103738"/>
                  </a:lnTo>
                  <a:lnTo>
                    <a:pt x="117370" y="121012"/>
                  </a:lnTo>
                  <a:lnTo>
                    <a:pt x="120825" y="131376"/>
                  </a:lnTo>
                  <a:lnTo>
                    <a:pt x="120825" y="148650"/>
                  </a:lnTo>
                  <a:lnTo>
                    <a:pt x="110460" y="155560"/>
                  </a:lnTo>
                  <a:lnTo>
                    <a:pt x="103551" y="141741"/>
                  </a:lnTo>
                  <a:lnTo>
                    <a:pt x="100096" y="117557"/>
                  </a:lnTo>
                  <a:lnTo>
                    <a:pt x="93186" y="110647"/>
                  </a:lnTo>
                  <a:lnTo>
                    <a:pt x="82822" y="107192"/>
                  </a:lnTo>
                  <a:lnTo>
                    <a:pt x="69096" y="96828"/>
                  </a:lnTo>
                  <a:lnTo>
                    <a:pt x="62186" y="107192"/>
                  </a:lnTo>
                  <a:lnTo>
                    <a:pt x="62186" y="127921"/>
                  </a:lnTo>
                  <a:lnTo>
                    <a:pt x="44912" y="127921"/>
                  </a:lnTo>
                  <a:lnTo>
                    <a:pt x="24183" y="127921"/>
                  </a:lnTo>
                  <a:close/>
                </a:path>
              </a:pathLst>
            </a:custGeom>
            <a:solidFill>
              <a:srgbClr val="CEE3BF"/>
            </a:solidFill>
            <a:ln w="9334" cap="flat">
              <a:noFill/>
              <a:prstDash val="solid"/>
              <a:miter/>
            </a:ln>
          </p:spPr>
          <p:txBody>
            <a:bodyPr rtlCol="0" anchor="ctr"/>
            <a:lstStyle/>
            <a:p>
              <a:endParaRPr lang="en-GB" dirty="0"/>
            </a:p>
          </p:txBody>
        </p:sp>
        <p:sp>
          <p:nvSpPr>
            <p:cNvPr id="1413" name="Freeform: Shape 1412">
              <a:extLst>
                <a:ext uri="{FF2B5EF4-FFF2-40B4-BE49-F238E27FC236}">
                  <a16:creationId xmlns:a16="http://schemas.microsoft.com/office/drawing/2014/main" id="{F2BCD5BB-AA1F-4F42-9A5C-7FA0BA18FB73}"/>
                </a:ext>
              </a:extLst>
            </p:cNvPr>
            <p:cNvSpPr/>
            <p:nvPr/>
          </p:nvSpPr>
          <p:spPr>
            <a:xfrm>
              <a:off x="7512868" y="3461567"/>
              <a:ext cx="441841" cy="390579"/>
            </a:xfrm>
            <a:custGeom>
              <a:avLst/>
              <a:gdLst>
                <a:gd name="connsiteX0" fmla="*/ 220827 w 441841"/>
                <a:gd name="connsiteY0" fmla="*/ 371252 h 390579"/>
                <a:gd name="connsiteX1" fmla="*/ 224376 w 441841"/>
                <a:gd name="connsiteY1" fmla="*/ 380216 h 390579"/>
                <a:gd name="connsiteX2" fmla="*/ 238195 w 441841"/>
                <a:gd name="connsiteY2" fmla="*/ 390580 h 390579"/>
                <a:gd name="connsiteX3" fmla="*/ 245105 w 441841"/>
                <a:gd name="connsiteY3" fmla="*/ 380216 h 390579"/>
                <a:gd name="connsiteX4" fmla="*/ 269288 w 441841"/>
                <a:gd name="connsiteY4" fmla="*/ 380216 h 390579"/>
                <a:gd name="connsiteX5" fmla="*/ 269288 w 441841"/>
                <a:gd name="connsiteY5" fmla="*/ 362942 h 390579"/>
                <a:gd name="connsiteX6" fmla="*/ 291044 w 441841"/>
                <a:gd name="connsiteY6" fmla="*/ 356872 h 390579"/>
                <a:gd name="connsiteX7" fmla="*/ 281987 w 441841"/>
                <a:gd name="connsiteY7" fmla="*/ 337170 h 390579"/>
                <a:gd name="connsiteX8" fmla="*/ 275077 w 441841"/>
                <a:gd name="connsiteY8" fmla="*/ 312987 h 390579"/>
                <a:gd name="connsiteX9" fmla="*/ 266954 w 441841"/>
                <a:gd name="connsiteY9" fmla="*/ 307104 h 390579"/>
                <a:gd name="connsiteX10" fmla="*/ 269288 w 441841"/>
                <a:gd name="connsiteY10" fmla="*/ 300101 h 390579"/>
                <a:gd name="connsiteX11" fmla="*/ 263872 w 441841"/>
                <a:gd name="connsiteY11" fmla="*/ 289924 h 390579"/>
                <a:gd name="connsiteX12" fmla="*/ 258924 w 441841"/>
                <a:gd name="connsiteY12" fmla="*/ 276478 h 390579"/>
                <a:gd name="connsiteX13" fmla="*/ 272743 w 441841"/>
                <a:gd name="connsiteY13" fmla="*/ 283481 h 390579"/>
                <a:gd name="connsiteX14" fmla="*/ 296833 w 441841"/>
                <a:gd name="connsiteY14" fmla="*/ 276478 h 390579"/>
                <a:gd name="connsiteX15" fmla="*/ 382923 w 441841"/>
                <a:gd name="connsiteY15" fmla="*/ 195057 h 390579"/>
                <a:gd name="connsiteX16" fmla="*/ 410095 w 441841"/>
                <a:gd name="connsiteY16" fmla="*/ 148370 h 390579"/>
                <a:gd name="connsiteX17" fmla="*/ 396089 w 441841"/>
                <a:gd name="connsiteY17" fmla="*/ 139780 h 390579"/>
                <a:gd name="connsiteX18" fmla="*/ 385725 w 441841"/>
                <a:gd name="connsiteY18" fmla="*/ 132497 h 390579"/>
                <a:gd name="connsiteX19" fmla="*/ 374333 w 441841"/>
                <a:gd name="connsiteY19" fmla="*/ 116436 h 390579"/>
                <a:gd name="connsiteX20" fmla="*/ 365743 w 441841"/>
                <a:gd name="connsiteY20" fmla="*/ 82168 h 390579"/>
                <a:gd name="connsiteX21" fmla="*/ 403932 w 441841"/>
                <a:gd name="connsiteY21" fmla="*/ 79461 h 390579"/>
                <a:gd name="connsiteX22" fmla="*/ 431477 w 441841"/>
                <a:gd name="connsiteY22" fmla="*/ 72551 h 390579"/>
                <a:gd name="connsiteX23" fmla="*/ 438387 w 441841"/>
                <a:gd name="connsiteY23" fmla="*/ 51822 h 390579"/>
                <a:gd name="connsiteX24" fmla="*/ 441842 w 441841"/>
                <a:gd name="connsiteY24" fmla="*/ 41458 h 390579"/>
                <a:gd name="connsiteX25" fmla="*/ 407387 w 441841"/>
                <a:gd name="connsiteY25" fmla="*/ 27638 h 390579"/>
                <a:gd name="connsiteX26" fmla="*/ 407387 w 441841"/>
                <a:gd name="connsiteY26" fmla="*/ 10364 h 390579"/>
                <a:gd name="connsiteX27" fmla="*/ 386658 w 441841"/>
                <a:gd name="connsiteY27" fmla="*/ 3455 h 390579"/>
                <a:gd name="connsiteX28" fmla="*/ 376294 w 441841"/>
                <a:gd name="connsiteY28" fmla="*/ 0 h 390579"/>
                <a:gd name="connsiteX29" fmla="*/ 355565 w 441841"/>
                <a:gd name="connsiteY29" fmla="*/ 3455 h 390579"/>
                <a:gd name="connsiteX30" fmla="*/ 327927 w 441841"/>
                <a:gd name="connsiteY30" fmla="*/ 3455 h 390579"/>
                <a:gd name="connsiteX31" fmla="*/ 314107 w 441841"/>
                <a:gd name="connsiteY31" fmla="*/ 3455 h 390579"/>
                <a:gd name="connsiteX32" fmla="*/ 286469 w 441841"/>
                <a:gd name="connsiteY32" fmla="*/ 20729 h 390579"/>
                <a:gd name="connsiteX33" fmla="*/ 276198 w 441841"/>
                <a:gd name="connsiteY33" fmla="*/ 31093 h 390579"/>
                <a:gd name="connsiteX34" fmla="*/ 286469 w 441841"/>
                <a:gd name="connsiteY34" fmla="*/ 51822 h 390579"/>
                <a:gd name="connsiteX35" fmla="*/ 276198 w 441841"/>
                <a:gd name="connsiteY35" fmla="*/ 86370 h 390579"/>
                <a:gd name="connsiteX36" fmla="*/ 248559 w 441841"/>
                <a:gd name="connsiteY36" fmla="*/ 96735 h 390579"/>
                <a:gd name="connsiteX37" fmla="*/ 241649 w 441841"/>
                <a:gd name="connsiteY37" fmla="*/ 117557 h 390579"/>
                <a:gd name="connsiteX38" fmla="*/ 231285 w 441841"/>
                <a:gd name="connsiteY38" fmla="*/ 124466 h 390579"/>
                <a:gd name="connsiteX39" fmla="*/ 224376 w 441841"/>
                <a:gd name="connsiteY39" fmla="*/ 141740 h 390579"/>
                <a:gd name="connsiteX40" fmla="*/ 224376 w 441841"/>
                <a:gd name="connsiteY40" fmla="*/ 165924 h 390579"/>
                <a:gd name="connsiteX41" fmla="*/ 182918 w 441841"/>
                <a:gd name="connsiteY41" fmla="*/ 165924 h 390579"/>
                <a:gd name="connsiteX42" fmla="*/ 176008 w 441841"/>
                <a:gd name="connsiteY42" fmla="*/ 179743 h 390579"/>
                <a:gd name="connsiteX43" fmla="*/ 148370 w 441841"/>
                <a:gd name="connsiteY43" fmla="*/ 179743 h 390579"/>
                <a:gd name="connsiteX44" fmla="*/ 141554 w 441841"/>
                <a:gd name="connsiteY44" fmla="*/ 190108 h 390579"/>
                <a:gd name="connsiteX45" fmla="*/ 138099 w 441841"/>
                <a:gd name="connsiteY45" fmla="*/ 221201 h 390579"/>
                <a:gd name="connsiteX46" fmla="*/ 120824 w 441841"/>
                <a:gd name="connsiteY46" fmla="*/ 224656 h 390579"/>
                <a:gd name="connsiteX47" fmla="*/ 93186 w 441841"/>
                <a:gd name="connsiteY47" fmla="*/ 228111 h 390579"/>
                <a:gd name="connsiteX48" fmla="*/ 58638 w 441841"/>
                <a:gd name="connsiteY48" fmla="*/ 231566 h 390579"/>
                <a:gd name="connsiteX49" fmla="*/ 27545 w 441841"/>
                <a:gd name="connsiteY49" fmla="*/ 231566 h 390579"/>
                <a:gd name="connsiteX50" fmla="*/ 17274 w 441841"/>
                <a:gd name="connsiteY50" fmla="*/ 221201 h 390579"/>
                <a:gd name="connsiteX51" fmla="*/ 0 w 441841"/>
                <a:gd name="connsiteY51" fmla="*/ 228111 h 390579"/>
                <a:gd name="connsiteX52" fmla="*/ 27545 w 441841"/>
                <a:gd name="connsiteY52" fmla="*/ 262659 h 390579"/>
                <a:gd name="connsiteX53" fmla="*/ 48274 w 441841"/>
                <a:gd name="connsiteY53" fmla="*/ 279933 h 390579"/>
                <a:gd name="connsiteX54" fmla="*/ 48274 w 441841"/>
                <a:gd name="connsiteY54" fmla="*/ 300755 h 390579"/>
                <a:gd name="connsiteX55" fmla="*/ 62093 w 441841"/>
                <a:gd name="connsiteY55" fmla="*/ 300755 h 390579"/>
                <a:gd name="connsiteX56" fmla="*/ 62093 w 441841"/>
                <a:gd name="connsiteY56" fmla="*/ 314574 h 390579"/>
                <a:gd name="connsiteX57" fmla="*/ 37909 w 441841"/>
                <a:gd name="connsiteY57" fmla="*/ 318029 h 390579"/>
                <a:gd name="connsiteX58" fmla="*/ 13726 w 441841"/>
                <a:gd name="connsiteY58" fmla="*/ 331848 h 390579"/>
                <a:gd name="connsiteX59" fmla="*/ 13726 w 441841"/>
                <a:gd name="connsiteY59" fmla="*/ 359487 h 390579"/>
                <a:gd name="connsiteX60" fmla="*/ 58638 w 441841"/>
                <a:gd name="connsiteY60" fmla="*/ 362942 h 390579"/>
                <a:gd name="connsiteX61" fmla="*/ 65548 w 441841"/>
                <a:gd name="connsiteY61" fmla="*/ 352577 h 390579"/>
                <a:gd name="connsiteX62" fmla="*/ 148370 w 441841"/>
                <a:gd name="connsiteY62" fmla="*/ 345667 h 390579"/>
                <a:gd name="connsiteX63" fmla="*/ 150797 w 441841"/>
                <a:gd name="connsiteY63" fmla="*/ 366583 h 390579"/>
                <a:gd name="connsiteX64" fmla="*/ 220827 w 441841"/>
                <a:gd name="connsiteY64" fmla="*/ 371252 h 39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41841" h="390579">
                  <a:moveTo>
                    <a:pt x="220827" y="371252"/>
                  </a:moveTo>
                  <a:lnTo>
                    <a:pt x="224376" y="380216"/>
                  </a:lnTo>
                  <a:lnTo>
                    <a:pt x="238195" y="390580"/>
                  </a:lnTo>
                  <a:lnTo>
                    <a:pt x="245105" y="380216"/>
                  </a:lnTo>
                  <a:lnTo>
                    <a:pt x="269288" y="380216"/>
                  </a:lnTo>
                  <a:lnTo>
                    <a:pt x="269288" y="362942"/>
                  </a:lnTo>
                  <a:lnTo>
                    <a:pt x="291044" y="356872"/>
                  </a:lnTo>
                  <a:lnTo>
                    <a:pt x="281987" y="337170"/>
                  </a:lnTo>
                  <a:lnTo>
                    <a:pt x="275077" y="312987"/>
                  </a:lnTo>
                  <a:lnTo>
                    <a:pt x="266954" y="307104"/>
                  </a:lnTo>
                  <a:lnTo>
                    <a:pt x="269288" y="300101"/>
                  </a:lnTo>
                  <a:lnTo>
                    <a:pt x="263872" y="289924"/>
                  </a:lnTo>
                  <a:lnTo>
                    <a:pt x="258924" y="276478"/>
                  </a:lnTo>
                  <a:lnTo>
                    <a:pt x="272743" y="283481"/>
                  </a:lnTo>
                  <a:lnTo>
                    <a:pt x="296833" y="276478"/>
                  </a:lnTo>
                  <a:lnTo>
                    <a:pt x="382923" y="195057"/>
                  </a:lnTo>
                  <a:lnTo>
                    <a:pt x="410095" y="148370"/>
                  </a:lnTo>
                  <a:lnTo>
                    <a:pt x="396089" y="139780"/>
                  </a:lnTo>
                  <a:lnTo>
                    <a:pt x="385725" y="132497"/>
                  </a:lnTo>
                  <a:lnTo>
                    <a:pt x="374333" y="116436"/>
                  </a:lnTo>
                  <a:lnTo>
                    <a:pt x="365743" y="82168"/>
                  </a:lnTo>
                  <a:lnTo>
                    <a:pt x="403932" y="79461"/>
                  </a:lnTo>
                  <a:lnTo>
                    <a:pt x="431477" y="72551"/>
                  </a:lnTo>
                  <a:lnTo>
                    <a:pt x="438387" y="51822"/>
                  </a:lnTo>
                  <a:lnTo>
                    <a:pt x="441842" y="41458"/>
                  </a:lnTo>
                  <a:lnTo>
                    <a:pt x="407387" y="27638"/>
                  </a:lnTo>
                  <a:lnTo>
                    <a:pt x="407387" y="10364"/>
                  </a:lnTo>
                  <a:lnTo>
                    <a:pt x="386658" y="3455"/>
                  </a:lnTo>
                  <a:lnTo>
                    <a:pt x="376294" y="0"/>
                  </a:lnTo>
                  <a:lnTo>
                    <a:pt x="355565" y="3455"/>
                  </a:lnTo>
                  <a:lnTo>
                    <a:pt x="327927" y="3455"/>
                  </a:lnTo>
                  <a:lnTo>
                    <a:pt x="314107" y="3455"/>
                  </a:lnTo>
                  <a:lnTo>
                    <a:pt x="286469" y="20729"/>
                  </a:lnTo>
                  <a:lnTo>
                    <a:pt x="276198" y="31093"/>
                  </a:lnTo>
                  <a:lnTo>
                    <a:pt x="286469" y="51822"/>
                  </a:lnTo>
                  <a:lnTo>
                    <a:pt x="276198" y="86370"/>
                  </a:lnTo>
                  <a:lnTo>
                    <a:pt x="248559" y="96735"/>
                  </a:lnTo>
                  <a:lnTo>
                    <a:pt x="241649" y="117557"/>
                  </a:lnTo>
                  <a:lnTo>
                    <a:pt x="231285" y="124466"/>
                  </a:lnTo>
                  <a:lnTo>
                    <a:pt x="224376" y="141740"/>
                  </a:lnTo>
                  <a:lnTo>
                    <a:pt x="224376" y="165924"/>
                  </a:lnTo>
                  <a:lnTo>
                    <a:pt x="182918" y="165924"/>
                  </a:lnTo>
                  <a:lnTo>
                    <a:pt x="176008" y="179743"/>
                  </a:lnTo>
                  <a:lnTo>
                    <a:pt x="148370" y="179743"/>
                  </a:lnTo>
                  <a:lnTo>
                    <a:pt x="141554" y="190108"/>
                  </a:lnTo>
                  <a:lnTo>
                    <a:pt x="138099" y="221201"/>
                  </a:lnTo>
                  <a:lnTo>
                    <a:pt x="120824" y="224656"/>
                  </a:lnTo>
                  <a:lnTo>
                    <a:pt x="93186" y="228111"/>
                  </a:lnTo>
                  <a:lnTo>
                    <a:pt x="58638" y="231566"/>
                  </a:lnTo>
                  <a:lnTo>
                    <a:pt x="27545" y="231566"/>
                  </a:lnTo>
                  <a:lnTo>
                    <a:pt x="17274" y="221201"/>
                  </a:lnTo>
                  <a:lnTo>
                    <a:pt x="0" y="228111"/>
                  </a:lnTo>
                  <a:lnTo>
                    <a:pt x="27545" y="262659"/>
                  </a:lnTo>
                  <a:lnTo>
                    <a:pt x="48274" y="279933"/>
                  </a:lnTo>
                  <a:lnTo>
                    <a:pt x="48274" y="300755"/>
                  </a:lnTo>
                  <a:lnTo>
                    <a:pt x="62093" y="300755"/>
                  </a:lnTo>
                  <a:lnTo>
                    <a:pt x="62093" y="314574"/>
                  </a:lnTo>
                  <a:lnTo>
                    <a:pt x="37909" y="318029"/>
                  </a:lnTo>
                  <a:lnTo>
                    <a:pt x="13726" y="331848"/>
                  </a:lnTo>
                  <a:lnTo>
                    <a:pt x="13726" y="359487"/>
                  </a:lnTo>
                  <a:lnTo>
                    <a:pt x="58638" y="362942"/>
                  </a:lnTo>
                  <a:lnTo>
                    <a:pt x="65548" y="352577"/>
                  </a:lnTo>
                  <a:lnTo>
                    <a:pt x="148370" y="345667"/>
                  </a:lnTo>
                  <a:lnTo>
                    <a:pt x="150797" y="366583"/>
                  </a:lnTo>
                  <a:lnTo>
                    <a:pt x="220827" y="371252"/>
                  </a:lnTo>
                  <a:close/>
                </a:path>
              </a:pathLst>
            </a:custGeom>
            <a:solidFill>
              <a:srgbClr val="CEE3BF"/>
            </a:solidFill>
            <a:ln w="9334" cap="flat">
              <a:noFill/>
              <a:prstDash val="solid"/>
              <a:miter/>
            </a:ln>
          </p:spPr>
          <p:txBody>
            <a:bodyPr rtlCol="0" anchor="ctr"/>
            <a:lstStyle/>
            <a:p>
              <a:endParaRPr lang="en-GB" dirty="0"/>
            </a:p>
          </p:txBody>
        </p:sp>
        <p:sp>
          <p:nvSpPr>
            <p:cNvPr id="1414" name="Freeform: Shape 1413">
              <a:extLst>
                <a:ext uri="{FF2B5EF4-FFF2-40B4-BE49-F238E27FC236}">
                  <a16:creationId xmlns:a16="http://schemas.microsoft.com/office/drawing/2014/main" id="{6DDE2B2E-CF3D-4A87-9EF4-0284471BC5EF}"/>
                </a:ext>
              </a:extLst>
            </p:cNvPr>
            <p:cNvSpPr/>
            <p:nvPr/>
          </p:nvSpPr>
          <p:spPr>
            <a:xfrm>
              <a:off x="8030716" y="3662039"/>
              <a:ext cx="220921" cy="124466"/>
            </a:xfrm>
            <a:custGeom>
              <a:avLst/>
              <a:gdLst>
                <a:gd name="connsiteX0" fmla="*/ 27639 w 220921"/>
                <a:gd name="connsiteY0" fmla="*/ 10364 h 124466"/>
                <a:gd name="connsiteX1" fmla="*/ 51729 w 220921"/>
                <a:gd name="connsiteY1" fmla="*/ 0 h 124466"/>
                <a:gd name="connsiteX2" fmla="*/ 75912 w 220921"/>
                <a:gd name="connsiteY2" fmla="*/ 24184 h 124466"/>
                <a:gd name="connsiteX3" fmla="*/ 103551 w 220921"/>
                <a:gd name="connsiteY3" fmla="*/ 38003 h 124466"/>
                <a:gd name="connsiteX4" fmla="*/ 124280 w 220921"/>
                <a:gd name="connsiteY4" fmla="*/ 51822 h 124466"/>
                <a:gd name="connsiteX5" fmla="*/ 151918 w 220921"/>
                <a:gd name="connsiteY5" fmla="*/ 69096 h 124466"/>
                <a:gd name="connsiteX6" fmla="*/ 179464 w 220921"/>
                <a:gd name="connsiteY6" fmla="*/ 76006 h 124466"/>
                <a:gd name="connsiteX7" fmla="*/ 220921 w 220921"/>
                <a:gd name="connsiteY7" fmla="*/ 79461 h 124466"/>
                <a:gd name="connsiteX8" fmla="*/ 220921 w 220921"/>
                <a:gd name="connsiteY8" fmla="*/ 100283 h 124466"/>
                <a:gd name="connsiteX9" fmla="*/ 215225 w 220921"/>
                <a:gd name="connsiteY9" fmla="*/ 109714 h 124466"/>
                <a:gd name="connsiteX10" fmla="*/ 176009 w 220921"/>
                <a:gd name="connsiteY10" fmla="*/ 124466 h 124466"/>
                <a:gd name="connsiteX11" fmla="*/ 151825 w 220921"/>
                <a:gd name="connsiteY11" fmla="*/ 122132 h 124466"/>
                <a:gd name="connsiteX12" fmla="*/ 119144 w 220921"/>
                <a:gd name="connsiteY12" fmla="*/ 114756 h 124466"/>
                <a:gd name="connsiteX13" fmla="*/ 82915 w 220921"/>
                <a:gd name="connsiteY13" fmla="*/ 96081 h 124466"/>
                <a:gd name="connsiteX14" fmla="*/ 56491 w 220921"/>
                <a:gd name="connsiteY14" fmla="*/ 93747 h 124466"/>
                <a:gd name="connsiteX15" fmla="*/ 31560 w 220921"/>
                <a:gd name="connsiteY15" fmla="*/ 76659 h 124466"/>
                <a:gd name="connsiteX16" fmla="*/ 0 w 220921"/>
                <a:gd name="connsiteY16" fmla="*/ 51822 h 124466"/>
                <a:gd name="connsiteX17" fmla="*/ 6910 w 220921"/>
                <a:gd name="connsiteY17" fmla="*/ 24184 h 124466"/>
                <a:gd name="connsiteX18" fmla="*/ 27639 w 220921"/>
                <a:gd name="connsiteY18" fmla="*/ 10364 h 1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0921" h="124466">
                  <a:moveTo>
                    <a:pt x="27639" y="10364"/>
                  </a:moveTo>
                  <a:lnTo>
                    <a:pt x="51729" y="0"/>
                  </a:lnTo>
                  <a:lnTo>
                    <a:pt x="75912" y="24184"/>
                  </a:lnTo>
                  <a:lnTo>
                    <a:pt x="103551" y="38003"/>
                  </a:lnTo>
                  <a:lnTo>
                    <a:pt x="124280" y="51822"/>
                  </a:lnTo>
                  <a:lnTo>
                    <a:pt x="151918" y="69096"/>
                  </a:lnTo>
                  <a:lnTo>
                    <a:pt x="179464" y="76006"/>
                  </a:lnTo>
                  <a:lnTo>
                    <a:pt x="220921" y="79461"/>
                  </a:lnTo>
                  <a:lnTo>
                    <a:pt x="220921" y="100283"/>
                  </a:lnTo>
                  <a:lnTo>
                    <a:pt x="215225" y="109714"/>
                  </a:lnTo>
                  <a:lnTo>
                    <a:pt x="176009" y="124466"/>
                  </a:lnTo>
                  <a:lnTo>
                    <a:pt x="151825" y="122132"/>
                  </a:lnTo>
                  <a:lnTo>
                    <a:pt x="119144" y="114756"/>
                  </a:lnTo>
                  <a:lnTo>
                    <a:pt x="82915" y="96081"/>
                  </a:lnTo>
                  <a:lnTo>
                    <a:pt x="56491" y="93747"/>
                  </a:lnTo>
                  <a:lnTo>
                    <a:pt x="31560" y="76659"/>
                  </a:lnTo>
                  <a:lnTo>
                    <a:pt x="0" y="51822"/>
                  </a:lnTo>
                  <a:lnTo>
                    <a:pt x="6910" y="24184"/>
                  </a:lnTo>
                  <a:lnTo>
                    <a:pt x="27639" y="10364"/>
                  </a:lnTo>
                  <a:close/>
                </a:path>
              </a:pathLst>
            </a:custGeom>
            <a:solidFill>
              <a:srgbClr val="CEE3BF"/>
            </a:solidFill>
            <a:ln w="9334" cap="flat">
              <a:noFill/>
              <a:prstDash val="solid"/>
              <a:miter/>
            </a:ln>
          </p:spPr>
          <p:txBody>
            <a:bodyPr rtlCol="0" anchor="ctr"/>
            <a:lstStyle/>
            <a:p>
              <a:endParaRPr lang="en-GB" dirty="0"/>
            </a:p>
          </p:txBody>
        </p:sp>
        <p:sp>
          <p:nvSpPr>
            <p:cNvPr id="1415" name="Freeform: Shape 1414">
              <a:extLst>
                <a:ext uri="{FF2B5EF4-FFF2-40B4-BE49-F238E27FC236}">
                  <a16:creationId xmlns:a16="http://schemas.microsoft.com/office/drawing/2014/main" id="{1AA44DCA-D9D7-417A-A654-0F0570B99632}"/>
                </a:ext>
              </a:extLst>
            </p:cNvPr>
            <p:cNvSpPr/>
            <p:nvPr/>
          </p:nvSpPr>
          <p:spPr>
            <a:xfrm>
              <a:off x="8255278" y="3724039"/>
              <a:ext cx="86277" cy="44912"/>
            </a:xfrm>
            <a:custGeom>
              <a:avLst/>
              <a:gdLst>
                <a:gd name="connsiteX0" fmla="*/ 17274 w 86277"/>
                <a:gd name="connsiteY0" fmla="*/ 0 h 44912"/>
                <a:gd name="connsiteX1" fmla="*/ 6910 w 86277"/>
                <a:gd name="connsiteY1" fmla="*/ 10364 h 44912"/>
                <a:gd name="connsiteX2" fmla="*/ 3455 w 86277"/>
                <a:gd name="connsiteY2" fmla="*/ 10364 h 44912"/>
                <a:gd name="connsiteX3" fmla="*/ 0 w 86277"/>
                <a:gd name="connsiteY3" fmla="*/ 24184 h 44912"/>
                <a:gd name="connsiteX4" fmla="*/ 3455 w 86277"/>
                <a:gd name="connsiteY4" fmla="*/ 34548 h 44912"/>
                <a:gd name="connsiteX5" fmla="*/ 13820 w 86277"/>
                <a:gd name="connsiteY5" fmla="*/ 41458 h 44912"/>
                <a:gd name="connsiteX6" fmla="*/ 27639 w 86277"/>
                <a:gd name="connsiteY6" fmla="*/ 44912 h 44912"/>
                <a:gd name="connsiteX7" fmla="*/ 55184 w 86277"/>
                <a:gd name="connsiteY7" fmla="*/ 41458 h 44912"/>
                <a:gd name="connsiteX8" fmla="*/ 79367 w 86277"/>
                <a:gd name="connsiteY8" fmla="*/ 38003 h 44912"/>
                <a:gd name="connsiteX9" fmla="*/ 86277 w 86277"/>
                <a:gd name="connsiteY9" fmla="*/ 27638 h 44912"/>
                <a:gd name="connsiteX10" fmla="*/ 79367 w 86277"/>
                <a:gd name="connsiteY10" fmla="*/ 10364 h 44912"/>
                <a:gd name="connsiteX11" fmla="*/ 55184 w 86277"/>
                <a:gd name="connsiteY11" fmla="*/ 6910 h 44912"/>
                <a:gd name="connsiteX12" fmla="*/ 34548 w 86277"/>
                <a:gd name="connsiteY12" fmla="*/ 0 h 44912"/>
                <a:gd name="connsiteX13" fmla="*/ 17274 w 86277"/>
                <a:gd name="connsiteY13" fmla="*/ 0 h 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277" h="44912">
                  <a:moveTo>
                    <a:pt x="17274" y="0"/>
                  </a:moveTo>
                  <a:lnTo>
                    <a:pt x="6910" y="10364"/>
                  </a:lnTo>
                  <a:lnTo>
                    <a:pt x="3455" y="10364"/>
                  </a:lnTo>
                  <a:lnTo>
                    <a:pt x="0" y="24184"/>
                  </a:lnTo>
                  <a:lnTo>
                    <a:pt x="3455" y="34548"/>
                  </a:lnTo>
                  <a:lnTo>
                    <a:pt x="13820" y="41458"/>
                  </a:lnTo>
                  <a:lnTo>
                    <a:pt x="27639" y="44912"/>
                  </a:lnTo>
                  <a:lnTo>
                    <a:pt x="55184" y="41458"/>
                  </a:lnTo>
                  <a:lnTo>
                    <a:pt x="79367" y="38003"/>
                  </a:lnTo>
                  <a:lnTo>
                    <a:pt x="86277" y="27638"/>
                  </a:lnTo>
                  <a:lnTo>
                    <a:pt x="79367" y="10364"/>
                  </a:lnTo>
                  <a:lnTo>
                    <a:pt x="55184" y="6910"/>
                  </a:lnTo>
                  <a:lnTo>
                    <a:pt x="34548" y="0"/>
                  </a:lnTo>
                  <a:lnTo>
                    <a:pt x="17274" y="0"/>
                  </a:lnTo>
                  <a:close/>
                </a:path>
              </a:pathLst>
            </a:custGeom>
            <a:solidFill>
              <a:srgbClr val="CEE3BF"/>
            </a:solidFill>
            <a:ln w="9334" cap="flat">
              <a:noFill/>
              <a:prstDash val="solid"/>
              <a:miter/>
            </a:ln>
          </p:spPr>
          <p:txBody>
            <a:bodyPr rtlCol="0" anchor="ctr"/>
            <a:lstStyle/>
            <a:p>
              <a:endParaRPr lang="en-GB" dirty="0"/>
            </a:p>
          </p:txBody>
        </p:sp>
        <p:sp>
          <p:nvSpPr>
            <p:cNvPr id="1416" name="Freeform: Shape 1415">
              <a:extLst>
                <a:ext uri="{FF2B5EF4-FFF2-40B4-BE49-F238E27FC236}">
                  <a16:creationId xmlns:a16="http://schemas.microsoft.com/office/drawing/2014/main" id="{ABC887A9-196B-46AB-8502-F3E13D84BF88}"/>
                </a:ext>
              </a:extLst>
            </p:cNvPr>
            <p:cNvSpPr/>
            <p:nvPr/>
          </p:nvSpPr>
          <p:spPr>
            <a:xfrm>
              <a:off x="8027261" y="4256639"/>
              <a:ext cx="55183" cy="100189"/>
            </a:xfrm>
            <a:custGeom>
              <a:avLst/>
              <a:gdLst>
                <a:gd name="connsiteX0" fmla="*/ 10364 w 55183"/>
                <a:gd name="connsiteY0" fmla="*/ 0 h 100189"/>
                <a:gd name="connsiteX1" fmla="*/ 27639 w 55183"/>
                <a:gd name="connsiteY1" fmla="*/ 20729 h 100189"/>
                <a:gd name="connsiteX2" fmla="*/ 44819 w 55183"/>
                <a:gd name="connsiteY2" fmla="*/ 44912 h 100189"/>
                <a:gd name="connsiteX3" fmla="*/ 55184 w 55183"/>
                <a:gd name="connsiteY3" fmla="*/ 69096 h 100189"/>
                <a:gd name="connsiteX4" fmla="*/ 44819 w 55183"/>
                <a:gd name="connsiteY4" fmla="*/ 96735 h 100189"/>
                <a:gd name="connsiteX5" fmla="*/ 27639 w 55183"/>
                <a:gd name="connsiteY5" fmla="*/ 100190 h 100189"/>
                <a:gd name="connsiteX6" fmla="*/ 10364 w 55183"/>
                <a:gd name="connsiteY6" fmla="*/ 96735 h 100189"/>
                <a:gd name="connsiteX7" fmla="*/ 0 w 55183"/>
                <a:gd name="connsiteY7" fmla="*/ 76006 h 100189"/>
                <a:gd name="connsiteX8" fmla="*/ 0 w 55183"/>
                <a:gd name="connsiteY8" fmla="*/ 44912 h 100189"/>
                <a:gd name="connsiteX9" fmla="*/ 6910 w 55183"/>
                <a:gd name="connsiteY9" fmla="*/ 20729 h 100189"/>
                <a:gd name="connsiteX10" fmla="*/ 10364 w 55183"/>
                <a:gd name="connsiteY10" fmla="*/ 0 h 10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83" h="100189">
                  <a:moveTo>
                    <a:pt x="10364" y="0"/>
                  </a:moveTo>
                  <a:lnTo>
                    <a:pt x="27639" y="20729"/>
                  </a:lnTo>
                  <a:lnTo>
                    <a:pt x="44819" y="44912"/>
                  </a:lnTo>
                  <a:lnTo>
                    <a:pt x="55184" y="69096"/>
                  </a:lnTo>
                  <a:lnTo>
                    <a:pt x="44819" y="96735"/>
                  </a:lnTo>
                  <a:lnTo>
                    <a:pt x="27639" y="100190"/>
                  </a:lnTo>
                  <a:lnTo>
                    <a:pt x="10364" y="96735"/>
                  </a:lnTo>
                  <a:lnTo>
                    <a:pt x="0" y="76006"/>
                  </a:lnTo>
                  <a:lnTo>
                    <a:pt x="0" y="44912"/>
                  </a:lnTo>
                  <a:lnTo>
                    <a:pt x="6910" y="20729"/>
                  </a:lnTo>
                  <a:lnTo>
                    <a:pt x="10364" y="0"/>
                  </a:lnTo>
                  <a:close/>
                </a:path>
              </a:pathLst>
            </a:custGeom>
            <a:solidFill>
              <a:srgbClr val="CEE3BF"/>
            </a:solidFill>
            <a:ln w="9334" cap="flat">
              <a:noFill/>
              <a:prstDash val="solid"/>
              <a:miter/>
            </a:ln>
          </p:spPr>
          <p:txBody>
            <a:bodyPr rtlCol="0" anchor="ctr"/>
            <a:lstStyle/>
            <a:p>
              <a:endParaRPr lang="en-GB" dirty="0"/>
            </a:p>
          </p:txBody>
        </p:sp>
        <p:sp>
          <p:nvSpPr>
            <p:cNvPr id="1417" name="Freeform: Shape 1416">
              <a:extLst>
                <a:ext uri="{FF2B5EF4-FFF2-40B4-BE49-F238E27FC236}">
                  <a16:creationId xmlns:a16="http://schemas.microsoft.com/office/drawing/2014/main" id="{F9CB40B9-5509-4AE2-8209-4ED6A93EEFA0}"/>
                </a:ext>
              </a:extLst>
            </p:cNvPr>
            <p:cNvSpPr/>
            <p:nvPr/>
          </p:nvSpPr>
          <p:spPr>
            <a:xfrm>
              <a:off x="7709325" y="3470250"/>
              <a:ext cx="765286" cy="819349"/>
            </a:xfrm>
            <a:custGeom>
              <a:avLst/>
              <a:gdLst>
                <a:gd name="connsiteX0" fmla="*/ 765287 w 765286"/>
                <a:gd name="connsiteY0" fmla="*/ 256123 h 819349"/>
                <a:gd name="connsiteX1" fmla="*/ 765287 w 765286"/>
                <a:gd name="connsiteY1" fmla="*/ 244638 h 819349"/>
                <a:gd name="connsiteX2" fmla="*/ 735221 w 765286"/>
                <a:gd name="connsiteY2" fmla="*/ 241557 h 819349"/>
                <a:gd name="connsiteX3" fmla="*/ 735221 w 765286"/>
                <a:gd name="connsiteY3" fmla="*/ 224189 h 819349"/>
                <a:gd name="connsiteX4" fmla="*/ 735874 w 765286"/>
                <a:gd name="connsiteY4" fmla="*/ 217560 h 819349"/>
                <a:gd name="connsiteX5" fmla="*/ 722802 w 765286"/>
                <a:gd name="connsiteY5" fmla="*/ 212798 h 819349"/>
                <a:gd name="connsiteX6" fmla="*/ 714118 w 765286"/>
                <a:gd name="connsiteY6" fmla="*/ 220081 h 819349"/>
                <a:gd name="connsiteX7" fmla="*/ 696004 w 765286"/>
                <a:gd name="connsiteY7" fmla="*/ 221855 h 819349"/>
                <a:gd name="connsiteX8" fmla="*/ 691428 w 765286"/>
                <a:gd name="connsiteY8" fmla="*/ 216999 h 819349"/>
                <a:gd name="connsiteX9" fmla="*/ 672381 w 765286"/>
                <a:gd name="connsiteY9" fmla="*/ 235207 h 819349"/>
                <a:gd name="connsiteX10" fmla="*/ 654639 w 765286"/>
                <a:gd name="connsiteY10" fmla="*/ 243891 h 819349"/>
                <a:gd name="connsiteX11" fmla="*/ 622146 w 765286"/>
                <a:gd name="connsiteY11" fmla="*/ 265087 h 819349"/>
                <a:gd name="connsiteX12" fmla="*/ 613556 w 765286"/>
                <a:gd name="connsiteY12" fmla="*/ 262379 h 819349"/>
                <a:gd name="connsiteX13" fmla="*/ 615049 w 765286"/>
                <a:gd name="connsiteY13" fmla="*/ 277972 h 819349"/>
                <a:gd name="connsiteX14" fmla="*/ 625880 w 765286"/>
                <a:gd name="connsiteY14" fmla="*/ 279092 h 819349"/>
                <a:gd name="connsiteX15" fmla="*/ 626627 w 765286"/>
                <a:gd name="connsiteY15" fmla="*/ 291324 h 819349"/>
                <a:gd name="connsiteX16" fmla="*/ 602070 w 765286"/>
                <a:gd name="connsiteY16" fmla="*/ 294779 h 819349"/>
                <a:gd name="connsiteX17" fmla="*/ 576299 w 765286"/>
                <a:gd name="connsiteY17" fmla="*/ 297114 h 819349"/>
                <a:gd name="connsiteX18" fmla="*/ 550435 w 765286"/>
                <a:gd name="connsiteY18" fmla="*/ 291698 h 819349"/>
                <a:gd name="connsiteX19" fmla="*/ 551556 w 765286"/>
                <a:gd name="connsiteY19" fmla="*/ 266300 h 819349"/>
                <a:gd name="connsiteX20" fmla="*/ 539417 w 765286"/>
                <a:gd name="connsiteY20" fmla="*/ 254349 h 819349"/>
                <a:gd name="connsiteX21" fmla="*/ 522610 w 765286"/>
                <a:gd name="connsiteY21" fmla="*/ 277785 h 819349"/>
                <a:gd name="connsiteX22" fmla="*/ 523637 w 765286"/>
                <a:gd name="connsiteY22" fmla="*/ 307665 h 819349"/>
                <a:gd name="connsiteX23" fmla="*/ 501040 w 765286"/>
                <a:gd name="connsiteY23" fmla="*/ 303743 h 819349"/>
                <a:gd name="connsiteX24" fmla="*/ 474803 w 765286"/>
                <a:gd name="connsiteY24" fmla="*/ 300101 h 819349"/>
                <a:gd name="connsiteX25" fmla="*/ 469013 w 765286"/>
                <a:gd name="connsiteY25" fmla="*/ 302062 h 819349"/>
                <a:gd name="connsiteX26" fmla="*/ 455942 w 765286"/>
                <a:gd name="connsiteY26" fmla="*/ 298421 h 819349"/>
                <a:gd name="connsiteX27" fmla="*/ 440628 w 765286"/>
                <a:gd name="connsiteY27" fmla="*/ 287403 h 819349"/>
                <a:gd name="connsiteX28" fmla="*/ 414484 w 765286"/>
                <a:gd name="connsiteY28" fmla="*/ 282081 h 819349"/>
                <a:gd name="connsiteX29" fmla="*/ 403185 w 765286"/>
                <a:gd name="connsiteY29" fmla="*/ 281614 h 819349"/>
                <a:gd name="connsiteX30" fmla="*/ 392728 w 765286"/>
                <a:gd name="connsiteY30" fmla="*/ 277972 h 819349"/>
                <a:gd name="connsiteX31" fmla="*/ 389086 w 765286"/>
                <a:gd name="connsiteY31" fmla="*/ 274424 h 819349"/>
                <a:gd name="connsiteX32" fmla="*/ 364622 w 765286"/>
                <a:gd name="connsiteY32" fmla="*/ 267047 h 819349"/>
                <a:gd name="connsiteX33" fmla="*/ 337264 w 765286"/>
                <a:gd name="connsiteY33" fmla="*/ 245572 h 819349"/>
                <a:gd name="connsiteX34" fmla="*/ 327086 w 765286"/>
                <a:gd name="connsiteY34" fmla="*/ 239409 h 819349"/>
                <a:gd name="connsiteX35" fmla="*/ 340532 w 765286"/>
                <a:gd name="connsiteY35" fmla="*/ 209249 h 819349"/>
                <a:gd name="connsiteX36" fmla="*/ 350336 w 765286"/>
                <a:gd name="connsiteY36" fmla="*/ 206168 h 819349"/>
                <a:gd name="connsiteX37" fmla="*/ 333716 w 765286"/>
                <a:gd name="connsiteY37" fmla="*/ 193563 h 819349"/>
                <a:gd name="connsiteX38" fmla="*/ 321297 w 765286"/>
                <a:gd name="connsiteY38" fmla="*/ 180490 h 819349"/>
                <a:gd name="connsiteX39" fmla="*/ 306637 w 765286"/>
                <a:gd name="connsiteY39" fmla="*/ 168259 h 819349"/>
                <a:gd name="connsiteX40" fmla="*/ 297860 w 765286"/>
                <a:gd name="connsiteY40" fmla="*/ 166671 h 819349"/>
                <a:gd name="connsiteX41" fmla="*/ 296273 w 765286"/>
                <a:gd name="connsiteY41" fmla="*/ 144635 h 819349"/>
                <a:gd name="connsiteX42" fmla="*/ 294592 w 765286"/>
                <a:gd name="connsiteY42" fmla="*/ 140900 h 819349"/>
                <a:gd name="connsiteX43" fmla="*/ 308505 w 765286"/>
                <a:gd name="connsiteY43" fmla="*/ 139313 h 819349"/>
                <a:gd name="connsiteX44" fmla="*/ 316255 w 765286"/>
                <a:gd name="connsiteY44" fmla="*/ 116717 h 819349"/>
                <a:gd name="connsiteX45" fmla="*/ 302903 w 765286"/>
                <a:gd name="connsiteY45" fmla="*/ 111394 h 819349"/>
                <a:gd name="connsiteX46" fmla="*/ 305237 w 765286"/>
                <a:gd name="connsiteY46" fmla="*/ 96641 h 819349"/>
                <a:gd name="connsiteX47" fmla="*/ 340252 w 765286"/>
                <a:gd name="connsiteY47" fmla="*/ 75259 h 819349"/>
                <a:gd name="connsiteX48" fmla="*/ 336704 w 765286"/>
                <a:gd name="connsiteY48" fmla="*/ 48461 h 819349"/>
                <a:gd name="connsiteX49" fmla="*/ 307291 w 765286"/>
                <a:gd name="connsiteY49" fmla="*/ 35575 h 819349"/>
                <a:gd name="connsiteX50" fmla="*/ 305610 w 765286"/>
                <a:gd name="connsiteY50" fmla="*/ 39964 h 819349"/>
                <a:gd name="connsiteX51" fmla="*/ 270222 w 765286"/>
                <a:gd name="connsiteY51" fmla="*/ 50608 h 819349"/>
                <a:gd name="connsiteX52" fmla="*/ 269195 w 765286"/>
                <a:gd name="connsiteY52" fmla="*/ 45379 h 819349"/>
                <a:gd name="connsiteX53" fmla="*/ 240623 w 765286"/>
                <a:gd name="connsiteY53" fmla="*/ 20169 h 819349"/>
                <a:gd name="connsiteX54" fmla="*/ 222788 w 765286"/>
                <a:gd name="connsiteY54" fmla="*/ 1494 h 819349"/>
                <a:gd name="connsiteX55" fmla="*/ 206448 w 765286"/>
                <a:gd name="connsiteY55" fmla="*/ 0 h 819349"/>
                <a:gd name="connsiteX56" fmla="*/ 203087 w 765286"/>
                <a:gd name="connsiteY56" fmla="*/ 0 h 819349"/>
                <a:gd name="connsiteX57" fmla="*/ 180023 w 765286"/>
                <a:gd name="connsiteY57" fmla="*/ 2708 h 819349"/>
                <a:gd name="connsiteX58" fmla="*/ 179183 w 765286"/>
                <a:gd name="connsiteY58" fmla="*/ 6816 h 819349"/>
                <a:gd name="connsiteX59" fmla="*/ 153785 w 765286"/>
                <a:gd name="connsiteY59" fmla="*/ 21476 h 819349"/>
                <a:gd name="connsiteX60" fmla="*/ 158361 w 765286"/>
                <a:gd name="connsiteY60" fmla="*/ 35389 h 819349"/>
                <a:gd name="connsiteX61" fmla="*/ 172087 w 765286"/>
                <a:gd name="connsiteY61" fmla="*/ 45193 h 819349"/>
                <a:gd name="connsiteX62" fmla="*/ 178716 w 765286"/>
                <a:gd name="connsiteY62" fmla="*/ 46313 h 819349"/>
                <a:gd name="connsiteX63" fmla="*/ 175355 w 765286"/>
                <a:gd name="connsiteY63" fmla="*/ 51915 h 819349"/>
                <a:gd name="connsiteX64" fmla="*/ 185999 w 765286"/>
                <a:gd name="connsiteY64" fmla="*/ 57611 h 819349"/>
                <a:gd name="connsiteX65" fmla="*/ 167138 w 765286"/>
                <a:gd name="connsiteY65" fmla="*/ 74138 h 819349"/>
                <a:gd name="connsiteX66" fmla="*/ 171246 w 765286"/>
                <a:gd name="connsiteY66" fmla="*/ 88238 h 819349"/>
                <a:gd name="connsiteX67" fmla="*/ 173488 w 765286"/>
                <a:gd name="connsiteY67" fmla="*/ 117090 h 819349"/>
                <a:gd name="connsiteX68" fmla="*/ 191509 w 765286"/>
                <a:gd name="connsiteY68" fmla="*/ 124466 h 819349"/>
                <a:gd name="connsiteX69" fmla="*/ 196550 w 765286"/>
                <a:gd name="connsiteY69" fmla="*/ 133804 h 819349"/>
                <a:gd name="connsiteX70" fmla="*/ 210277 w 765286"/>
                <a:gd name="connsiteY70" fmla="*/ 139873 h 819349"/>
                <a:gd name="connsiteX71" fmla="*/ 190668 w 765286"/>
                <a:gd name="connsiteY71" fmla="*/ 152478 h 819349"/>
                <a:gd name="connsiteX72" fmla="*/ 187400 w 765286"/>
                <a:gd name="connsiteY72" fmla="*/ 172367 h 819349"/>
                <a:gd name="connsiteX73" fmla="*/ 170966 w 765286"/>
                <a:gd name="connsiteY73" fmla="*/ 191042 h 819349"/>
                <a:gd name="connsiteX74" fmla="*/ 156213 w 765286"/>
                <a:gd name="connsiteY74" fmla="*/ 202246 h 819349"/>
                <a:gd name="connsiteX75" fmla="*/ 146316 w 765286"/>
                <a:gd name="connsiteY75" fmla="*/ 220174 h 819349"/>
                <a:gd name="connsiteX76" fmla="*/ 127361 w 765286"/>
                <a:gd name="connsiteY76" fmla="*/ 234460 h 819349"/>
                <a:gd name="connsiteX77" fmla="*/ 111861 w 765286"/>
                <a:gd name="connsiteY77" fmla="*/ 253415 h 819349"/>
                <a:gd name="connsiteX78" fmla="*/ 88331 w 765286"/>
                <a:gd name="connsiteY78" fmla="*/ 255002 h 819349"/>
                <a:gd name="connsiteX79" fmla="*/ 83195 w 765286"/>
                <a:gd name="connsiteY79" fmla="*/ 245665 h 819349"/>
                <a:gd name="connsiteX80" fmla="*/ 65828 w 765286"/>
                <a:gd name="connsiteY80" fmla="*/ 256776 h 819349"/>
                <a:gd name="connsiteX81" fmla="*/ 52849 w 765286"/>
                <a:gd name="connsiteY81" fmla="*/ 268541 h 819349"/>
                <a:gd name="connsiteX82" fmla="*/ 52756 w 765286"/>
                <a:gd name="connsiteY82" fmla="*/ 282547 h 819349"/>
                <a:gd name="connsiteX83" fmla="*/ 65548 w 765286"/>
                <a:gd name="connsiteY83" fmla="*/ 290671 h 819349"/>
                <a:gd name="connsiteX84" fmla="*/ 62747 w 765286"/>
                <a:gd name="connsiteY84" fmla="*/ 305330 h 819349"/>
                <a:gd name="connsiteX85" fmla="*/ 76939 w 765286"/>
                <a:gd name="connsiteY85" fmla="*/ 319803 h 819349"/>
                <a:gd name="connsiteX86" fmla="*/ 81421 w 765286"/>
                <a:gd name="connsiteY86" fmla="*/ 349963 h 819349"/>
                <a:gd name="connsiteX87" fmla="*/ 69657 w 765286"/>
                <a:gd name="connsiteY87" fmla="*/ 345294 h 819349"/>
                <a:gd name="connsiteX88" fmla="*/ 54343 w 765286"/>
                <a:gd name="connsiteY88" fmla="*/ 349403 h 819349"/>
                <a:gd name="connsiteX89" fmla="*/ 25678 w 765286"/>
                <a:gd name="connsiteY89" fmla="*/ 346321 h 819349"/>
                <a:gd name="connsiteX90" fmla="*/ 19795 w 765286"/>
                <a:gd name="connsiteY90" fmla="*/ 352484 h 819349"/>
                <a:gd name="connsiteX91" fmla="*/ 0 w 765286"/>
                <a:gd name="connsiteY91" fmla="*/ 359954 h 819349"/>
                <a:gd name="connsiteX92" fmla="*/ 0 w 765286"/>
                <a:gd name="connsiteY92" fmla="*/ 363595 h 819349"/>
                <a:gd name="connsiteX93" fmla="*/ 15220 w 765286"/>
                <a:gd name="connsiteY93" fmla="*/ 364623 h 819349"/>
                <a:gd name="connsiteX94" fmla="*/ 40804 w 765286"/>
                <a:gd name="connsiteY94" fmla="*/ 391140 h 819349"/>
                <a:gd name="connsiteX95" fmla="*/ 62373 w 765286"/>
                <a:gd name="connsiteY95" fmla="*/ 392167 h 819349"/>
                <a:gd name="connsiteX96" fmla="*/ 35575 w 765286"/>
                <a:gd name="connsiteY96" fmla="*/ 402719 h 819349"/>
                <a:gd name="connsiteX97" fmla="*/ 26331 w 765286"/>
                <a:gd name="connsiteY97" fmla="*/ 401691 h 819349"/>
                <a:gd name="connsiteX98" fmla="*/ 33988 w 765286"/>
                <a:gd name="connsiteY98" fmla="*/ 412990 h 819349"/>
                <a:gd name="connsiteX99" fmla="*/ 57985 w 765286"/>
                <a:gd name="connsiteY99" fmla="*/ 443336 h 819349"/>
                <a:gd name="connsiteX100" fmla="*/ 84036 w 765286"/>
                <a:gd name="connsiteY100" fmla="*/ 450339 h 819349"/>
                <a:gd name="connsiteX101" fmla="*/ 107939 w 765286"/>
                <a:gd name="connsiteY101" fmla="*/ 440908 h 819349"/>
                <a:gd name="connsiteX102" fmla="*/ 114662 w 765286"/>
                <a:gd name="connsiteY102" fmla="*/ 415231 h 819349"/>
                <a:gd name="connsiteX103" fmla="*/ 117090 w 765286"/>
                <a:gd name="connsiteY103" fmla="*/ 427649 h 819349"/>
                <a:gd name="connsiteX104" fmla="*/ 122785 w 765286"/>
                <a:gd name="connsiteY104" fmla="*/ 432411 h 819349"/>
                <a:gd name="connsiteX105" fmla="*/ 122132 w 765286"/>
                <a:gd name="connsiteY105" fmla="*/ 456128 h 819349"/>
                <a:gd name="connsiteX106" fmla="*/ 118304 w 765286"/>
                <a:gd name="connsiteY106" fmla="*/ 485074 h 819349"/>
                <a:gd name="connsiteX107" fmla="*/ 124373 w 765286"/>
                <a:gd name="connsiteY107" fmla="*/ 537830 h 819349"/>
                <a:gd name="connsiteX108" fmla="*/ 131470 w 765286"/>
                <a:gd name="connsiteY108" fmla="*/ 590119 h 819349"/>
                <a:gd name="connsiteX109" fmla="*/ 139779 w 765286"/>
                <a:gd name="connsiteY109" fmla="*/ 610661 h 819349"/>
                <a:gd name="connsiteX110" fmla="*/ 150891 w 765286"/>
                <a:gd name="connsiteY110" fmla="*/ 632790 h 819349"/>
                <a:gd name="connsiteX111" fmla="*/ 157334 w 765286"/>
                <a:gd name="connsiteY111" fmla="*/ 657347 h 819349"/>
                <a:gd name="connsiteX112" fmla="*/ 165457 w 765286"/>
                <a:gd name="connsiteY112" fmla="*/ 690682 h 819349"/>
                <a:gd name="connsiteX113" fmla="*/ 187960 w 765286"/>
                <a:gd name="connsiteY113" fmla="*/ 733260 h 819349"/>
                <a:gd name="connsiteX114" fmla="*/ 192255 w 765286"/>
                <a:gd name="connsiteY114" fmla="*/ 751841 h 819349"/>
                <a:gd name="connsiteX115" fmla="*/ 200846 w 765286"/>
                <a:gd name="connsiteY115" fmla="*/ 782561 h 819349"/>
                <a:gd name="connsiteX116" fmla="*/ 212144 w 765286"/>
                <a:gd name="connsiteY116" fmla="*/ 807025 h 819349"/>
                <a:gd name="connsiteX117" fmla="*/ 230818 w 765286"/>
                <a:gd name="connsiteY117" fmla="*/ 819350 h 819349"/>
                <a:gd name="connsiteX118" fmla="*/ 240436 w 765286"/>
                <a:gd name="connsiteY118" fmla="*/ 819350 h 819349"/>
                <a:gd name="connsiteX119" fmla="*/ 256870 w 765286"/>
                <a:gd name="connsiteY119" fmla="*/ 798434 h 819349"/>
                <a:gd name="connsiteX120" fmla="*/ 274424 w 765286"/>
                <a:gd name="connsiteY120" fmla="*/ 780693 h 819349"/>
                <a:gd name="connsiteX121" fmla="*/ 279746 w 765286"/>
                <a:gd name="connsiteY121" fmla="*/ 776025 h 819349"/>
                <a:gd name="connsiteX122" fmla="*/ 286375 w 765286"/>
                <a:gd name="connsiteY122" fmla="*/ 762205 h 819349"/>
                <a:gd name="connsiteX123" fmla="*/ 301316 w 765286"/>
                <a:gd name="connsiteY123" fmla="*/ 758657 h 819349"/>
                <a:gd name="connsiteX124" fmla="*/ 303743 w 765286"/>
                <a:gd name="connsiteY124" fmla="*/ 716453 h 819349"/>
                <a:gd name="connsiteX125" fmla="*/ 313921 w 765286"/>
                <a:gd name="connsiteY125" fmla="*/ 698151 h 819349"/>
                <a:gd name="connsiteX126" fmla="*/ 315322 w 765286"/>
                <a:gd name="connsiteY126" fmla="*/ 675929 h 819349"/>
                <a:gd name="connsiteX127" fmla="*/ 317282 w 765286"/>
                <a:gd name="connsiteY127" fmla="*/ 658561 h 819349"/>
                <a:gd name="connsiteX128" fmla="*/ 315228 w 765286"/>
                <a:gd name="connsiteY128" fmla="*/ 629522 h 819349"/>
                <a:gd name="connsiteX129" fmla="*/ 331755 w 765286"/>
                <a:gd name="connsiteY129" fmla="*/ 600483 h 819349"/>
                <a:gd name="connsiteX130" fmla="*/ 335677 w 765286"/>
                <a:gd name="connsiteY130" fmla="*/ 606366 h 819349"/>
                <a:gd name="connsiteX131" fmla="*/ 346695 w 765286"/>
                <a:gd name="connsiteY131" fmla="*/ 590959 h 819349"/>
                <a:gd name="connsiteX132" fmla="*/ 372279 w 765286"/>
                <a:gd name="connsiteY132" fmla="*/ 584423 h 819349"/>
                <a:gd name="connsiteX133" fmla="*/ 377321 w 765286"/>
                <a:gd name="connsiteY133" fmla="*/ 570230 h 819349"/>
                <a:gd name="connsiteX134" fmla="*/ 403933 w 765286"/>
                <a:gd name="connsiteY134" fmla="*/ 551556 h 819349"/>
                <a:gd name="connsiteX135" fmla="*/ 428583 w 765286"/>
                <a:gd name="connsiteY135" fmla="*/ 533255 h 819349"/>
                <a:gd name="connsiteX136" fmla="*/ 454074 w 765286"/>
                <a:gd name="connsiteY136" fmla="*/ 504122 h 819349"/>
                <a:gd name="connsiteX137" fmla="*/ 460890 w 765286"/>
                <a:gd name="connsiteY137" fmla="*/ 492730 h 819349"/>
                <a:gd name="connsiteX138" fmla="*/ 477417 w 765286"/>
                <a:gd name="connsiteY138" fmla="*/ 492357 h 819349"/>
                <a:gd name="connsiteX139" fmla="*/ 502254 w 765286"/>
                <a:gd name="connsiteY139" fmla="*/ 467426 h 819349"/>
                <a:gd name="connsiteX140" fmla="*/ 502441 w 765286"/>
                <a:gd name="connsiteY140" fmla="*/ 451740 h 819349"/>
                <a:gd name="connsiteX141" fmla="*/ 531387 w 765286"/>
                <a:gd name="connsiteY141" fmla="*/ 432411 h 819349"/>
                <a:gd name="connsiteX142" fmla="*/ 534655 w 765286"/>
                <a:gd name="connsiteY142" fmla="*/ 432691 h 819349"/>
                <a:gd name="connsiteX143" fmla="*/ 536242 w 765286"/>
                <a:gd name="connsiteY143" fmla="*/ 439694 h 819349"/>
                <a:gd name="connsiteX144" fmla="*/ 543712 w 765286"/>
                <a:gd name="connsiteY144" fmla="*/ 440255 h 819349"/>
                <a:gd name="connsiteX145" fmla="*/ 553423 w 765286"/>
                <a:gd name="connsiteY145" fmla="*/ 437827 h 819349"/>
                <a:gd name="connsiteX146" fmla="*/ 552676 w 765286"/>
                <a:gd name="connsiteY146" fmla="*/ 434465 h 819349"/>
                <a:gd name="connsiteX147" fmla="*/ 556504 w 765286"/>
                <a:gd name="connsiteY147" fmla="*/ 421860 h 819349"/>
                <a:gd name="connsiteX148" fmla="*/ 553049 w 765286"/>
                <a:gd name="connsiteY148" fmla="*/ 401318 h 819349"/>
                <a:gd name="connsiteX149" fmla="*/ 544086 w 765286"/>
                <a:gd name="connsiteY149" fmla="*/ 383951 h 819349"/>
                <a:gd name="connsiteX150" fmla="*/ 548287 w 765286"/>
                <a:gd name="connsiteY150" fmla="*/ 367330 h 819349"/>
                <a:gd name="connsiteX151" fmla="*/ 528959 w 765286"/>
                <a:gd name="connsiteY151" fmla="*/ 352577 h 819349"/>
                <a:gd name="connsiteX152" fmla="*/ 538016 w 765286"/>
                <a:gd name="connsiteY152" fmla="*/ 350150 h 819349"/>
                <a:gd name="connsiteX153" fmla="*/ 538110 w 765286"/>
                <a:gd name="connsiteY153" fmla="*/ 343147 h 819349"/>
                <a:gd name="connsiteX154" fmla="*/ 552209 w 765286"/>
                <a:gd name="connsiteY154" fmla="*/ 340812 h 819349"/>
                <a:gd name="connsiteX155" fmla="*/ 545019 w 765286"/>
                <a:gd name="connsiteY155" fmla="*/ 331475 h 819349"/>
                <a:gd name="connsiteX156" fmla="*/ 539977 w 765286"/>
                <a:gd name="connsiteY156" fmla="*/ 329981 h 819349"/>
                <a:gd name="connsiteX157" fmla="*/ 530080 w 765286"/>
                <a:gd name="connsiteY157" fmla="*/ 322044 h 819349"/>
                <a:gd name="connsiteX158" fmla="*/ 539043 w 765286"/>
                <a:gd name="connsiteY158" fmla="*/ 308132 h 819349"/>
                <a:gd name="connsiteX159" fmla="*/ 544086 w 765286"/>
                <a:gd name="connsiteY159" fmla="*/ 318683 h 819349"/>
                <a:gd name="connsiteX160" fmla="*/ 553796 w 765286"/>
                <a:gd name="connsiteY160" fmla="*/ 313827 h 819349"/>
                <a:gd name="connsiteX161" fmla="*/ 565935 w 765286"/>
                <a:gd name="connsiteY161" fmla="*/ 321110 h 819349"/>
                <a:gd name="connsiteX162" fmla="*/ 570417 w 765286"/>
                <a:gd name="connsiteY162" fmla="*/ 317376 h 819349"/>
                <a:gd name="connsiteX163" fmla="*/ 567802 w 765286"/>
                <a:gd name="connsiteY163" fmla="*/ 333623 h 819349"/>
                <a:gd name="connsiteX164" fmla="*/ 590119 w 765286"/>
                <a:gd name="connsiteY164" fmla="*/ 343800 h 819349"/>
                <a:gd name="connsiteX165" fmla="*/ 632697 w 765286"/>
                <a:gd name="connsiteY165" fmla="*/ 339972 h 819349"/>
                <a:gd name="connsiteX166" fmla="*/ 639046 w 765286"/>
                <a:gd name="connsiteY166" fmla="*/ 342493 h 819349"/>
                <a:gd name="connsiteX167" fmla="*/ 631763 w 765286"/>
                <a:gd name="connsiteY167" fmla="*/ 359207 h 819349"/>
                <a:gd name="connsiteX168" fmla="*/ 610660 w 765286"/>
                <a:gd name="connsiteY168" fmla="*/ 371065 h 819349"/>
                <a:gd name="connsiteX169" fmla="*/ 613929 w 765286"/>
                <a:gd name="connsiteY169" fmla="*/ 399077 h 819349"/>
                <a:gd name="connsiteX170" fmla="*/ 625320 w 765286"/>
                <a:gd name="connsiteY170" fmla="*/ 402345 h 819349"/>
                <a:gd name="connsiteX171" fmla="*/ 639886 w 765286"/>
                <a:gd name="connsiteY171" fmla="*/ 397396 h 819349"/>
                <a:gd name="connsiteX172" fmla="*/ 646703 w 765286"/>
                <a:gd name="connsiteY172" fmla="*/ 429984 h 819349"/>
                <a:gd name="connsiteX173" fmla="*/ 662016 w 765286"/>
                <a:gd name="connsiteY173" fmla="*/ 425688 h 819349"/>
                <a:gd name="connsiteX174" fmla="*/ 663323 w 765286"/>
                <a:gd name="connsiteY174" fmla="*/ 403279 h 819349"/>
                <a:gd name="connsiteX175" fmla="*/ 667618 w 765286"/>
                <a:gd name="connsiteY175" fmla="*/ 369664 h 819349"/>
                <a:gd name="connsiteX176" fmla="*/ 689001 w 765286"/>
                <a:gd name="connsiteY176" fmla="*/ 374707 h 819349"/>
                <a:gd name="connsiteX177" fmla="*/ 704501 w 765286"/>
                <a:gd name="connsiteY177" fmla="*/ 340065 h 819349"/>
                <a:gd name="connsiteX178" fmla="*/ 702167 w 765286"/>
                <a:gd name="connsiteY178" fmla="*/ 328767 h 819349"/>
                <a:gd name="connsiteX179" fmla="*/ 711504 w 765286"/>
                <a:gd name="connsiteY179" fmla="*/ 297020 h 819349"/>
                <a:gd name="connsiteX180" fmla="*/ 743250 w 765286"/>
                <a:gd name="connsiteY180" fmla="*/ 274984 h 819349"/>
                <a:gd name="connsiteX181" fmla="*/ 760898 w 765286"/>
                <a:gd name="connsiteY181" fmla="*/ 280026 h 819349"/>
                <a:gd name="connsiteX182" fmla="*/ 753522 w 765286"/>
                <a:gd name="connsiteY182" fmla="*/ 266394 h 819349"/>
                <a:gd name="connsiteX183" fmla="*/ 765287 w 765286"/>
                <a:gd name="connsiteY183" fmla="*/ 256216 h 81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765286" h="819349">
                  <a:moveTo>
                    <a:pt x="765287" y="256123"/>
                  </a:moveTo>
                  <a:lnTo>
                    <a:pt x="765287" y="244638"/>
                  </a:lnTo>
                  <a:cubicBezTo>
                    <a:pt x="756043" y="239876"/>
                    <a:pt x="745305" y="240529"/>
                    <a:pt x="735221" y="241557"/>
                  </a:cubicBezTo>
                  <a:cubicBezTo>
                    <a:pt x="739329" y="236514"/>
                    <a:pt x="743998" y="227270"/>
                    <a:pt x="735221" y="224189"/>
                  </a:cubicBezTo>
                  <a:cubicBezTo>
                    <a:pt x="735407" y="222041"/>
                    <a:pt x="735687" y="219801"/>
                    <a:pt x="735874" y="217560"/>
                  </a:cubicBezTo>
                  <a:cubicBezTo>
                    <a:pt x="731579" y="215879"/>
                    <a:pt x="727564" y="213358"/>
                    <a:pt x="722802" y="212798"/>
                  </a:cubicBezTo>
                  <a:cubicBezTo>
                    <a:pt x="718320" y="212798"/>
                    <a:pt x="716546" y="217279"/>
                    <a:pt x="714118" y="220081"/>
                  </a:cubicBezTo>
                  <a:cubicBezTo>
                    <a:pt x="708329" y="221855"/>
                    <a:pt x="702167" y="222322"/>
                    <a:pt x="696004" y="221855"/>
                  </a:cubicBezTo>
                  <a:cubicBezTo>
                    <a:pt x="694510" y="220174"/>
                    <a:pt x="693109" y="218493"/>
                    <a:pt x="691428" y="216999"/>
                  </a:cubicBezTo>
                  <a:cubicBezTo>
                    <a:pt x="681344" y="218213"/>
                    <a:pt x="676862" y="227924"/>
                    <a:pt x="672381" y="235207"/>
                  </a:cubicBezTo>
                  <a:cubicBezTo>
                    <a:pt x="666778" y="238569"/>
                    <a:pt x="658748" y="238288"/>
                    <a:pt x="654639" y="243891"/>
                  </a:cubicBezTo>
                  <a:cubicBezTo>
                    <a:pt x="646889" y="254442"/>
                    <a:pt x="635778" y="262939"/>
                    <a:pt x="622146" y="265087"/>
                  </a:cubicBezTo>
                  <a:cubicBezTo>
                    <a:pt x="619251" y="264059"/>
                    <a:pt x="616450" y="263219"/>
                    <a:pt x="613556" y="262379"/>
                  </a:cubicBezTo>
                  <a:cubicBezTo>
                    <a:pt x="613182" y="267608"/>
                    <a:pt x="613275" y="272930"/>
                    <a:pt x="615049" y="277972"/>
                  </a:cubicBezTo>
                  <a:cubicBezTo>
                    <a:pt x="618691" y="278345"/>
                    <a:pt x="622239" y="278719"/>
                    <a:pt x="625880" y="279092"/>
                  </a:cubicBezTo>
                  <a:cubicBezTo>
                    <a:pt x="624666" y="283201"/>
                    <a:pt x="624947" y="287403"/>
                    <a:pt x="626627" y="291324"/>
                  </a:cubicBezTo>
                  <a:cubicBezTo>
                    <a:pt x="618784" y="294312"/>
                    <a:pt x="610194" y="293098"/>
                    <a:pt x="602070" y="294779"/>
                  </a:cubicBezTo>
                  <a:cubicBezTo>
                    <a:pt x="593387" y="296740"/>
                    <a:pt x="583489" y="289737"/>
                    <a:pt x="576299" y="297114"/>
                  </a:cubicBezTo>
                  <a:cubicBezTo>
                    <a:pt x="567802" y="294406"/>
                    <a:pt x="558465" y="295153"/>
                    <a:pt x="550435" y="291698"/>
                  </a:cubicBezTo>
                  <a:cubicBezTo>
                    <a:pt x="549688" y="283014"/>
                    <a:pt x="542872" y="273210"/>
                    <a:pt x="551556" y="266300"/>
                  </a:cubicBezTo>
                  <a:cubicBezTo>
                    <a:pt x="549875" y="260978"/>
                    <a:pt x="547073" y="252668"/>
                    <a:pt x="539417" y="254349"/>
                  </a:cubicBezTo>
                  <a:cubicBezTo>
                    <a:pt x="529520" y="258084"/>
                    <a:pt x="525598" y="268915"/>
                    <a:pt x="522610" y="277785"/>
                  </a:cubicBezTo>
                  <a:cubicBezTo>
                    <a:pt x="518595" y="288150"/>
                    <a:pt x="531574" y="297861"/>
                    <a:pt x="523637" y="307665"/>
                  </a:cubicBezTo>
                  <a:cubicBezTo>
                    <a:pt x="515887" y="308318"/>
                    <a:pt x="507016" y="309532"/>
                    <a:pt x="501040" y="303743"/>
                  </a:cubicBezTo>
                  <a:cubicBezTo>
                    <a:pt x="492077" y="308038"/>
                    <a:pt x="483393" y="302529"/>
                    <a:pt x="474803" y="300101"/>
                  </a:cubicBezTo>
                  <a:cubicBezTo>
                    <a:pt x="472935" y="300755"/>
                    <a:pt x="470974" y="301409"/>
                    <a:pt x="469013" y="302062"/>
                  </a:cubicBezTo>
                  <a:cubicBezTo>
                    <a:pt x="468173" y="294966"/>
                    <a:pt x="460890" y="295433"/>
                    <a:pt x="455942" y="298421"/>
                  </a:cubicBezTo>
                  <a:cubicBezTo>
                    <a:pt x="450619" y="295059"/>
                    <a:pt x="444270" y="292725"/>
                    <a:pt x="440628" y="287403"/>
                  </a:cubicBezTo>
                  <a:cubicBezTo>
                    <a:pt x="434652" y="279746"/>
                    <a:pt x="422701" y="273864"/>
                    <a:pt x="414484" y="282081"/>
                  </a:cubicBezTo>
                  <a:cubicBezTo>
                    <a:pt x="411029" y="279653"/>
                    <a:pt x="406921" y="279933"/>
                    <a:pt x="403185" y="281614"/>
                  </a:cubicBezTo>
                  <a:cubicBezTo>
                    <a:pt x="399918" y="280026"/>
                    <a:pt x="396369" y="278719"/>
                    <a:pt x="392728" y="277972"/>
                  </a:cubicBezTo>
                  <a:cubicBezTo>
                    <a:pt x="391514" y="276758"/>
                    <a:pt x="390300" y="275638"/>
                    <a:pt x="389086" y="274424"/>
                  </a:cubicBezTo>
                  <a:cubicBezTo>
                    <a:pt x="380123" y="273490"/>
                    <a:pt x="374240" y="264900"/>
                    <a:pt x="364622" y="267047"/>
                  </a:cubicBezTo>
                  <a:cubicBezTo>
                    <a:pt x="356592" y="258737"/>
                    <a:pt x="347162" y="251734"/>
                    <a:pt x="337264" y="245572"/>
                  </a:cubicBezTo>
                  <a:cubicBezTo>
                    <a:pt x="333996" y="243331"/>
                    <a:pt x="326246" y="244918"/>
                    <a:pt x="327086" y="239409"/>
                  </a:cubicBezTo>
                  <a:cubicBezTo>
                    <a:pt x="329420" y="228578"/>
                    <a:pt x="334276" y="218493"/>
                    <a:pt x="340532" y="209249"/>
                  </a:cubicBezTo>
                  <a:cubicBezTo>
                    <a:pt x="342399" y="205981"/>
                    <a:pt x="347068" y="207102"/>
                    <a:pt x="350336" y="206168"/>
                  </a:cubicBezTo>
                  <a:cubicBezTo>
                    <a:pt x="350523" y="197951"/>
                    <a:pt x="339972" y="196271"/>
                    <a:pt x="333716" y="193563"/>
                  </a:cubicBezTo>
                  <a:cubicBezTo>
                    <a:pt x="326526" y="191882"/>
                    <a:pt x="329047" y="181424"/>
                    <a:pt x="321297" y="180490"/>
                  </a:cubicBezTo>
                  <a:cubicBezTo>
                    <a:pt x="314294" y="179277"/>
                    <a:pt x="309159" y="174421"/>
                    <a:pt x="306637" y="168259"/>
                  </a:cubicBezTo>
                  <a:cubicBezTo>
                    <a:pt x="305517" y="164057"/>
                    <a:pt x="300942" y="166298"/>
                    <a:pt x="297860" y="166671"/>
                  </a:cubicBezTo>
                  <a:cubicBezTo>
                    <a:pt x="298328" y="159108"/>
                    <a:pt x="293192" y="152012"/>
                    <a:pt x="296273" y="144635"/>
                  </a:cubicBezTo>
                  <a:cubicBezTo>
                    <a:pt x="295900" y="143701"/>
                    <a:pt x="294966" y="141834"/>
                    <a:pt x="294592" y="140900"/>
                  </a:cubicBezTo>
                  <a:cubicBezTo>
                    <a:pt x="299448" y="142488"/>
                    <a:pt x="304770" y="143421"/>
                    <a:pt x="308505" y="139313"/>
                  </a:cubicBezTo>
                  <a:cubicBezTo>
                    <a:pt x="321857" y="138006"/>
                    <a:pt x="312613" y="124186"/>
                    <a:pt x="316255" y="116717"/>
                  </a:cubicBezTo>
                  <a:cubicBezTo>
                    <a:pt x="311773" y="114942"/>
                    <a:pt x="307291" y="113449"/>
                    <a:pt x="302903" y="111394"/>
                  </a:cubicBezTo>
                  <a:cubicBezTo>
                    <a:pt x="305050" y="106726"/>
                    <a:pt x="305050" y="101590"/>
                    <a:pt x="305237" y="96641"/>
                  </a:cubicBezTo>
                  <a:cubicBezTo>
                    <a:pt x="318123" y="95427"/>
                    <a:pt x="331381" y="82355"/>
                    <a:pt x="340252" y="75259"/>
                  </a:cubicBezTo>
                  <a:cubicBezTo>
                    <a:pt x="343707" y="67042"/>
                    <a:pt x="339972" y="57331"/>
                    <a:pt x="336704" y="48461"/>
                  </a:cubicBezTo>
                  <a:cubicBezTo>
                    <a:pt x="329047" y="41178"/>
                    <a:pt x="317656" y="37909"/>
                    <a:pt x="307291" y="35575"/>
                  </a:cubicBezTo>
                  <a:cubicBezTo>
                    <a:pt x="306824" y="36696"/>
                    <a:pt x="305984" y="38937"/>
                    <a:pt x="305610" y="39964"/>
                  </a:cubicBezTo>
                  <a:cubicBezTo>
                    <a:pt x="291511" y="37349"/>
                    <a:pt x="283854" y="52009"/>
                    <a:pt x="270222" y="50608"/>
                  </a:cubicBezTo>
                  <a:cubicBezTo>
                    <a:pt x="269942" y="48834"/>
                    <a:pt x="269568" y="47060"/>
                    <a:pt x="269195" y="45379"/>
                  </a:cubicBezTo>
                  <a:cubicBezTo>
                    <a:pt x="255189" y="41738"/>
                    <a:pt x="253322" y="25584"/>
                    <a:pt x="240623" y="20169"/>
                  </a:cubicBezTo>
                  <a:cubicBezTo>
                    <a:pt x="231379" y="17087"/>
                    <a:pt x="231005" y="5883"/>
                    <a:pt x="222788" y="1494"/>
                  </a:cubicBezTo>
                  <a:cubicBezTo>
                    <a:pt x="217186" y="2054"/>
                    <a:pt x="211677" y="2428"/>
                    <a:pt x="206448" y="0"/>
                  </a:cubicBezTo>
                  <a:lnTo>
                    <a:pt x="203087" y="0"/>
                  </a:lnTo>
                  <a:cubicBezTo>
                    <a:pt x="196271" y="4669"/>
                    <a:pt x="187960" y="4575"/>
                    <a:pt x="180023" y="2708"/>
                  </a:cubicBezTo>
                  <a:cubicBezTo>
                    <a:pt x="179743" y="3735"/>
                    <a:pt x="179370" y="5789"/>
                    <a:pt x="179183" y="6816"/>
                  </a:cubicBezTo>
                  <a:cubicBezTo>
                    <a:pt x="166764" y="3548"/>
                    <a:pt x="162376" y="16340"/>
                    <a:pt x="153785" y="21476"/>
                  </a:cubicBezTo>
                  <a:cubicBezTo>
                    <a:pt x="147810" y="25117"/>
                    <a:pt x="151171" y="35482"/>
                    <a:pt x="158361" y="35389"/>
                  </a:cubicBezTo>
                  <a:cubicBezTo>
                    <a:pt x="164524" y="35949"/>
                    <a:pt x="167885" y="41458"/>
                    <a:pt x="172087" y="45193"/>
                  </a:cubicBezTo>
                  <a:cubicBezTo>
                    <a:pt x="174234" y="45566"/>
                    <a:pt x="176475" y="45940"/>
                    <a:pt x="178716" y="46313"/>
                  </a:cubicBezTo>
                  <a:cubicBezTo>
                    <a:pt x="177596" y="48181"/>
                    <a:pt x="176475" y="50048"/>
                    <a:pt x="175355" y="51915"/>
                  </a:cubicBezTo>
                  <a:cubicBezTo>
                    <a:pt x="178809" y="53970"/>
                    <a:pt x="182451" y="55744"/>
                    <a:pt x="185999" y="57611"/>
                  </a:cubicBezTo>
                  <a:cubicBezTo>
                    <a:pt x="178063" y="61253"/>
                    <a:pt x="172554" y="67789"/>
                    <a:pt x="167138" y="74138"/>
                  </a:cubicBezTo>
                  <a:cubicBezTo>
                    <a:pt x="166951" y="79087"/>
                    <a:pt x="170033" y="83476"/>
                    <a:pt x="171246" y="88238"/>
                  </a:cubicBezTo>
                  <a:cubicBezTo>
                    <a:pt x="174234" y="97668"/>
                    <a:pt x="169005" y="107846"/>
                    <a:pt x="173488" y="117090"/>
                  </a:cubicBezTo>
                  <a:cubicBezTo>
                    <a:pt x="179183" y="120078"/>
                    <a:pt x="185999" y="121199"/>
                    <a:pt x="191509" y="124466"/>
                  </a:cubicBezTo>
                  <a:cubicBezTo>
                    <a:pt x="194029" y="127174"/>
                    <a:pt x="194216" y="131096"/>
                    <a:pt x="196550" y="133804"/>
                  </a:cubicBezTo>
                  <a:cubicBezTo>
                    <a:pt x="201126" y="135858"/>
                    <a:pt x="205888" y="137445"/>
                    <a:pt x="210277" y="139873"/>
                  </a:cubicBezTo>
                  <a:cubicBezTo>
                    <a:pt x="204114" y="145009"/>
                    <a:pt x="190201" y="142207"/>
                    <a:pt x="190668" y="152478"/>
                  </a:cubicBezTo>
                  <a:cubicBezTo>
                    <a:pt x="189921" y="159108"/>
                    <a:pt x="187960" y="165644"/>
                    <a:pt x="187400" y="172367"/>
                  </a:cubicBezTo>
                  <a:cubicBezTo>
                    <a:pt x="181984" y="178716"/>
                    <a:pt x="171900" y="182078"/>
                    <a:pt x="170966" y="191042"/>
                  </a:cubicBezTo>
                  <a:cubicBezTo>
                    <a:pt x="170500" y="198605"/>
                    <a:pt x="158921" y="195990"/>
                    <a:pt x="156213" y="202246"/>
                  </a:cubicBezTo>
                  <a:cubicBezTo>
                    <a:pt x="153225" y="208316"/>
                    <a:pt x="152292" y="215785"/>
                    <a:pt x="146316" y="220174"/>
                  </a:cubicBezTo>
                  <a:cubicBezTo>
                    <a:pt x="140713" y="225870"/>
                    <a:pt x="131002" y="226990"/>
                    <a:pt x="127361" y="234460"/>
                  </a:cubicBezTo>
                  <a:cubicBezTo>
                    <a:pt x="123533" y="241650"/>
                    <a:pt x="118117" y="247906"/>
                    <a:pt x="111861" y="253415"/>
                  </a:cubicBezTo>
                  <a:cubicBezTo>
                    <a:pt x="104018" y="252761"/>
                    <a:pt x="96081" y="253788"/>
                    <a:pt x="88331" y="255002"/>
                  </a:cubicBezTo>
                  <a:cubicBezTo>
                    <a:pt x="86744" y="251921"/>
                    <a:pt x="85997" y="248186"/>
                    <a:pt x="83195" y="245665"/>
                  </a:cubicBezTo>
                  <a:cubicBezTo>
                    <a:pt x="75726" y="245385"/>
                    <a:pt x="69283" y="250894"/>
                    <a:pt x="65828" y="256776"/>
                  </a:cubicBezTo>
                  <a:cubicBezTo>
                    <a:pt x="62840" y="261912"/>
                    <a:pt x="56957" y="264433"/>
                    <a:pt x="52849" y="268541"/>
                  </a:cubicBezTo>
                  <a:cubicBezTo>
                    <a:pt x="50235" y="272650"/>
                    <a:pt x="50608" y="278252"/>
                    <a:pt x="52756" y="282547"/>
                  </a:cubicBezTo>
                  <a:cubicBezTo>
                    <a:pt x="56397" y="286002"/>
                    <a:pt x="62560" y="286562"/>
                    <a:pt x="65548" y="290671"/>
                  </a:cubicBezTo>
                  <a:cubicBezTo>
                    <a:pt x="64894" y="295620"/>
                    <a:pt x="62467" y="300288"/>
                    <a:pt x="62747" y="305330"/>
                  </a:cubicBezTo>
                  <a:cubicBezTo>
                    <a:pt x="64521" y="312520"/>
                    <a:pt x="75819" y="312240"/>
                    <a:pt x="76939" y="319803"/>
                  </a:cubicBezTo>
                  <a:cubicBezTo>
                    <a:pt x="79741" y="329514"/>
                    <a:pt x="84316" y="339878"/>
                    <a:pt x="81421" y="349963"/>
                  </a:cubicBezTo>
                  <a:cubicBezTo>
                    <a:pt x="76286" y="352951"/>
                    <a:pt x="73672" y="346788"/>
                    <a:pt x="69657" y="345294"/>
                  </a:cubicBezTo>
                  <a:cubicBezTo>
                    <a:pt x="64241" y="345294"/>
                    <a:pt x="59572" y="348375"/>
                    <a:pt x="54343" y="349403"/>
                  </a:cubicBezTo>
                  <a:cubicBezTo>
                    <a:pt x="45006" y="347068"/>
                    <a:pt x="35295" y="344921"/>
                    <a:pt x="25678" y="346321"/>
                  </a:cubicBezTo>
                  <a:cubicBezTo>
                    <a:pt x="22223" y="346601"/>
                    <a:pt x="21382" y="350150"/>
                    <a:pt x="19795" y="352484"/>
                  </a:cubicBezTo>
                  <a:cubicBezTo>
                    <a:pt x="12512" y="352577"/>
                    <a:pt x="4856" y="354445"/>
                    <a:pt x="0" y="359954"/>
                  </a:cubicBezTo>
                  <a:lnTo>
                    <a:pt x="0" y="363595"/>
                  </a:lnTo>
                  <a:cubicBezTo>
                    <a:pt x="4948" y="364903"/>
                    <a:pt x="10084" y="364996"/>
                    <a:pt x="15220" y="364623"/>
                  </a:cubicBezTo>
                  <a:cubicBezTo>
                    <a:pt x="18208" y="376854"/>
                    <a:pt x="29319" y="385912"/>
                    <a:pt x="40804" y="391140"/>
                  </a:cubicBezTo>
                  <a:cubicBezTo>
                    <a:pt x="47807" y="393661"/>
                    <a:pt x="58638" y="383857"/>
                    <a:pt x="62373" y="392167"/>
                  </a:cubicBezTo>
                  <a:cubicBezTo>
                    <a:pt x="54997" y="398424"/>
                    <a:pt x="45379" y="401691"/>
                    <a:pt x="35575" y="402719"/>
                  </a:cubicBezTo>
                  <a:cubicBezTo>
                    <a:pt x="32681" y="401598"/>
                    <a:pt x="28385" y="397210"/>
                    <a:pt x="26331" y="401691"/>
                  </a:cubicBezTo>
                  <a:cubicBezTo>
                    <a:pt x="27825" y="405987"/>
                    <a:pt x="30533" y="409908"/>
                    <a:pt x="33988" y="412990"/>
                  </a:cubicBezTo>
                  <a:cubicBezTo>
                    <a:pt x="43886" y="421767"/>
                    <a:pt x="48834" y="434092"/>
                    <a:pt x="57985" y="443336"/>
                  </a:cubicBezTo>
                  <a:cubicBezTo>
                    <a:pt x="62933" y="452020"/>
                    <a:pt x="75072" y="454074"/>
                    <a:pt x="84036" y="450339"/>
                  </a:cubicBezTo>
                  <a:cubicBezTo>
                    <a:pt x="91879" y="447164"/>
                    <a:pt x="100843" y="445857"/>
                    <a:pt x="107939" y="440908"/>
                  </a:cubicBezTo>
                  <a:cubicBezTo>
                    <a:pt x="114195" y="433812"/>
                    <a:pt x="110834" y="423448"/>
                    <a:pt x="114662" y="415231"/>
                  </a:cubicBezTo>
                  <a:cubicBezTo>
                    <a:pt x="115596" y="419339"/>
                    <a:pt x="116343" y="423541"/>
                    <a:pt x="117090" y="427649"/>
                  </a:cubicBezTo>
                  <a:cubicBezTo>
                    <a:pt x="119051" y="429143"/>
                    <a:pt x="121012" y="430731"/>
                    <a:pt x="122785" y="432411"/>
                  </a:cubicBezTo>
                  <a:cubicBezTo>
                    <a:pt x="121852" y="440348"/>
                    <a:pt x="121385" y="448285"/>
                    <a:pt x="122132" y="456128"/>
                  </a:cubicBezTo>
                  <a:cubicBezTo>
                    <a:pt x="123626" y="466026"/>
                    <a:pt x="116996" y="475083"/>
                    <a:pt x="118304" y="485074"/>
                  </a:cubicBezTo>
                  <a:cubicBezTo>
                    <a:pt x="121758" y="502535"/>
                    <a:pt x="117650" y="520929"/>
                    <a:pt x="124373" y="537830"/>
                  </a:cubicBezTo>
                  <a:cubicBezTo>
                    <a:pt x="126614" y="555197"/>
                    <a:pt x="128388" y="572845"/>
                    <a:pt x="131470" y="590119"/>
                  </a:cubicBezTo>
                  <a:cubicBezTo>
                    <a:pt x="141274" y="592920"/>
                    <a:pt x="136699" y="603751"/>
                    <a:pt x="139779" y="610661"/>
                  </a:cubicBezTo>
                  <a:cubicBezTo>
                    <a:pt x="140153" y="619531"/>
                    <a:pt x="149677" y="624293"/>
                    <a:pt x="150891" y="632790"/>
                  </a:cubicBezTo>
                  <a:cubicBezTo>
                    <a:pt x="153039" y="641007"/>
                    <a:pt x="155093" y="649224"/>
                    <a:pt x="157334" y="657347"/>
                  </a:cubicBezTo>
                  <a:cubicBezTo>
                    <a:pt x="160695" y="668366"/>
                    <a:pt x="159855" y="680317"/>
                    <a:pt x="165457" y="690682"/>
                  </a:cubicBezTo>
                  <a:cubicBezTo>
                    <a:pt x="172460" y="705154"/>
                    <a:pt x="178903" y="719907"/>
                    <a:pt x="187960" y="733260"/>
                  </a:cubicBezTo>
                  <a:cubicBezTo>
                    <a:pt x="191228" y="738956"/>
                    <a:pt x="190388" y="745772"/>
                    <a:pt x="192255" y="751841"/>
                  </a:cubicBezTo>
                  <a:cubicBezTo>
                    <a:pt x="197671" y="760992"/>
                    <a:pt x="204301" y="771916"/>
                    <a:pt x="200846" y="782561"/>
                  </a:cubicBezTo>
                  <a:cubicBezTo>
                    <a:pt x="204020" y="790964"/>
                    <a:pt x="208503" y="798901"/>
                    <a:pt x="212144" y="807025"/>
                  </a:cubicBezTo>
                  <a:cubicBezTo>
                    <a:pt x="215879" y="813841"/>
                    <a:pt x="223722" y="816829"/>
                    <a:pt x="230818" y="819350"/>
                  </a:cubicBezTo>
                  <a:lnTo>
                    <a:pt x="240436" y="819350"/>
                  </a:lnTo>
                  <a:cubicBezTo>
                    <a:pt x="252201" y="817856"/>
                    <a:pt x="251921" y="805998"/>
                    <a:pt x="256870" y="798434"/>
                  </a:cubicBezTo>
                  <a:cubicBezTo>
                    <a:pt x="265647" y="790778"/>
                    <a:pt x="277132" y="787510"/>
                    <a:pt x="274424" y="780693"/>
                  </a:cubicBezTo>
                  <a:cubicBezTo>
                    <a:pt x="275824" y="778732"/>
                    <a:pt x="277879" y="777425"/>
                    <a:pt x="279746" y="776025"/>
                  </a:cubicBezTo>
                  <a:cubicBezTo>
                    <a:pt x="281987" y="771449"/>
                    <a:pt x="283387" y="766407"/>
                    <a:pt x="286375" y="762205"/>
                  </a:cubicBezTo>
                  <a:cubicBezTo>
                    <a:pt x="289737" y="757537"/>
                    <a:pt x="296366" y="759591"/>
                    <a:pt x="301316" y="758657"/>
                  </a:cubicBezTo>
                  <a:cubicBezTo>
                    <a:pt x="305144" y="745025"/>
                    <a:pt x="302342" y="730459"/>
                    <a:pt x="303743" y="716453"/>
                  </a:cubicBezTo>
                  <a:cubicBezTo>
                    <a:pt x="303369" y="708889"/>
                    <a:pt x="310466" y="704221"/>
                    <a:pt x="313921" y="698151"/>
                  </a:cubicBezTo>
                  <a:cubicBezTo>
                    <a:pt x="317562" y="691335"/>
                    <a:pt x="318496" y="683025"/>
                    <a:pt x="315322" y="675929"/>
                  </a:cubicBezTo>
                  <a:cubicBezTo>
                    <a:pt x="312707" y="670046"/>
                    <a:pt x="319616" y="664630"/>
                    <a:pt x="317282" y="658561"/>
                  </a:cubicBezTo>
                  <a:cubicBezTo>
                    <a:pt x="313921" y="649130"/>
                    <a:pt x="317749" y="639140"/>
                    <a:pt x="315228" y="629522"/>
                  </a:cubicBezTo>
                  <a:cubicBezTo>
                    <a:pt x="312147" y="617757"/>
                    <a:pt x="319150" y="604125"/>
                    <a:pt x="331755" y="600483"/>
                  </a:cubicBezTo>
                  <a:cubicBezTo>
                    <a:pt x="333062" y="602444"/>
                    <a:pt x="334369" y="604405"/>
                    <a:pt x="335677" y="606366"/>
                  </a:cubicBezTo>
                  <a:cubicBezTo>
                    <a:pt x="340345" y="601884"/>
                    <a:pt x="342866" y="595908"/>
                    <a:pt x="346695" y="590959"/>
                  </a:cubicBezTo>
                  <a:cubicBezTo>
                    <a:pt x="354725" y="587504"/>
                    <a:pt x="365276" y="590866"/>
                    <a:pt x="372279" y="584423"/>
                  </a:cubicBezTo>
                  <a:cubicBezTo>
                    <a:pt x="376948" y="580968"/>
                    <a:pt x="377135" y="575366"/>
                    <a:pt x="377321" y="570230"/>
                  </a:cubicBezTo>
                  <a:cubicBezTo>
                    <a:pt x="385538" y="563134"/>
                    <a:pt x="397490" y="560426"/>
                    <a:pt x="403933" y="551556"/>
                  </a:cubicBezTo>
                  <a:cubicBezTo>
                    <a:pt x="410469" y="543619"/>
                    <a:pt x="421393" y="540631"/>
                    <a:pt x="428583" y="533255"/>
                  </a:cubicBezTo>
                  <a:cubicBezTo>
                    <a:pt x="438574" y="524664"/>
                    <a:pt x="444923" y="513272"/>
                    <a:pt x="454074" y="504122"/>
                  </a:cubicBezTo>
                  <a:cubicBezTo>
                    <a:pt x="457529" y="500947"/>
                    <a:pt x="457435" y="495812"/>
                    <a:pt x="460890" y="492730"/>
                  </a:cubicBezTo>
                  <a:cubicBezTo>
                    <a:pt x="466399" y="491983"/>
                    <a:pt x="472001" y="493197"/>
                    <a:pt x="477417" y="492357"/>
                  </a:cubicBezTo>
                  <a:cubicBezTo>
                    <a:pt x="487595" y="486101"/>
                    <a:pt x="498613" y="479005"/>
                    <a:pt x="502254" y="467426"/>
                  </a:cubicBezTo>
                  <a:cubicBezTo>
                    <a:pt x="502254" y="462197"/>
                    <a:pt x="501321" y="456875"/>
                    <a:pt x="502441" y="451740"/>
                  </a:cubicBezTo>
                  <a:cubicBezTo>
                    <a:pt x="508137" y="440628"/>
                    <a:pt x="526438" y="443896"/>
                    <a:pt x="531387" y="432411"/>
                  </a:cubicBezTo>
                  <a:cubicBezTo>
                    <a:pt x="532134" y="432411"/>
                    <a:pt x="533814" y="432598"/>
                    <a:pt x="534655" y="432691"/>
                  </a:cubicBezTo>
                  <a:cubicBezTo>
                    <a:pt x="535215" y="435026"/>
                    <a:pt x="535776" y="437360"/>
                    <a:pt x="536242" y="439694"/>
                  </a:cubicBezTo>
                  <a:cubicBezTo>
                    <a:pt x="538670" y="439881"/>
                    <a:pt x="541191" y="440068"/>
                    <a:pt x="543712" y="440255"/>
                  </a:cubicBezTo>
                  <a:cubicBezTo>
                    <a:pt x="546793" y="438948"/>
                    <a:pt x="550061" y="438200"/>
                    <a:pt x="553423" y="437827"/>
                  </a:cubicBezTo>
                  <a:cubicBezTo>
                    <a:pt x="553236" y="436987"/>
                    <a:pt x="552863" y="435306"/>
                    <a:pt x="552676" y="434465"/>
                  </a:cubicBezTo>
                  <a:cubicBezTo>
                    <a:pt x="559586" y="435026"/>
                    <a:pt x="558092" y="425875"/>
                    <a:pt x="556504" y="421860"/>
                  </a:cubicBezTo>
                  <a:cubicBezTo>
                    <a:pt x="552489" y="415604"/>
                    <a:pt x="552489" y="408321"/>
                    <a:pt x="553049" y="401318"/>
                  </a:cubicBezTo>
                  <a:cubicBezTo>
                    <a:pt x="554076" y="394035"/>
                    <a:pt x="544739" y="390580"/>
                    <a:pt x="544086" y="383951"/>
                  </a:cubicBezTo>
                  <a:cubicBezTo>
                    <a:pt x="546420" y="378629"/>
                    <a:pt x="548287" y="373213"/>
                    <a:pt x="548287" y="367330"/>
                  </a:cubicBezTo>
                  <a:cubicBezTo>
                    <a:pt x="542592" y="361261"/>
                    <a:pt x="528866" y="362568"/>
                    <a:pt x="528959" y="352577"/>
                  </a:cubicBezTo>
                  <a:cubicBezTo>
                    <a:pt x="531947" y="351830"/>
                    <a:pt x="535028" y="350990"/>
                    <a:pt x="538016" y="350150"/>
                  </a:cubicBezTo>
                  <a:cubicBezTo>
                    <a:pt x="538110" y="347815"/>
                    <a:pt x="538016" y="345481"/>
                    <a:pt x="538110" y="343147"/>
                  </a:cubicBezTo>
                  <a:cubicBezTo>
                    <a:pt x="542872" y="343147"/>
                    <a:pt x="548007" y="343520"/>
                    <a:pt x="552209" y="340812"/>
                  </a:cubicBezTo>
                  <a:cubicBezTo>
                    <a:pt x="549875" y="337638"/>
                    <a:pt x="547354" y="334650"/>
                    <a:pt x="545019" y="331475"/>
                  </a:cubicBezTo>
                  <a:cubicBezTo>
                    <a:pt x="543339" y="331008"/>
                    <a:pt x="541658" y="330448"/>
                    <a:pt x="539977" y="329981"/>
                  </a:cubicBezTo>
                  <a:cubicBezTo>
                    <a:pt x="537456" y="326526"/>
                    <a:pt x="534001" y="324005"/>
                    <a:pt x="530080" y="322044"/>
                  </a:cubicBezTo>
                  <a:cubicBezTo>
                    <a:pt x="533628" y="317749"/>
                    <a:pt x="536896" y="313267"/>
                    <a:pt x="539043" y="308132"/>
                  </a:cubicBezTo>
                  <a:cubicBezTo>
                    <a:pt x="540631" y="311680"/>
                    <a:pt x="542312" y="315228"/>
                    <a:pt x="544086" y="318683"/>
                  </a:cubicBezTo>
                  <a:cubicBezTo>
                    <a:pt x="547447" y="317282"/>
                    <a:pt x="550715" y="315788"/>
                    <a:pt x="553796" y="313827"/>
                  </a:cubicBezTo>
                  <a:cubicBezTo>
                    <a:pt x="556691" y="317749"/>
                    <a:pt x="561079" y="319990"/>
                    <a:pt x="565935" y="321110"/>
                  </a:cubicBezTo>
                  <a:cubicBezTo>
                    <a:pt x="567429" y="319803"/>
                    <a:pt x="568923" y="318589"/>
                    <a:pt x="570417" y="317376"/>
                  </a:cubicBezTo>
                  <a:cubicBezTo>
                    <a:pt x="571257" y="322978"/>
                    <a:pt x="568642" y="328207"/>
                    <a:pt x="567802" y="333623"/>
                  </a:cubicBezTo>
                  <a:cubicBezTo>
                    <a:pt x="573218" y="339972"/>
                    <a:pt x="581248" y="345014"/>
                    <a:pt x="590119" y="343800"/>
                  </a:cubicBezTo>
                  <a:cubicBezTo>
                    <a:pt x="604125" y="341279"/>
                    <a:pt x="618411" y="339692"/>
                    <a:pt x="632697" y="339972"/>
                  </a:cubicBezTo>
                  <a:cubicBezTo>
                    <a:pt x="635218" y="339692"/>
                    <a:pt x="637179" y="341186"/>
                    <a:pt x="639046" y="342493"/>
                  </a:cubicBezTo>
                  <a:cubicBezTo>
                    <a:pt x="633724" y="346788"/>
                    <a:pt x="632417" y="353044"/>
                    <a:pt x="631763" y="359207"/>
                  </a:cubicBezTo>
                  <a:cubicBezTo>
                    <a:pt x="625134" y="363689"/>
                    <a:pt x="617944" y="367517"/>
                    <a:pt x="610660" y="371065"/>
                  </a:cubicBezTo>
                  <a:cubicBezTo>
                    <a:pt x="605618" y="380122"/>
                    <a:pt x="610100" y="390487"/>
                    <a:pt x="613929" y="399077"/>
                  </a:cubicBezTo>
                  <a:cubicBezTo>
                    <a:pt x="617757" y="399918"/>
                    <a:pt x="621492" y="401131"/>
                    <a:pt x="625320" y="402345"/>
                  </a:cubicBezTo>
                  <a:cubicBezTo>
                    <a:pt x="627841" y="396463"/>
                    <a:pt x="634378" y="397396"/>
                    <a:pt x="639886" y="397396"/>
                  </a:cubicBezTo>
                  <a:cubicBezTo>
                    <a:pt x="644929" y="407667"/>
                    <a:pt x="643528" y="419339"/>
                    <a:pt x="646703" y="429984"/>
                  </a:cubicBezTo>
                  <a:cubicBezTo>
                    <a:pt x="651932" y="431291"/>
                    <a:pt x="660522" y="432598"/>
                    <a:pt x="662016" y="425688"/>
                  </a:cubicBezTo>
                  <a:cubicBezTo>
                    <a:pt x="667245" y="418872"/>
                    <a:pt x="663137" y="410282"/>
                    <a:pt x="663323" y="403279"/>
                  </a:cubicBezTo>
                  <a:cubicBezTo>
                    <a:pt x="673781" y="394688"/>
                    <a:pt x="669393" y="380869"/>
                    <a:pt x="667618" y="369664"/>
                  </a:cubicBezTo>
                  <a:cubicBezTo>
                    <a:pt x="674621" y="371906"/>
                    <a:pt x="681624" y="374053"/>
                    <a:pt x="689001" y="374707"/>
                  </a:cubicBezTo>
                  <a:cubicBezTo>
                    <a:pt x="691615" y="362195"/>
                    <a:pt x="700859" y="352297"/>
                    <a:pt x="704501" y="340065"/>
                  </a:cubicBezTo>
                  <a:cubicBezTo>
                    <a:pt x="702633" y="336517"/>
                    <a:pt x="697684" y="332315"/>
                    <a:pt x="702167" y="328767"/>
                  </a:cubicBezTo>
                  <a:cubicBezTo>
                    <a:pt x="709823" y="319803"/>
                    <a:pt x="711504" y="308132"/>
                    <a:pt x="711504" y="297020"/>
                  </a:cubicBezTo>
                  <a:cubicBezTo>
                    <a:pt x="719627" y="287029"/>
                    <a:pt x="731019" y="279933"/>
                    <a:pt x="743250" y="274984"/>
                  </a:cubicBezTo>
                  <a:cubicBezTo>
                    <a:pt x="749320" y="276291"/>
                    <a:pt x="754176" y="282828"/>
                    <a:pt x="760898" y="280026"/>
                  </a:cubicBezTo>
                  <a:cubicBezTo>
                    <a:pt x="758657" y="275358"/>
                    <a:pt x="754736" y="271343"/>
                    <a:pt x="753522" y="266394"/>
                  </a:cubicBezTo>
                  <a:cubicBezTo>
                    <a:pt x="754455" y="260791"/>
                    <a:pt x="761739" y="259951"/>
                    <a:pt x="765287" y="256216"/>
                  </a:cubicBezTo>
                  <a:close/>
                </a:path>
              </a:pathLst>
            </a:custGeom>
            <a:solidFill>
              <a:srgbClr val="CEE3BF"/>
            </a:solidFill>
            <a:ln w="9334" cap="flat">
              <a:noFill/>
              <a:prstDash val="solid"/>
              <a:miter/>
            </a:ln>
          </p:spPr>
          <p:txBody>
            <a:bodyPr rtlCol="0" anchor="ctr"/>
            <a:lstStyle/>
            <a:p>
              <a:endParaRPr lang="en-GB" dirty="0"/>
            </a:p>
          </p:txBody>
        </p:sp>
        <p:sp>
          <p:nvSpPr>
            <p:cNvPr id="1418" name="Freeform: Shape 1417">
              <a:extLst>
                <a:ext uri="{FF2B5EF4-FFF2-40B4-BE49-F238E27FC236}">
                  <a16:creationId xmlns:a16="http://schemas.microsoft.com/office/drawing/2014/main" id="{8FB50E5E-3D93-40A6-9A3A-111DD32F6A1D}"/>
                </a:ext>
              </a:extLst>
            </p:cNvPr>
            <p:cNvSpPr/>
            <p:nvPr/>
          </p:nvSpPr>
          <p:spPr>
            <a:xfrm>
              <a:off x="5592741" y="2578723"/>
              <a:ext cx="65547" cy="101403"/>
            </a:xfrm>
            <a:custGeom>
              <a:avLst/>
              <a:gdLst>
                <a:gd name="connsiteX0" fmla="*/ 26891 w 65547"/>
                <a:gd name="connsiteY0" fmla="*/ 29973 h 101403"/>
                <a:gd name="connsiteX1" fmla="*/ 25678 w 65547"/>
                <a:gd name="connsiteY1" fmla="*/ 29973 h 101403"/>
                <a:gd name="connsiteX2" fmla="*/ 24464 w 65547"/>
                <a:gd name="connsiteY2" fmla="*/ 29599 h 101403"/>
                <a:gd name="connsiteX3" fmla="*/ 23997 w 65547"/>
                <a:gd name="connsiteY3" fmla="*/ 28852 h 101403"/>
                <a:gd name="connsiteX4" fmla="*/ 23250 w 65547"/>
                <a:gd name="connsiteY4" fmla="*/ 27172 h 101403"/>
                <a:gd name="connsiteX5" fmla="*/ 22690 w 65547"/>
                <a:gd name="connsiteY5" fmla="*/ 26798 h 101403"/>
                <a:gd name="connsiteX6" fmla="*/ 22129 w 65547"/>
                <a:gd name="connsiteY6" fmla="*/ 26611 h 101403"/>
                <a:gd name="connsiteX7" fmla="*/ 20262 w 65547"/>
                <a:gd name="connsiteY7" fmla="*/ 25304 h 101403"/>
                <a:gd name="connsiteX8" fmla="*/ 20262 w 65547"/>
                <a:gd name="connsiteY8" fmla="*/ 24557 h 101403"/>
                <a:gd name="connsiteX9" fmla="*/ 20542 w 65547"/>
                <a:gd name="connsiteY9" fmla="*/ 24557 h 101403"/>
                <a:gd name="connsiteX10" fmla="*/ 20542 w 65547"/>
                <a:gd name="connsiteY10" fmla="*/ 23904 h 101403"/>
                <a:gd name="connsiteX11" fmla="*/ 17181 w 65547"/>
                <a:gd name="connsiteY11" fmla="*/ 24744 h 101403"/>
                <a:gd name="connsiteX12" fmla="*/ 16340 w 65547"/>
                <a:gd name="connsiteY12" fmla="*/ 25771 h 101403"/>
                <a:gd name="connsiteX13" fmla="*/ 15780 w 65547"/>
                <a:gd name="connsiteY13" fmla="*/ 25958 h 101403"/>
                <a:gd name="connsiteX14" fmla="*/ 15780 w 65547"/>
                <a:gd name="connsiteY14" fmla="*/ 26145 h 101403"/>
                <a:gd name="connsiteX15" fmla="*/ 15593 w 65547"/>
                <a:gd name="connsiteY15" fmla="*/ 26611 h 101403"/>
                <a:gd name="connsiteX16" fmla="*/ 15593 w 65547"/>
                <a:gd name="connsiteY16" fmla="*/ 27078 h 101403"/>
                <a:gd name="connsiteX17" fmla="*/ 15126 w 65547"/>
                <a:gd name="connsiteY17" fmla="*/ 27265 h 101403"/>
                <a:gd name="connsiteX18" fmla="*/ 14006 w 65547"/>
                <a:gd name="connsiteY18" fmla="*/ 27265 h 101403"/>
                <a:gd name="connsiteX19" fmla="*/ 13632 w 65547"/>
                <a:gd name="connsiteY19" fmla="*/ 27265 h 101403"/>
                <a:gd name="connsiteX20" fmla="*/ 13072 w 65547"/>
                <a:gd name="connsiteY20" fmla="*/ 26892 h 101403"/>
                <a:gd name="connsiteX21" fmla="*/ 11391 w 65547"/>
                <a:gd name="connsiteY21" fmla="*/ 25117 h 101403"/>
                <a:gd name="connsiteX22" fmla="*/ 10271 w 65547"/>
                <a:gd name="connsiteY22" fmla="*/ 25304 h 101403"/>
                <a:gd name="connsiteX23" fmla="*/ 10271 w 65547"/>
                <a:gd name="connsiteY23" fmla="*/ 27358 h 101403"/>
                <a:gd name="connsiteX24" fmla="*/ 11298 w 65547"/>
                <a:gd name="connsiteY24" fmla="*/ 29693 h 101403"/>
                <a:gd name="connsiteX25" fmla="*/ 12605 w 65547"/>
                <a:gd name="connsiteY25" fmla="*/ 30813 h 101403"/>
                <a:gd name="connsiteX26" fmla="*/ 15033 w 65547"/>
                <a:gd name="connsiteY26" fmla="*/ 31373 h 101403"/>
                <a:gd name="connsiteX27" fmla="*/ 16247 w 65547"/>
                <a:gd name="connsiteY27" fmla="*/ 32027 h 101403"/>
                <a:gd name="connsiteX28" fmla="*/ 17274 w 65547"/>
                <a:gd name="connsiteY28" fmla="*/ 32867 h 101403"/>
                <a:gd name="connsiteX29" fmla="*/ 12699 w 65547"/>
                <a:gd name="connsiteY29" fmla="*/ 32867 h 101403"/>
                <a:gd name="connsiteX30" fmla="*/ 12699 w 65547"/>
                <a:gd name="connsiteY30" fmla="*/ 33614 h 101403"/>
                <a:gd name="connsiteX31" fmla="*/ 13352 w 65547"/>
                <a:gd name="connsiteY31" fmla="*/ 33614 h 101403"/>
                <a:gd name="connsiteX32" fmla="*/ 15313 w 65547"/>
                <a:gd name="connsiteY32" fmla="*/ 35015 h 101403"/>
                <a:gd name="connsiteX33" fmla="*/ 18301 w 65547"/>
                <a:gd name="connsiteY33" fmla="*/ 35668 h 101403"/>
                <a:gd name="connsiteX34" fmla="*/ 20448 w 65547"/>
                <a:gd name="connsiteY34" fmla="*/ 37162 h 101403"/>
                <a:gd name="connsiteX35" fmla="*/ 20916 w 65547"/>
                <a:gd name="connsiteY35" fmla="*/ 37162 h 101403"/>
                <a:gd name="connsiteX36" fmla="*/ 20916 w 65547"/>
                <a:gd name="connsiteY36" fmla="*/ 36135 h 101403"/>
                <a:gd name="connsiteX37" fmla="*/ 20448 w 65547"/>
                <a:gd name="connsiteY37" fmla="*/ 35295 h 101403"/>
                <a:gd name="connsiteX38" fmla="*/ 19888 w 65547"/>
                <a:gd name="connsiteY38" fmla="*/ 34642 h 101403"/>
                <a:gd name="connsiteX39" fmla="*/ 19515 w 65547"/>
                <a:gd name="connsiteY39" fmla="*/ 34268 h 101403"/>
                <a:gd name="connsiteX40" fmla="*/ 20262 w 65547"/>
                <a:gd name="connsiteY40" fmla="*/ 33801 h 101403"/>
                <a:gd name="connsiteX41" fmla="*/ 20916 w 65547"/>
                <a:gd name="connsiteY41" fmla="*/ 34455 h 101403"/>
                <a:gd name="connsiteX42" fmla="*/ 21476 w 65547"/>
                <a:gd name="connsiteY42" fmla="*/ 35668 h 101403"/>
                <a:gd name="connsiteX43" fmla="*/ 21849 w 65547"/>
                <a:gd name="connsiteY43" fmla="*/ 37069 h 101403"/>
                <a:gd name="connsiteX44" fmla="*/ 21662 w 65547"/>
                <a:gd name="connsiteY44" fmla="*/ 37443 h 101403"/>
                <a:gd name="connsiteX45" fmla="*/ 21289 w 65547"/>
                <a:gd name="connsiteY45" fmla="*/ 38563 h 101403"/>
                <a:gd name="connsiteX46" fmla="*/ 22129 w 65547"/>
                <a:gd name="connsiteY46" fmla="*/ 37909 h 101403"/>
                <a:gd name="connsiteX47" fmla="*/ 24930 w 65547"/>
                <a:gd name="connsiteY47" fmla="*/ 36509 h 101403"/>
                <a:gd name="connsiteX48" fmla="*/ 24464 w 65547"/>
                <a:gd name="connsiteY48" fmla="*/ 36509 h 101403"/>
                <a:gd name="connsiteX49" fmla="*/ 24090 w 65547"/>
                <a:gd name="connsiteY49" fmla="*/ 36322 h 101403"/>
                <a:gd name="connsiteX50" fmla="*/ 23717 w 65547"/>
                <a:gd name="connsiteY50" fmla="*/ 36042 h 101403"/>
                <a:gd name="connsiteX51" fmla="*/ 23343 w 65547"/>
                <a:gd name="connsiteY51" fmla="*/ 35668 h 101403"/>
                <a:gd name="connsiteX52" fmla="*/ 24184 w 65547"/>
                <a:gd name="connsiteY52" fmla="*/ 35015 h 101403"/>
                <a:gd name="connsiteX53" fmla="*/ 24930 w 65547"/>
                <a:gd name="connsiteY53" fmla="*/ 35015 h 101403"/>
                <a:gd name="connsiteX54" fmla="*/ 25678 w 65547"/>
                <a:gd name="connsiteY54" fmla="*/ 35482 h 101403"/>
                <a:gd name="connsiteX55" fmla="*/ 26518 w 65547"/>
                <a:gd name="connsiteY55" fmla="*/ 35668 h 101403"/>
                <a:gd name="connsiteX56" fmla="*/ 27545 w 65547"/>
                <a:gd name="connsiteY56" fmla="*/ 35202 h 101403"/>
                <a:gd name="connsiteX57" fmla="*/ 28105 w 65547"/>
                <a:gd name="connsiteY57" fmla="*/ 34175 h 101403"/>
                <a:gd name="connsiteX58" fmla="*/ 28572 w 65547"/>
                <a:gd name="connsiteY58" fmla="*/ 32867 h 101403"/>
                <a:gd name="connsiteX59" fmla="*/ 29132 w 65547"/>
                <a:gd name="connsiteY59" fmla="*/ 31560 h 101403"/>
                <a:gd name="connsiteX60" fmla="*/ 28199 w 65547"/>
                <a:gd name="connsiteY60" fmla="*/ 30066 h 101403"/>
                <a:gd name="connsiteX61" fmla="*/ 26985 w 65547"/>
                <a:gd name="connsiteY61" fmla="*/ 29786 h 101403"/>
                <a:gd name="connsiteX62" fmla="*/ 47714 w 65547"/>
                <a:gd name="connsiteY62" fmla="*/ 11205 h 101403"/>
                <a:gd name="connsiteX63" fmla="*/ 48180 w 65547"/>
                <a:gd name="connsiteY63" fmla="*/ 12139 h 101403"/>
                <a:gd name="connsiteX64" fmla="*/ 49114 w 65547"/>
                <a:gd name="connsiteY64" fmla="*/ 13539 h 101403"/>
                <a:gd name="connsiteX65" fmla="*/ 50141 w 65547"/>
                <a:gd name="connsiteY65" fmla="*/ 14099 h 101403"/>
                <a:gd name="connsiteX66" fmla="*/ 50888 w 65547"/>
                <a:gd name="connsiteY66" fmla="*/ 13539 h 101403"/>
                <a:gd name="connsiteX67" fmla="*/ 50888 w 65547"/>
                <a:gd name="connsiteY67" fmla="*/ 12045 h 101403"/>
                <a:gd name="connsiteX68" fmla="*/ 50608 w 65547"/>
                <a:gd name="connsiteY68" fmla="*/ 11205 h 101403"/>
                <a:gd name="connsiteX69" fmla="*/ 50048 w 65547"/>
                <a:gd name="connsiteY69" fmla="*/ 9711 h 101403"/>
                <a:gd name="connsiteX70" fmla="*/ 47994 w 65547"/>
                <a:gd name="connsiteY70" fmla="*/ 4855 h 101403"/>
                <a:gd name="connsiteX71" fmla="*/ 47620 w 65547"/>
                <a:gd name="connsiteY71" fmla="*/ 3361 h 101403"/>
                <a:gd name="connsiteX72" fmla="*/ 46873 w 65547"/>
                <a:gd name="connsiteY72" fmla="*/ 2614 h 101403"/>
                <a:gd name="connsiteX73" fmla="*/ 46126 w 65547"/>
                <a:gd name="connsiteY73" fmla="*/ 3455 h 101403"/>
                <a:gd name="connsiteX74" fmla="*/ 45939 w 65547"/>
                <a:gd name="connsiteY74" fmla="*/ 5696 h 101403"/>
                <a:gd name="connsiteX75" fmla="*/ 46500 w 65547"/>
                <a:gd name="connsiteY75" fmla="*/ 8030 h 101403"/>
                <a:gd name="connsiteX76" fmla="*/ 47807 w 65547"/>
                <a:gd name="connsiteY76" fmla="*/ 11205 h 101403"/>
                <a:gd name="connsiteX77" fmla="*/ 41831 w 65547"/>
                <a:gd name="connsiteY77" fmla="*/ 6443 h 101403"/>
                <a:gd name="connsiteX78" fmla="*/ 42205 w 65547"/>
                <a:gd name="connsiteY78" fmla="*/ 7283 h 101403"/>
                <a:gd name="connsiteX79" fmla="*/ 43512 w 65547"/>
                <a:gd name="connsiteY79" fmla="*/ 9711 h 101403"/>
                <a:gd name="connsiteX80" fmla="*/ 44445 w 65547"/>
                <a:gd name="connsiteY80" fmla="*/ 11205 h 101403"/>
                <a:gd name="connsiteX81" fmla="*/ 44819 w 65547"/>
                <a:gd name="connsiteY81" fmla="*/ 11858 h 101403"/>
                <a:gd name="connsiteX82" fmla="*/ 45286 w 65547"/>
                <a:gd name="connsiteY82" fmla="*/ 13352 h 101403"/>
                <a:gd name="connsiteX83" fmla="*/ 45659 w 65547"/>
                <a:gd name="connsiteY83" fmla="*/ 15033 h 101403"/>
                <a:gd name="connsiteX84" fmla="*/ 46313 w 65547"/>
                <a:gd name="connsiteY84" fmla="*/ 16154 h 101403"/>
                <a:gd name="connsiteX85" fmla="*/ 47153 w 65547"/>
                <a:gd name="connsiteY85" fmla="*/ 16620 h 101403"/>
                <a:gd name="connsiteX86" fmla="*/ 47900 w 65547"/>
                <a:gd name="connsiteY86" fmla="*/ 16434 h 101403"/>
                <a:gd name="connsiteX87" fmla="*/ 48087 w 65547"/>
                <a:gd name="connsiteY87" fmla="*/ 15407 h 101403"/>
                <a:gd name="connsiteX88" fmla="*/ 47620 w 65547"/>
                <a:gd name="connsiteY88" fmla="*/ 14286 h 101403"/>
                <a:gd name="connsiteX89" fmla="*/ 47340 w 65547"/>
                <a:gd name="connsiteY89" fmla="*/ 13819 h 101403"/>
                <a:gd name="connsiteX90" fmla="*/ 43979 w 65547"/>
                <a:gd name="connsiteY90" fmla="*/ 7190 h 101403"/>
                <a:gd name="connsiteX91" fmla="*/ 42671 w 65547"/>
                <a:gd name="connsiteY91" fmla="*/ 3735 h 101403"/>
                <a:gd name="connsiteX92" fmla="*/ 42018 w 65547"/>
                <a:gd name="connsiteY92" fmla="*/ 2521 h 101403"/>
                <a:gd name="connsiteX93" fmla="*/ 41364 w 65547"/>
                <a:gd name="connsiteY93" fmla="*/ 1867 h 101403"/>
                <a:gd name="connsiteX94" fmla="*/ 40897 w 65547"/>
                <a:gd name="connsiteY94" fmla="*/ 2334 h 101403"/>
                <a:gd name="connsiteX95" fmla="*/ 40897 w 65547"/>
                <a:gd name="connsiteY95" fmla="*/ 3735 h 101403"/>
                <a:gd name="connsiteX96" fmla="*/ 41831 w 65547"/>
                <a:gd name="connsiteY96" fmla="*/ 6349 h 101403"/>
                <a:gd name="connsiteX97" fmla="*/ 4108 w 65547"/>
                <a:gd name="connsiteY97" fmla="*/ 29786 h 101403"/>
                <a:gd name="connsiteX98" fmla="*/ 2708 w 65547"/>
                <a:gd name="connsiteY98" fmla="*/ 29039 h 101403"/>
                <a:gd name="connsiteX99" fmla="*/ 1307 w 65547"/>
                <a:gd name="connsiteY99" fmla="*/ 29039 h 101403"/>
                <a:gd name="connsiteX100" fmla="*/ 0 w 65547"/>
                <a:gd name="connsiteY100" fmla="*/ 29879 h 101403"/>
                <a:gd name="connsiteX101" fmla="*/ 187 w 65547"/>
                <a:gd name="connsiteY101" fmla="*/ 30626 h 101403"/>
                <a:gd name="connsiteX102" fmla="*/ 4108 w 65547"/>
                <a:gd name="connsiteY102" fmla="*/ 31000 h 101403"/>
                <a:gd name="connsiteX103" fmla="*/ 4669 w 65547"/>
                <a:gd name="connsiteY103" fmla="*/ 31000 h 101403"/>
                <a:gd name="connsiteX104" fmla="*/ 5135 w 65547"/>
                <a:gd name="connsiteY104" fmla="*/ 30720 h 101403"/>
                <a:gd name="connsiteX105" fmla="*/ 4669 w 65547"/>
                <a:gd name="connsiteY105" fmla="*/ 30440 h 101403"/>
                <a:gd name="connsiteX106" fmla="*/ 4015 w 65547"/>
                <a:gd name="connsiteY106" fmla="*/ 29786 h 101403"/>
                <a:gd name="connsiteX107" fmla="*/ 49208 w 65547"/>
                <a:gd name="connsiteY107" fmla="*/ 26611 h 101403"/>
                <a:gd name="connsiteX108" fmla="*/ 51729 w 65547"/>
                <a:gd name="connsiteY108" fmla="*/ 26985 h 101403"/>
                <a:gd name="connsiteX109" fmla="*/ 50048 w 65547"/>
                <a:gd name="connsiteY109" fmla="*/ 25211 h 101403"/>
                <a:gd name="connsiteX110" fmla="*/ 44165 w 65547"/>
                <a:gd name="connsiteY110" fmla="*/ 22036 h 101403"/>
                <a:gd name="connsiteX111" fmla="*/ 44165 w 65547"/>
                <a:gd name="connsiteY111" fmla="*/ 21382 h 101403"/>
                <a:gd name="connsiteX112" fmla="*/ 45099 w 65547"/>
                <a:gd name="connsiteY112" fmla="*/ 20916 h 101403"/>
                <a:gd name="connsiteX113" fmla="*/ 47994 w 65547"/>
                <a:gd name="connsiteY113" fmla="*/ 21382 h 101403"/>
                <a:gd name="connsiteX114" fmla="*/ 49208 w 65547"/>
                <a:gd name="connsiteY114" fmla="*/ 21382 h 101403"/>
                <a:gd name="connsiteX115" fmla="*/ 49861 w 65547"/>
                <a:gd name="connsiteY115" fmla="*/ 20822 h 101403"/>
                <a:gd name="connsiteX116" fmla="*/ 49674 w 65547"/>
                <a:gd name="connsiteY116" fmla="*/ 20169 h 101403"/>
                <a:gd name="connsiteX117" fmla="*/ 47620 w 65547"/>
                <a:gd name="connsiteY117" fmla="*/ 18768 h 101403"/>
                <a:gd name="connsiteX118" fmla="*/ 45006 w 65547"/>
                <a:gd name="connsiteY118" fmla="*/ 17741 h 101403"/>
                <a:gd name="connsiteX119" fmla="*/ 44539 w 65547"/>
                <a:gd name="connsiteY119" fmla="*/ 17741 h 101403"/>
                <a:gd name="connsiteX120" fmla="*/ 43605 w 65547"/>
                <a:gd name="connsiteY120" fmla="*/ 18395 h 101403"/>
                <a:gd name="connsiteX121" fmla="*/ 43232 w 65547"/>
                <a:gd name="connsiteY121" fmla="*/ 18395 h 101403"/>
                <a:gd name="connsiteX122" fmla="*/ 42765 w 65547"/>
                <a:gd name="connsiteY122" fmla="*/ 18208 h 101403"/>
                <a:gd name="connsiteX123" fmla="*/ 41831 w 65547"/>
                <a:gd name="connsiteY123" fmla="*/ 17274 h 101403"/>
                <a:gd name="connsiteX124" fmla="*/ 41271 w 65547"/>
                <a:gd name="connsiteY124" fmla="*/ 17087 h 101403"/>
                <a:gd name="connsiteX125" fmla="*/ 41271 w 65547"/>
                <a:gd name="connsiteY125" fmla="*/ 16340 h 101403"/>
                <a:gd name="connsiteX126" fmla="*/ 42205 w 65547"/>
                <a:gd name="connsiteY126" fmla="*/ 16060 h 101403"/>
                <a:gd name="connsiteX127" fmla="*/ 43045 w 65547"/>
                <a:gd name="connsiteY127" fmla="*/ 15126 h 101403"/>
                <a:gd name="connsiteX128" fmla="*/ 43418 w 65547"/>
                <a:gd name="connsiteY128" fmla="*/ 14099 h 101403"/>
                <a:gd name="connsiteX129" fmla="*/ 42951 w 65547"/>
                <a:gd name="connsiteY129" fmla="*/ 13632 h 101403"/>
                <a:gd name="connsiteX130" fmla="*/ 39217 w 65547"/>
                <a:gd name="connsiteY130" fmla="*/ 12979 h 101403"/>
                <a:gd name="connsiteX131" fmla="*/ 40150 w 65547"/>
                <a:gd name="connsiteY131" fmla="*/ 12325 h 101403"/>
                <a:gd name="connsiteX132" fmla="*/ 40524 w 65547"/>
                <a:gd name="connsiteY132" fmla="*/ 12325 h 101403"/>
                <a:gd name="connsiteX133" fmla="*/ 39777 w 65547"/>
                <a:gd name="connsiteY133" fmla="*/ 10925 h 101403"/>
                <a:gd name="connsiteX134" fmla="*/ 38563 w 65547"/>
                <a:gd name="connsiteY134" fmla="*/ 10925 h 101403"/>
                <a:gd name="connsiteX135" fmla="*/ 35015 w 65547"/>
                <a:gd name="connsiteY135" fmla="*/ 12139 h 101403"/>
                <a:gd name="connsiteX136" fmla="*/ 34828 w 65547"/>
                <a:gd name="connsiteY136" fmla="*/ 13352 h 101403"/>
                <a:gd name="connsiteX137" fmla="*/ 35295 w 65547"/>
                <a:gd name="connsiteY137" fmla="*/ 16434 h 101403"/>
                <a:gd name="connsiteX138" fmla="*/ 34548 w 65547"/>
                <a:gd name="connsiteY138" fmla="*/ 15407 h 101403"/>
                <a:gd name="connsiteX139" fmla="*/ 34174 w 65547"/>
                <a:gd name="connsiteY139" fmla="*/ 14286 h 101403"/>
                <a:gd name="connsiteX140" fmla="*/ 33988 w 65547"/>
                <a:gd name="connsiteY140" fmla="*/ 12885 h 101403"/>
                <a:gd name="connsiteX141" fmla="*/ 33988 w 65547"/>
                <a:gd name="connsiteY141" fmla="*/ 11205 h 101403"/>
                <a:gd name="connsiteX142" fmla="*/ 34548 w 65547"/>
                <a:gd name="connsiteY142" fmla="*/ 10458 h 101403"/>
                <a:gd name="connsiteX143" fmla="*/ 35668 w 65547"/>
                <a:gd name="connsiteY143" fmla="*/ 9804 h 101403"/>
                <a:gd name="connsiteX144" fmla="*/ 36509 w 65547"/>
                <a:gd name="connsiteY144" fmla="*/ 9057 h 101403"/>
                <a:gd name="connsiteX145" fmla="*/ 36322 w 65547"/>
                <a:gd name="connsiteY145" fmla="*/ 8030 h 101403"/>
                <a:gd name="connsiteX146" fmla="*/ 35762 w 65547"/>
                <a:gd name="connsiteY146" fmla="*/ 8030 h 101403"/>
                <a:gd name="connsiteX147" fmla="*/ 35295 w 65547"/>
                <a:gd name="connsiteY147" fmla="*/ 7563 h 101403"/>
                <a:gd name="connsiteX148" fmla="*/ 34921 w 65547"/>
                <a:gd name="connsiteY148" fmla="*/ 7096 h 101403"/>
                <a:gd name="connsiteX149" fmla="*/ 34454 w 65547"/>
                <a:gd name="connsiteY149" fmla="*/ 6723 h 101403"/>
                <a:gd name="connsiteX150" fmla="*/ 33894 w 65547"/>
                <a:gd name="connsiteY150" fmla="*/ 6536 h 101403"/>
                <a:gd name="connsiteX151" fmla="*/ 31747 w 65547"/>
                <a:gd name="connsiteY151" fmla="*/ 7003 h 101403"/>
                <a:gd name="connsiteX152" fmla="*/ 29973 w 65547"/>
                <a:gd name="connsiteY152" fmla="*/ 8310 h 101403"/>
                <a:gd name="connsiteX153" fmla="*/ 28945 w 65547"/>
                <a:gd name="connsiteY153" fmla="*/ 8777 h 101403"/>
                <a:gd name="connsiteX154" fmla="*/ 28385 w 65547"/>
                <a:gd name="connsiteY154" fmla="*/ 8590 h 101403"/>
                <a:gd name="connsiteX155" fmla="*/ 27825 w 65547"/>
                <a:gd name="connsiteY155" fmla="*/ 8217 h 101403"/>
                <a:gd name="connsiteX156" fmla="*/ 27358 w 65547"/>
                <a:gd name="connsiteY156" fmla="*/ 8217 h 101403"/>
                <a:gd name="connsiteX157" fmla="*/ 26985 w 65547"/>
                <a:gd name="connsiteY157" fmla="*/ 8870 h 101403"/>
                <a:gd name="connsiteX158" fmla="*/ 26985 w 65547"/>
                <a:gd name="connsiteY158" fmla="*/ 9524 h 101403"/>
                <a:gd name="connsiteX159" fmla="*/ 27451 w 65547"/>
                <a:gd name="connsiteY159" fmla="*/ 10084 h 101403"/>
                <a:gd name="connsiteX160" fmla="*/ 28012 w 65547"/>
                <a:gd name="connsiteY160" fmla="*/ 10645 h 101403"/>
                <a:gd name="connsiteX161" fmla="*/ 28385 w 65547"/>
                <a:gd name="connsiteY161" fmla="*/ 11298 h 101403"/>
                <a:gd name="connsiteX162" fmla="*/ 30066 w 65547"/>
                <a:gd name="connsiteY162" fmla="*/ 16527 h 101403"/>
                <a:gd name="connsiteX163" fmla="*/ 33054 w 65547"/>
                <a:gd name="connsiteY163" fmla="*/ 21663 h 101403"/>
                <a:gd name="connsiteX164" fmla="*/ 33614 w 65547"/>
                <a:gd name="connsiteY164" fmla="*/ 22223 h 101403"/>
                <a:gd name="connsiteX165" fmla="*/ 33988 w 65547"/>
                <a:gd name="connsiteY165" fmla="*/ 22410 h 101403"/>
                <a:gd name="connsiteX166" fmla="*/ 35015 w 65547"/>
                <a:gd name="connsiteY166" fmla="*/ 23530 h 101403"/>
                <a:gd name="connsiteX167" fmla="*/ 35295 w 65547"/>
                <a:gd name="connsiteY167" fmla="*/ 23997 h 101403"/>
                <a:gd name="connsiteX168" fmla="*/ 35762 w 65547"/>
                <a:gd name="connsiteY168" fmla="*/ 24464 h 101403"/>
                <a:gd name="connsiteX169" fmla="*/ 37723 w 65547"/>
                <a:gd name="connsiteY169" fmla="*/ 24464 h 101403"/>
                <a:gd name="connsiteX170" fmla="*/ 41457 w 65547"/>
                <a:gd name="connsiteY170" fmla="*/ 29132 h 101403"/>
                <a:gd name="connsiteX171" fmla="*/ 43418 w 65547"/>
                <a:gd name="connsiteY171" fmla="*/ 30720 h 101403"/>
                <a:gd name="connsiteX172" fmla="*/ 44259 w 65547"/>
                <a:gd name="connsiteY172" fmla="*/ 28479 h 101403"/>
                <a:gd name="connsiteX173" fmla="*/ 43792 w 65547"/>
                <a:gd name="connsiteY173" fmla="*/ 25864 h 101403"/>
                <a:gd name="connsiteX174" fmla="*/ 42578 w 65547"/>
                <a:gd name="connsiteY174" fmla="*/ 24184 h 101403"/>
                <a:gd name="connsiteX175" fmla="*/ 41177 w 65547"/>
                <a:gd name="connsiteY175" fmla="*/ 22876 h 101403"/>
                <a:gd name="connsiteX176" fmla="*/ 40057 w 65547"/>
                <a:gd name="connsiteY176" fmla="*/ 21569 h 101403"/>
                <a:gd name="connsiteX177" fmla="*/ 41364 w 65547"/>
                <a:gd name="connsiteY177" fmla="*/ 21196 h 101403"/>
                <a:gd name="connsiteX178" fmla="*/ 42858 w 65547"/>
                <a:gd name="connsiteY178" fmla="*/ 22503 h 101403"/>
                <a:gd name="connsiteX179" fmla="*/ 44165 w 65547"/>
                <a:gd name="connsiteY179" fmla="*/ 24557 h 101403"/>
                <a:gd name="connsiteX180" fmla="*/ 45006 w 65547"/>
                <a:gd name="connsiteY180" fmla="*/ 26425 h 101403"/>
                <a:gd name="connsiteX181" fmla="*/ 45379 w 65547"/>
                <a:gd name="connsiteY181" fmla="*/ 28852 h 101403"/>
                <a:gd name="connsiteX182" fmla="*/ 45379 w 65547"/>
                <a:gd name="connsiteY182" fmla="*/ 31373 h 101403"/>
                <a:gd name="connsiteX183" fmla="*/ 45846 w 65547"/>
                <a:gd name="connsiteY183" fmla="*/ 33521 h 101403"/>
                <a:gd name="connsiteX184" fmla="*/ 47620 w 65547"/>
                <a:gd name="connsiteY184" fmla="*/ 34735 h 101403"/>
                <a:gd name="connsiteX185" fmla="*/ 47433 w 65547"/>
                <a:gd name="connsiteY185" fmla="*/ 34081 h 101403"/>
                <a:gd name="connsiteX186" fmla="*/ 47433 w 65547"/>
                <a:gd name="connsiteY186" fmla="*/ 33614 h 101403"/>
                <a:gd name="connsiteX187" fmla="*/ 47620 w 65547"/>
                <a:gd name="connsiteY187" fmla="*/ 33241 h 101403"/>
                <a:gd name="connsiteX188" fmla="*/ 47994 w 65547"/>
                <a:gd name="connsiteY188" fmla="*/ 32867 h 101403"/>
                <a:gd name="connsiteX189" fmla="*/ 47994 w 65547"/>
                <a:gd name="connsiteY189" fmla="*/ 32120 h 101403"/>
                <a:gd name="connsiteX190" fmla="*/ 47714 w 65547"/>
                <a:gd name="connsiteY190" fmla="*/ 31934 h 101403"/>
                <a:gd name="connsiteX191" fmla="*/ 47527 w 65547"/>
                <a:gd name="connsiteY191" fmla="*/ 31654 h 101403"/>
                <a:gd name="connsiteX192" fmla="*/ 47340 w 65547"/>
                <a:gd name="connsiteY192" fmla="*/ 31467 h 101403"/>
                <a:gd name="connsiteX193" fmla="*/ 47900 w 65547"/>
                <a:gd name="connsiteY193" fmla="*/ 30533 h 101403"/>
                <a:gd name="connsiteX194" fmla="*/ 48741 w 65547"/>
                <a:gd name="connsiteY194" fmla="*/ 30066 h 101403"/>
                <a:gd name="connsiteX195" fmla="*/ 49768 w 65547"/>
                <a:gd name="connsiteY195" fmla="*/ 30066 h 101403"/>
                <a:gd name="connsiteX196" fmla="*/ 50608 w 65547"/>
                <a:gd name="connsiteY196" fmla="*/ 30066 h 101403"/>
                <a:gd name="connsiteX197" fmla="*/ 50608 w 65547"/>
                <a:gd name="connsiteY197" fmla="*/ 29319 h 101403"/>
                <a:gd name="connsiteX198" fmla="*/ 49021 w 65547"/>
                <a:gd name="connsiteY198" fmla="*/ 27639 h 101403"/>
                <a:gd name="connsiteX199" fmla="*/ 48087 w 65547"/>
                <a:gd name="connsiteY199" fmla="*/ 26892 h 101403"/>
                <a:gd name="connsiteX200" fmla="*/ 47060 w 65547"/>
                <a:gd name="connsiteY200" fmla="*/ 26705 h 101403"/>
                <a:gd name="connsiteX201" fmla="*/ 47060 w 65547"/>
                <a:gd name="connsiteY201" fmla="*/ 26051 h 101403"/>
                <a:gd name="connsiteX202" fmla="*/ 49488 w 65547"/>
                <a:gd name="connsiteY202" fmla="*/ 27172 h 101403"/>
                <a:gd name="connsiteX203" fmla="*/ 46780 w 65547"/>
                <a:gd name="connsiteY203" fmla="*/ 97202 h 101403"/>
                <a:gd name="connsiteX204" fmla="*/ 45753 w 65547"/>
                <a:gd name="connsiteY204" fmla="*/ 96735 h 101403"/>
                <a:gd name="connsiteX205" fmla="*/ 45939 w 65547"/>
                <a:gd name="connsiteY205" fmla="*/ 95708 h 101403"/>
                <a:gd name="connsiteX206" fmla="*/ 45939 w 65547"/>
                <a:gd name="connsiteY206" fmla="*/ 95334 h 101403"/>
                <a:gd name="connsiteX207" fmla="*/ 44165 w 65547"/>
                <a:gd name="connsiteY207" fmla="*/ 95147 h 101403"/>
                <a:gd name="connsiteX208" fmla="*/ 43325 w 65547"/>
                <a:gd name="connsiteY208" fmla="*/ 95521 h 101403"/>
                <a:gd name="connsiteX209" fmla="*/ 42765 w 65547"/>
                <a:gd name="connsiteY209" fmla="*/ 96641 h 101403"/>
                <a:gd name="connsiteX210" fmla="*/ 42578 w 65547"/>
                <a:gd name="connsiteY210" fmla="*/ 95708 h 101403"/>
                <a:gd name="connsiteX211" fmla="*/ 42205 w 65547"/>
                <a:gd name="connsiteY211" fmla="*/ 95054 h 101403"/>
                <a:gd name="connsiteX212" fmla="*/ 41738 w 65547"/>
                <a:gd name="connsiteY212" fmla="*/ 94680 h 101403"/>
                <a:gd name="connsiteX213" fmla="*/ 41177 w 65547"/>
                <a:gd name="connsiteY213" fmla="*/ 94680 h 101403"/>
                <a:gd name="connsiteX214" fmla="*/ 41177 w 65547"/>
                <a:gd name="connsiteY214" fmla="*/ 93840 h 101403"/>
                <a:gd name="connsiteX215" fmla="*/ 42298 w 65547"/>
                <a:gd name="connsiteY215" fmla="*/ 94214 h 101403"/>
                <a:gd name="connsiteX216" fmla="*/ 43138 w 65547"/>
                <a:gd name="connsiteY216" fmla="*/ 94214 h 101403"/>
                <a:gd name="connsiteX217" fmla="*/ 44819 w 65547"/>
                <a:gd name="connsiteY217" fmla="*/ 93186 h 101403"/>
                <a:gd name="connsiteX218" fmla="*/ 45379 w 65547"/>
                <a:gd name="connsiteY218" fmla="*/ 93186 h 101403"/>
                <a:gd name="connsiteX219" fmla="*/ 45939 w 65547"/>
                <a:gd name="connsiteY219" fmla="*/ 93186 h 101403"/>
                <a:gd name="connsiteX220" fmla="*/ 46406 w 65547"/>
                <a:gd name="connsiteY220" fmla="*/ 93000 h 101403"/>
                <a:gd name="connsiteX221" fmla="*/ 46593 w 65547"/>
                <a:gd name="connsiteY221" fmla="*/ 92159 h 101403"/>
                <a:gd name="connsiteX222" fmla="*/ 44632 w 65547"/>
                <a:gd name="connsiteY222" fmla="*/ 91132 h 101403"/>
                <a:gd name="connsiteX223" fmla="*/ 44632 w 65547"/>
                <a:gd name="connsiteY223" fmla="*/ 90479 h 101403"/>
                <a:gd name="connsiteX224" fmla="*/ 45193 w 65547"/>
                <a:gd name="connsiteY224" fmla="*/ 90105 h 101403"/>
                <a:gd name="connsiteX225" fmla="*/ 45193 w 65547"/>
                <a:gd name="connsiteY225" fmla="*/ 89545 h 101403"/>
                <a:gd name="connsiteX226" fmla="*/ 45193 w 65547"/>
                <a:gd name="connsiteY226" fmla="*/ 88891 h 101403"/>
                <a:gd name="connsiteX227" fmla="*/ 44726 w 65547"/>
                <a:gd name="connsiteY227" fmla="*/ 88331 h 101403"/>
                <a:gd name="connsiteX228" fmla="*/ 44259 w 65547"/>
                <a:gd name="connsiteY228" fmla="*/ 88144 h 101403"/>
                <a:gd name="connsiteX229" fmla="*/ 43232 w 65547"/>
                <a:gd name="connsiteY229" fmla="*/ 88424 h 101403"/>
                <a:gd name="connsiteX230" fmla="*/ 42765 w 65547"/>
                <a:gd name="connsiteY230" fmla="*/ 88424 h 101403"/>
                <a:gd name="connsiteX231" fmla="*/ 42298 w 65547"/>
                <a:gd name="connsiteY231" fmla="*/ 87677 h 101403"/>
                <a:gd name="connsiteX232" fmla="*/ 41924 w 65547"/>
                <a:gd name="connsiteY232" fmla="*/ 86744 h 101403"/>
                <a:gd name="connsiteX233" fmla="*/ 41364 w 65547"/>
                <a:gd name="connsiteY233" fmla="*/ 85903 h 101403"/>
                <a:gd name="connsiteX234" fmla="*/ 40430 w 65547"/>
                <a:gd name="connsiteY234" fmla="*/ 85623 h 101403"/>
                <a:gd name="connsiteX235" fmla="*/ 40804 w 65547"/>
                <a:gd name="connsiteY235" fmla="*/ 84970 h 101403"/>
                <a:gd name="connsiteX236" fmla="*/ 41551 w 65547"/>
                <a:gd name="connsiteY236" fmla="*/ 84970 h 101403"/>
                <a:gd name="connsiteX237" fmla="*/ 42298 w 65547"/>
                <a:gd name="connsiteY237" fmla="*/ 85250 h 101403"/>
                <a:gd name="connsiteX238" fmla="*/ 42858 w 65547"/>
                <a:gd name="connsiteY238" fmla="*/ 85997 h 101403"/>
                <a:gd name="connsiteX239" fmla="*/ 43512 w 65547"/>
                <a:gd name="connsiteY239" fmla="*/ 86557 h 101403"/>
                <a:gd name="connsiteX240" fmla="*/ 44259 w 65547"/>
                <a:gd name="connsiteY240" fmla="*/ 86370 h 101403"/>
                <a:gd name="connsiteX241" fmla="*/ 44819 w 65547"/>
                <a:gd name="connsiteY241" fmla="*/ 85530 h 101403"/>
                <a:gd name="connsiteX242" fmla="*/ 44819 w 65547"/>
                <a:gd name="connsiteY242" fmla="*/ 84223 h 101403"/>
                <a:gd name="connsiteX243" fmla="*/ 43699 w 65547"/>
                <a:gd name="connsiteY243" fmla="*/ 83102 h 101403"/>
                <a:gd name="connsiteX244" fmla="*/ 40711 w 65547"/>
                <a:gd name="connsiteY244" fmla="*/ 82635 h 101403"/>
                <a:gd name="connsiteX245" fmla="*/ 39403 w 65547"/>
                <a:gd name="connsiteY245" fmla="*/ 80955 h 101403"/>
                <a:gd name="connsiteX246" fmla="*/ 35202 w 65547"/>
                <a:gd name="connsiteY246" fmla="*/ 81421 h 101403"/>
                <a:gd name="connsiteX247" fmla="*/ 35202 w 65547"/>
                <a:gd name="connsiteY247" fmla="*/ 80768 h 101403"/>
                <a:gd name="connsiteX248" fmla="*/ 37536 w 65547"/>
                <a:gd name="connsiteY248" fmla="*/ 78620 h 101403"/>
                <a:gd name="connsiteX249" fmla="*/ 36976 w 65547"/>
                <a:gd name="connsiteY249" fmla="*/ 78620 h 101403"/>
                <a:gd name="connsiteX250" fmla="*/ 36415 w 65547"/>
                <a:gd name="connsiteY250" fmla="*/ 78620 h 101403"/>
                <a:gd name="connsiteX251" fmla="*/ 35948 w 65547"/>
                <a:gd name="connsiteY251" fmla="*/ 78433 h 101403"/>
                <a:gd name="connsiteX252" fmla="*/ 35482 w 65547"/>
                <a:gd name="connsiteY252" fmla="*/ 77967 h 101403"/>
                <a:gd name="connsiteX253" fmla="*/ 35855 w 65547"/>
                <a:gd name="connsiteY253" fmla="*/ 77686 h 101403"/>
                <a:gd name="connsiteX254" fmla="*/ 36789 w 65547"/>
                <a:gd name="connsiteY254" fmla="*/ 76566 h 101403"/>
                <a:gd name="connsiteX255" fmla="*/ 36135 w 65547"/>
                <a:gd name="connsiteY255" fmla="*/ 75912 h 101403"/>
                <a:gd name="connsiteX256" fmla="*/ 35295 w 65547"/>
                <a:gd name="connsiteY256" fmla="*/ 75912 h 101403"/>
                <a:gd name="connsiteX257" fmla="*/ 33521 w 65547"/>
                <a:gd name="connsiteY257" fmla="*/ 77220 h 101403"/>
                <a:gd name="connsiteX258" fmla="*/ 33708 w 65547"/>
                <a:gd name="connsiteY258" fmla="*/ 77500 h 101403"/>
                <a:gd name="connsiteX259" fmla="*/ 33708 w 65547"/>
                <a:gd name="connsiteY259" fmla="*/ 77500 h 101403"/>
                <a:gd name="connsiteX260" fmla="*/ 33801 w 65547"/>
                <a:gd name="connsiteY260" fmla="*/ 77967 h 101403"/>
                <a:gd name="connsiteX261" fmla="*/ 32867 w 65547"/>
                <a:gd name="connsiteY261" fmla="*/ 77967 h 101403"/>
                <a:gd name="connsiteX262" fmla="*/ 33334 w 65547"/>
                <a:gd name="connsiteY262" fmla="*/ 79461 h 101403"/>
                <a:gd name="connsiteX263" fmla="*/ 33521 w 65547"/>
                <a:gd name="connsiteY263" fmla="*/ 79927 h 101403"/>
                <a:gd name="connsiteX264" fmla="*/ 33708 w 65547"/>
                <a:gd name="connsiteY264" fmla="*/ 81795 h 101403"/>
                <a:gd name="connsiteX265" fmla="*/ 34828 w 65547"/>
                <a:gd name="connsiteY265" fmla="*/ 84223 h 101403"/>
                <a:gd name="connsiteX266" fmla="*/ 36322 w 65547"/>
                <a:gd name="connsiteY266" fmla="*/ 86557 h 101403"/>
                <a:gd name="connsiteX267" fmla="*/ 37629 w 65547"/>
                <a:gd name="connsiteY267" fmla="*/ 88144 h 101403"/>
                <a:gd name="connsiteX268" fmla="*/ 37442 w 65547"/>
                <a:gd name="connsiteY268" fmla="*/ 90665 h 101403"/>
                <a:gd name="connsiteX269" fmla="*/ 39497 w 65547"/>
                <a:gd name="connsiteY269" fmla="*/ 93653 h 101403"/>
                <a:gd name="connsiteX270" fmla="*/ 43792 w 65547"/>
                <a:gd name="connsiteY270" fmla="*/ 97762 h 101403"/>
                <a:gd name="connsiteX271" fmla="*/ 45566 w 65547"/>
                <a:gd name="connsiteY271" fmla="*/ 100376 h 101403"/>
                <a:gd name="connsiteX272" fmla="*/ 46593 w 65547"/>
                <a:gd name="connsiteY272" fmla="*/ 101403 h 101403"/>
                <a:gd name="connsiteX273" fmla="*/ 47714 w 65547"/>
                <a:gd name="connsiteY273" fmla="*/ 101217 h 101403"/>
                <a:gd name="connsiteX274" fmla="*/ 48087 w 65547"/>
                <a:gd name="connsiteY274" fmla="*/ 100003 h 101403"/>
                <a:gd name="connsiteX275" fmla="*/ 47900 w 65547"/>
                <a:gd name="connsiteY275" fmla="*/ 98322 h 101403"/>
                <a:gd name="connsiteX276" fmla="*/ 47153 w 65547"/>
                <a:gd name="connsiteY276" fmla="*/ 96921 h 101403"/>
                <a:gd name="connsiteX277" fmla="*/ 53129 w 65547"/>
                <a:gd name="connsiteY277" fmla="*/ 2801 h 101403"/>
                <a:gd name="connsiteX278" fmla="*/ 53596 w 65547"/>
                <a:gd name="connsiteY278" fmla="*/ 5416 h 101403"/>
                <a:gd name="connsiteX279" fmla="*/ 54343 w 65547"/>
                <a:gd name="connsiteY279" fmla="*/ 7096 h 101403"/>
                <a:gd name="connsiteX280" fmla="*/ 55463 w 65547"/>
                <a:gd name="connsiteY280" fmla="*/ 9151 h 101403"/>
                <a:gd name="connsiteX281" fmla="*/ 56864 w 65547"/>
                <a:gd name="connsiteY281" fmla="*/ 10551 h 101403"/>
                <a:gd name="connsiteX282" fmla="*/ 58358 w 65547"/>
                <a:gd name="connsiteY282" fmla="*/ 11111 h 101403"/>
                <a:gd name="connsiteX283" fmla="*/ 59199 w 65547"/>
                <a:gd name="connsiteY283" fmla="*/ 10738 h 101403"/>
                <a:gd name="connsiteX284" fmla="*/ 59479 w 65547"/>
                <a:gd name="connsiteY284" fmla="*/ 10084 h 101403"/>
                <a:gd name="connsiteX285" fmla="*/ 59665 w 65547"/>
                <a:gd name="connsiteY285" fmla="*/ 9151 h 101403"/>
                <a:gd name="connsiteX286" fmla="*/ 59292 w 65547"/>
                <a:gd name="connsiteY286" fmla="*/ 8123 h 101403"/>
                <a:gd name="connsiteX287" fmla="*/ 58918 w 65547"/>
                <a:gd name="connsiteY287" fmla="*/ 7750 h 101403"/>
                <a:gd name="connsiteX288" fmla="*/ 58638 w 65547"/>
                <a:gd name="connsiteY288" fmla="*/ 7563 h 101403"/>
                <a:gd name="connsiteX289" fmla="*/ 58078 w 65547"/>
                <a:gd name="connsiteY289" fmla="*/ 7563 h 101403"/>
                <a:gd name="connsiteX290" fmla="*/ 57518 w 65547"/>
                <a:gd name="connsiteY290" fmla="*/ 8310 h 101403"/>
                <a:gd name="connsiteX291" fmla="*/ 57051 w 65547"/>
                <a:gd name="connsiteY291" fmla="*/ 8310 h 101403"/>
                <a:gd name="connsiteX292" fmla="*/ 56771 w 65547"/>
                <a:gd name="connsiteY292" fmla="*/ 7750 h 101403"/>
                <a:gd name="connsiteX293" fmla="*/ 56771 w 65547"/>
                <a:gd name="connsiteY293" fmla="*/ 7003 h 101403"/>
                <a:gd name="connsiteX294" fmla="*/ 56491 w 65547"/>
                <a:gd name="connsiteY294" fmla="*/ 6069 h 101403"/>
                <a:gd name="connsiteX295" fmla="*/ 55837 w 65547"/>
                <a:gd name="connsiteY295" fmla="*/ 5136 h 101403"/>
                <a:gd name="connsiteX296" fmla="*/ 55277 w 65547"/>
                <a:gd name="connsiteY296" fmla="*/ 4015 h 101403"/>
                <a:gd name="connsiteX297" fmla="*/ 54903 w 65547"/>
                <a:gd name="connsiteY297" fmla="*/ 2521 h 101403"/>
                <a:gd name="connsiteX298" fmla="*/ 54436 w 65547"/>
                <a:gd name="connsiteY298" fmla="*/ 1214 h 101403"/>
                <a:gd name="connsiteX299" fmla="*/ 53783 w 65547"/>
                <a:gd name="connsiteY299" fmla="*/ 374 h 101403"/>
                <a:gd name="connsiteX300" fmla="*/ 52662 w 65547"/>
                <a:gd name="connsiteY300" fmla="*/ 0 h 101403"/>
                <a:gd name="connsiteX301" fmla="*/ 52009 w 65547"/>
                <a:gd name="connsiteY301" fmla="*/ 840 h 101403"/>
                <a:gd name="connsiteX302" fmla="*/ 52476 w 65547"/>
                <a:gd name="connsiteY302" fmla="*/ 2148 h 101403"/>
                <a:gd name="connsiteX303" fmla="*/ 53129 w 65547"/>
                <a:gd name="connsiteY303" fmla="*/ 2801 h 101403"/>
                <a:gd name="connsiteX304" fmla="*/ 55557 w 65547"/>
                <a:gd name="connsiteY304" fmla="*/ 10645 h 101403"/>
                <a:gd name="connsiteX305" fmla="*/ 53970 w 65547"/>
                <a:gd name="connsiteY305" fmla="*/ 7750 h 101403"/>
                <a:gd name="connsiteX306" fmla="*/ 52662 w 65547"/>
                <a:gd name="connsiteY306" fmla="*/ 3735 h 101403"/>
                <a:gd name="connsiteX307" fmla="*/ 53036 w 65547"/>
                <a:gd name="connsiteY307" fmla="*/ 2988 h 101403"/>
                <a:gd name="connsiteX308" fmla="*/ 51635 w 65547"/>
                <a:gd name="connsiteY308" fmla="*/ 3828 h 101403"/>
                <a:gd name="connsiteX309" fmla="*/ 51355 w 65547"/>
                <a:gd name="connsiteY309" fmla="*/ 5322 h 101403"/>
                <a:gd name="connsiteX310" fmla="*/ 51729 w 65547"/>
                <a:gd name="connsiteY310" fmla="*/ 7190 h 101403"/>
                <a:gd name="connsiteX311" fmla="*/ 52289 w 65547"/>
                <a:gd name="connsiteY311" fmla="*/ 9337 h 101403"/>
                <a:gd name="connsiteX312" fmla="*/ 52289 w 65547"/>
                <a:gd name="connsiteY312" fmla="*/ 10178 h 101403"/>
                <a:gd name="connsiteX313" fmla="*/ 52569 w 65547"/>
                <a:gd name="connsiteY313" fmla="*/ 12979 h 101403"/>
                <a:gd name="connsiteX314" fmla="*/ 52569 w 65547"/>
                <a:gd name="connsiteY314" fmla="*/ 13913 h 101403"/>
                <a:gd name="connsiteX315" fmla="*/ 52289 w 65547"/>
                <a:gd name="connsiteY315" fmla="*/ 14660 h 101403"/>
                <a:gd name="connsiteX316" fmla="*/ 52289 w 65547"/>
                <a:gd name="connsiteY316" fmla="*/ 15220 h 101403"/>
                <a:gd name="connsiteX317" fmla="*/ 52289 w 65547"/>
                <a:gd name="connsiteY317" fmla="*/ 15593 h 101403"/>
                <a:gd name="connsiteX318" fmla="*/ 51915 w 65547"/>
                <a:gd name="connsiteY318" fmla="*/ 15780 h 101403"/>
                <a:gd name="connsiteX319" fmla="*/ 51729 w 65547"/>
                <a:gd name="connsiteY319" fmla="*/ 15593 h 101403"/>
                <a:gd name="connsiteX320" fmla="*/ 51729 w 65547"/>
                <a:gd name="connsiteY320" fmla="*/ 15220 h 101403"/>
                <a:gd name="connsiteX321" fmla="*/ 51448 w 65547"/>
                <a:gd name="connsiteY321" fmla="*/ 15220 h 101403"/>
                <a:gd name="connsiteX322" fmla="*/ 51075 w 65547"/>
                <a:gd name="connsiteY322" fmla="*/ 15873 h 101403"/>
                <a:gd name="connsiteX323" fmla="*/ 50888 w 65547"/>
                <a:gd name="connsiteY323" fmla="*/ 17648 h 101403"/>
                <a:gd name="connsiteX324" fmla="*/ 51448 w 65547"/>
                <a:gd name="connsiteY324" fmla="*/ 19235 h 101403"/>
                <a:gd name="connsiteX325" fmla="*/ 53036 w 65547"/>
                <a:gd name="connsiteY325" fmla="*/ 21476 h 101403"/>
                <a:gd name="connsiteX326" fmla="*/ 53223 w 65547"/>
                <a:gd name="connsiteY326" fmla="*/ 21849 h 101403"/>
                <a:gd name="connsiteX327" fmla="*/ 53223 w 65547"/>
                <a:gd name="connsiteY327" fmla="*/ 22223 h 101403"/>
                <a:gd name="connsiteX328" fmla="*/ 53409 w 65547"/>
                <a:gd name="connsiteY328" fmla="*/ 22596 h 101403"/>
                <a:gd name="connsiteX329" fmla="*/ 53876 w 65547"/>
                <a:gd name="connsiteY329" fmla="*/ 23063 h 101403"/>
                <a:gd name="connsiteX330" fmla="*/ 54343 w 65547"/>
                <a:gd name="connsiteY330" fmla="*/ 23343 h 101403"/>
                <a:gd name="connsiteX331" fmla="*/ 54623 w 65547"/>
                <a:gd name="connsiteY331" fmla="*/ 23343 h 101403"/>
                <a:gd name="connsiteX332" fmla="*/ 54436 w 65547"/>
                <a:gd name="connsiteY332" fmla="*/ 22596 h 101403"/>
                <a:gd name="connsiteX333" fmla="*/ 53970 w 65547"/>
                <a:gd name="connsiteY333" fmla="*/ 21476 h 101403"/>
                <a:gd name="connsiteX334" fmla="*/ 52942 w 65547"/>
                <a:gd name="connsiteY334" fmla="*/ 18021 h 101403"/>
                <a:gd name="connsiteX335" fmla="*/ 53690 w 65547"/>
                <a:gd name="connsiteY335" fmla="*/ 17648 h 101403"/>
                <a:gd name="connsiteX336" fmla="*/ 54436 w 65547"/>
                <a:gd name="connsiteY336" fmla="*/ 18395 h 101403"/>
                <a:gd name="connsiteX337" fmla="*/ 55744 w 65547"/>
                <a:gd name="connsiteY337" fmla="*/ 21196 h 101403"/>
                <a:gd name="connsiteX338" fmla="*/ 56491 w 65547"/>
                <a:gd name="connsiteY338" fmla="*/ 22129 h 101403"/>
                <a:gd name="connsiteX339" fmla="*/ 57424 w 65547"/>
                <a:gd name="connsiteY339" fmla="*/ 22410 h 101403"/>
                <a:gd name="connsiteX340" fmla="*/ 58358 w 65547"/>
                <a:gd name="connsiteY340" fmla="*/ 22129 h 101403"/>
                <a:gd name="connsiteX341" fmla="*/ 59199 w 65547"/>
                <a:gd name="connsiteY341" fmla="*/ 21569 h 101403"/>
                <a:gd name="connsiteX342" fmla="*/ 59199 w 65547"/>
                <a:gd name="connsiteY342" fmla="*/ 20822 h 101403"/>
                <a:gd name="connsiteX343" fmla="*/ 58825 w 65547"/>
                <a:gd name="connsiteY343" fmla="*/ 20355 h 101403"/>
                <a:gd name="connsiteX344" fmla="*/ 58638 w 65547"/>
                <a:gd name="connsiteY344" fmla="*/ 19795 h 101403"/>
                <a:gd name="connsiteX345" fmla="*/ 58451 w 65547"/>
                <a:gd name="connsiteY345" fmla="*/ 18021 h 101403"/>
                <a:gd name="connsiteX346" fmla="*/ 57518 w 65547"/>
                <a:gd name="connsiteY346" fmla="*/ 18581 h 101403"/>
                <a:gd name="connsiteX347" fmla="*/ 56584 w 65547"/>
                <a:gd name="connsiteY347" fmla="*/ 17741 h 101403"/>
                <a:gd name="connsiteX348" fmla="*/ 54810 w 65547"/>
                <a:gd name="connsiteY348" fmla="*/ 15220 h 101403"/>
                <a:gd name="connsiteX349" fmla="*/ 55183 w 65547"/>
                <a:gd name="connsiteY349" fmla="*/ 14473 h 101403"/>
                <a:gd name="connsiteX350" fmla="*/ 56211 w 65547"/>
                <a:gd name="connsiteY350" fmla="*/ 15593 h 101403"/>
                <a:gd name="connsiteX351" fmla="*/ 57705 w 65547"/>
                <a:gd name="connsiteY351" fmla="*/ 16247 h 101403"/>
                <a:gd name="connsiteX352" fmla="*/ 59199 w 65547"/>
                <a:gd name="connsiteY352" fmla="*/ 16060 h 101403"/>
                <a:gd name="connsiteX353" fmla="*/ 60132 w 65547"/>
                <a:gd name="connsiteY353" fmla="*/ 14473 h 101403"/>
                <a:gd name="connsiteX354" fmla="*/ 57611 w 65547"/>
                <a:gd name="connsiteY354" fmla="*/ 12885 h 101403"/>
                <a:gd name="connsiteX355" fmla="*/ 55557 w 65547"/>
                <a:gd name="connsiteY355" fmla="*/ 10831 h 101403"/>
                <a:gd name="connsiteX356" fmla="*/ 65454 w 65547"/>
                <a:gd name="connsiteY356" fmla="*/ 9898 h 101403"/>
                <a:gd name="connsiteX357" fmla="*/ 64708 w 65547"/>
                <a:gd name="connsiteY357" fmla="*/ 9431 h 101403"/>
                <a:gd name="connsiteX358" fmla="*/ 63307 w 65547"/>
                <a:gd name="connsiteY358" fmla="*/ 9431 h 101403"/>
                <a:gd name="connsiteX359" fmla="*/ 61720 w 65547"/>
                <a:gd name="connsiteY359" fmla="*/ 11018 h 101403"/>
                <a:gd name="connsiteX360" fmla="*/ 60879 w 65547"/>
                <a:gd name="connsiteY360" fmla="*/ 11392 h 101403"/>
                <a:gd name="connsiteX361" fmla="*/ 60319 w 65547"/>
                <a:gd name="connsiteY361" fmla="*/ 12139 h 101403"/>
                <a:gd name="connsiteX362" fmla="*/ 60506 w 65547"/>
                <a:gd name="connsiteY362" fmla="*/ 13259 h 101403"/>
                <a:gd name="connsiteX363" fmla="*/ 60973 w 65547"/>
                <a:gd name="connsiteY363" fmla="*/ 14566 h 101403"/>
                <a:gd name="connsiteX364" fmla="*/ 61533 w 65547"/>
                <a:gd name="connsiteY364" fmla="*/ 15593 h 101403"/>
                <a:gd name="connsiteX365" fmla="*/ 62373 w 65547"/>
                <a:gd name="connsiteY365" fmla="*/ 15780 h 101403"/>
                <a:gd name="connsiteX366" fmla="*/ 63120 w 65547"/>
                <a:gd name="connsiteY366" fmla="*/ 15500 h 101403"/>
                <a:gd name="connsiteX367" fmla="*/ 63774 w 65547"/>
                <a:gd name="connsiteY367" fmla="*/ 15126 h 101403"/>
                <a:gd name="connsiteX368" fmla="*/ 64241 w 65547"/>
                <a:gd name="connsiteY368" fmla="*/ 14566 h 101403"/>
                <a:gd name="connsiteX369" fmla="*/ 64427 w 65547"/>
                <a:gd name="connsiteY369" fmla="*/ 13913 h 101403"/>
                <a:gd name="connsiteX370" fmla="*/ 64427 w 65547"/>
                <a:gd name="connsiteY370" fmla="*/ 12979 h 101403"/>
                <a:gd name="connsiteX371" fmla="*/ 64147 w 65547"/>
                <a:gd name="connsiteY371" fmla="*/ 11952 h 101403"/>
                <a:gd name="connsiteX372" fmla="*/ 65548 w 65547"/>
                <a:gd name="connsiteY372" fmla="*/ 10458 h 101403"/>
                <a:gd name="connsiteX373" fmla="*/ 65548 w 65547"/>
                <a:gd name="connsiteY373" fmla="*/ 9804 h 101403"/>
                <a:gd name="connsiteX374" fmla="*/ 47714 w 65547"/>
                <a:gd name="connsiteY374" fmla="*/ 56584 h 101403"/>
                <a:gd name="connsiteX375" fmla="*/ 47433 w 65547"/>
                <a:gd name="connsiteY375" fmla="*/ 55184 h 101403"/>
                <a:gd name="connsiteX376" fmla="*/ 46873 w 65547"/>
                <a:gd name="connsiteY376" fmla="*/ 54437 h 101403"/>
                <a:gd name="connsiteX377" fmla="*/ 43232 w 65547"/>
                <a:gd name="connsiteY377" fmla="*/ 53409 h 101403"/>
                <a:gd name="connsiteX378" fmla="*/ 42671 w 65547"/>
                <a:gd name="connsiteY378" fmla="*/ 53036 h 101403"/>
                <a:gd name="connsiteX379" fmla="*/ 42018 w 65547"/>
                <a:gd name="connsiteY379" fmla="*/ 51822 h 101403"/>
                <a:gd name="connsiteX380" fmla="*/ 41551 w 65547"/>
                <a:gd name="connsiteY380" fmla="*/ 51262 h 101403"/>
                <a:gd name="connsiteX381" fmla="*/ 40991 w 65547"/>
                <a:gd name="connsiteY381" fmla="*/ 50982 h 101403"/>
                <a:gd name="connsiteX382" fmla="*/ 39497 w 65547"/>
                <a:gd name="connsiteY382" fmla="*/ 51262 h 101403"/>
                <a:gd name="connsiteX383" fmla="*/ 38563 w 65547"/>
                <a:gd name="connsiteY383" fmla="*/ 51075 h 101403"/>
                <a:gd name="connsiteX384" fmla="*/ 36509 w 65547"/>
                <a:gd name="connsiteY384" fmla="*/ 50141 h 101403"/>
                <a:gd name="connsiteX385" fmla="*/ 35388 w 65547"/>
                <a:gd name="connsiteY385" fmla="*/ 49955 h 101403"/>
                <a:gd name="connsiteX386" fmla="*/ 35762 w 65547"/>
                <a:gd name="connsiteY386" fmla="*/ 51542 h 101403"/>
                <a:gd name="connsiteX387" fmla="*/ 36789 w 65547"/>
                <a:gd name="connsiteY387" fmla="*/ 53970 h 101403"/>
                <a:gd name="connsiteX388" fmla="*/ 36976 w 65547"/>
                <a:gd name="connsiteY388" fmla="*/ 55744 h 101403"/>
                <a:gd name="connsiteX389" fmla="*/ 37256 w 65547"/>
                <a:gd name="connsiteY389" fmla="*/ 57051 h 101403"/>
                <a:gd name="connsiteX390" fmla="*/ 37909 w 65547"/>
                <a:gd name="connsiteY390" fmla="*/ 57798 h 101403"/>
                <a:gd name="connsiteX391" fmla="*/ 38656 w 65547"/>
                <a:gd name="connsiteY391" fmla="*/ 58078 h 101403"/>
                <a:gd name="connsiteX392" fmla="*/ 43045 w 65547"/>
                <a:gd name="connsiteY392" fmla="*/ 58918 h 101403"/>
                <a:gd name="connsiteX393" fmla="*/ 43699 w 65547"/>
                <a:gd name="connsiteY393" fmla="*/ 59665 h 101403"/>
                <a:gd name="connsiteX394" fmla="*/ 46780 w 65547"/>
                <a:gd name="connsiteY394" fmla="*/ 66202 h 101403"/>
                <a:gd name="connsiteX395" fmla="*/ 47153 w 65547"/>
                <a:gd name="connsiteY395" fmla="*/ 66482 h 101403"/>
                <a:gd name="connsiteX396" fmla="*/ 47620 w 65547"/>
                <a:gd name="connsiteY396" fmla="*/ 66202 h 101403"/>
                <a:gd name="connsiteX397" fmla="*/ 48087 w 65547"/>
                <a:gd name="connsiteY397" fmla="*/ 65455 h 101403"/>
                <a:gd name="connsiteX398" fmla="*/ 48460 w 65547"/>
                <a:gd name="connsiteY398" fmla="*/ 64708 h 101403"/>
                <a:gd name="connsiteX399" fmla="*/ 48647 w 65547"/>
                <a:gd name="connsiteY399" fmla="*/ 64427 h 101403"/>
                <a:gd name="connsiteX400" fmla="*/ 48647 w 65547"/>
                <a:gd name="connsiteY400" fmla="*/ 61533 h 101403"/>
                <a:gd name="connsiteX401" fmla="*/ 48647 w 65547"/>
                <a:gd name="connsiteY401" fmla="*/ 60973 h 101403"/>
                <a:gd name="connsiteX402" fmla="*/ 48460 w 65547"/>
                <a:gd name="connsiteY402" fmla="*/ 60693 h 101403"/>
                <a:gd name="connsiteX403" fmla="*/ 48741 w 65547"/>
                <a:gd name="connsiteY403" fmla="*/ 60039 h 101403"/>
                <a:gd name="connsiteX404" fmla="*/ 49394 w 65547"/>
                <a:gd name="connsiteY404" fmla="*/ 58918 h 101403"/>
                <a:gd name="connsiteX405" fmla="*/ 49114 w 65547"/>
                <a:gd name="connsiteY405" fmla="*/ 57891 h 101403"/>
                <a:gd name="connsiteX406" fmla="*/ 47714 w 65547"/>
                <a:gd name="connsiteY406" fmla="*/ 56491 h 101403"/>
                <a:gd name="connsiteX407" fmla="*/ 33521 w 65547"/>
                <a:gd name="connsiteY407" fmla="*/ 36042 h 101403"/>
                <a:gd name="connsiteX408" fmla="*/ 35202 w 65547"/>
                <a:gd name="connsiteY408" fmla="*/ 37069 h 101403"/>
                <a:gd name="connsiteX409" fmla="*/ 37723 w 65547"/>
                <a:gd name="connsiteY409" fmla="*/ 41458 h 101403"/>
                <a:gd name="connsiteX410" fmla="*/ 40711 w 65547"/>
                <a:gd name="connsiteY410" fmla="*/ 43512 h 101403"/>
                <a:gd name="connsiteX411" fmla="*/ 42111 w 65547"/>
                <a:gd name="connsiteY411" fmla="*/ 45659 h 101403"/>
                <a:gd name="connsiteX412" fmla="*/ 43605 w 65547"/>
                <a:gd name="connsiteY412" fmla="*/ 47247 h 101403"/>
                <a:gd name="connsiteX413" fmla="*/ 45193 w 65547"/>
                <a:gd name="connsiteY413" fmla="*/ 46687 h 101403"/>
                <a:gd name="connsiteX414" fmla="*/ 45006 w 65547"/>
                <a:gd name="connsiteY414" fmla="*/ 45006 h 101403"/>
                <a:gd name="connsiteX415" fmla="*/ 45286 w 65547"/>
                <a:gd name="connsiteY415" fmla="*/ 43699 h 101403"/>
                <a:gd name="connsiteX416" fmla="*/ 45286 w 65547"/>
                <a:gd name="connsiteY416" fmla="*/ 42858 h 101403"/>
                <a:gd name="connsiteX417" fmla="*/ 43792 w 65547"/>
                <a:gd name="connsiteY417" fmla="*/ 41925 h 101403"/>
                <a:gd name="connsiteX418" fmla="*/ 43792 w 65547"/>
                <a:gd name="connsiteY418" fmla="*/ 40524 h 101403"/>
                <a:gd name="connsiteX419" fmla="*/ 44072 w 65547"/>
                <a:gd name="connsiteY419" fmla="*/ 38843 h 101403"/>
                <a:gd name="connsiteX420" fmla="*/ 44539 w 65547"/>
                <a:gd name="connsiteY420" fmla="*/ 37629 h 101403"/>
                <a:gd name="connsiteX421" fmla="*/ 43232 w 65547"/>
                <a:gd name="connsiteY421" fmla="*/ 36322 h 101403"/>
                <a:gd name="connsiteX422" fmla="*/ 39964 w 65547"/>
                <a:gd name="connsiteY422" fmla="*/ 36322 h 101403"/>
                <a:gd name="connsiteX423" fmla="*/ 38283 w 65547"/>
                <a:gd name="connsiteY423" fmla="*/ 35668 h 101403"/>
                <a:gd name="connsiteX424" fmla="*/ 38283 w 65547"/>
                <a:gd name="connsiteY424" fmla="*/ 34922 h 101403"/>
                <a:gd name="connsiteX425" fmla="*/ 41084 w 65547"/>
                <a:gd name="connsiteY425" fmla="*/ 34922 h 101403"/>
                <a:gd name="connsiteX426" fmla="*/ 41457 w 65547"/>
                <a:gd name="connsiteY426" fmla="*/ 34455 h 101403"/>
                <a:gd name="connsiteX427" fmla="*/ 41271 w 65547"/>
                <a:gd name="connsiteY427" fmla="*/ 33334 h 101403"/>
                <a:gd name="connsiteX428" fmla="*/ 40617 w 65547"/>
                <a:gd name="connsiteY428" fmla="*/ 31840 h 101403"/>
                <a:gd name="connsiteX429" fmla="*/ 39870 w 65547"/>
                <a:gd name="connsiteY429" fmla="*/ 30533 h 101403"/>
                <a:gd name="connsiteX430" fmla="*/ 35668 w 65547"/>
                <a:gd name="connsiteY430" fmla="*/ 30720 h 101403"/>
                <a:gd name="connsiteX431" fmla="*/ 36229 w 65547"/>
                <a:gd name="connsiteY431" fmla="*/ 30533 h 101403"/>
                <a:gd name="connsiteX432" fmla="*/ 36882 w 65547"/>
                <a:gd name="connsiteY432" fmla="*/ 30066 h 101403"/>
                <a:gd name="connsiteX433" fmla="*/ 37536 w 65547"/>
                <a:gd name="connsiteY433" fmla="*/ 29413 h 101403"/>
                <a:gd name="connsiteX434" fmla="*/ 38003 w 65547"/>
                <a:gd name="connsiteY434" fmla="*/ 28665 h 101403"/>
                <a:gd name="connsiteX435" fmla="*/ 38283 w 65547"/>
                <a:gd name="connsiteY435" fmla="*/ 27545 h 101403"/>
                <a:gd name="connsiteX436" fmla="*/ 38283 w 65547"/>
                <a:gd name="connsiteY436" fmla="*/ 26611 h 101403"/>
                <a:gd name="connsiteX437" fmla="*/ 37816 w 65547"/>
                <a:gd name="connsiteY437" fmla="*/ 26051 h 101403"/>
                <a:gd name="connsiteX438" fmla="*/ 35388 w 65547"/>
                <a:gd name="connsiteY438" fmla="*/ 25304 h 101403"/>
                <a:gd name="connsiteX439" fmla="*/ 32681 w 65547"/>
                <a:gd name="connsiteY439" fmla="*/ 22876 h 101403"/>
                <a:gd name="connsiteX440" fmla="*/ 31093 w 65547"/>
                <a:gd name="connsiteY440" fmla="*/ 22316 h 101403"/>
                <a:gd name="connsiteX441" fmla="*/ 31093 w 65547"/>
                <a:gd name="connsiteY441" fmla="*/ 19982 h 101403"/>
                <a:gd name="connsiteX442" fmla="*/ 28759 w 65547"/>
                <a:gd name="connsiteY442" fmla="*/ 15313 h 101403"/>
                <a:gd name="connsiteX443" fmla="*/ 28199 w 65547"/>
                <a:gd name="connsiteY443" fmla="*/ 12792 h 101403"/>
                <a:gd name="connsiteX444" fmla="*/ 27545 w 65547"/>
                <a:gd name="connsiteY444" fmla="*/ 11392 h 101403"/>
                <a:gd name="connsiteX445" fmla="*/ 25958 w 65547"/>
                <a:gd name="connsiteY445" fmla="*/ 10364 h 101403"/>
                <a:gd name="connsiteX446" fmla="*/ 22690 w 65547"/>
                <a:gd name="connsiteY446" fmla="*/ 9617 h 101403"/>
                <a:gd name="connsiteX447" fmla="*/ 22410 w 65547"/>
                <a:gd name="connsiteY447" fmla="*/ 9617 h 101403"/>
                <a:gd name="connsiteX448" fmla="*/ 22223 w 65547"/>
                <a:gd name="connsiteY448" fmla="*/ 9524 h 101403"/>
                <a:gd name="connsiteX449" fmla="*/ 22036 w 65547"/>
                <a:gd name="connsiteY449" fmla="*/ 9524 h 101403"/>
                <a:gd name="connsiteX450" fmla="*/ 21756 w 65547"/>
                <a:gd name="connsiteY450" fmla="*/ 8964 h 101403"/>
                <a:gd name="connsiteX451" fmla="*/ 21102 w 65547"/>
                <a:gd name="connsiteY451" fmla="*/ 12979 h 101403"/>
                <a:gd name="connsiteX452" fmla="*/ 21102 w 65547"/>
                <a:gd name="connsiteY452" fmla="*/ 15126 h 101403"/>
                <a:gd name="connsiteX453" fmla="*/ 22036 w 65547"/>
                <a:gd name="connsiteY453" fmla="*/ 16620 h 101403"/>
                <a:gd name="connsiteX454" fmla="*/ 21289 w 65547"/>
                <a:gd name="connsiteY454" fmla="*/ 16994 h 101403"/>
                <a:gd name="connsiteX455" fmla="*/ 21102 w 65547"/>
                <a:gd name="connsiteY455" fmla="*/ 17741 h 101403"/>
                <a:gd name="connsiteX456" fmla="*/ 21102 w 65547"/>
                <a:gd name="connsiteY456" fmla="*/ 18768 h 101403"/>
                <a:gd name="connsiteX457" fmla="*/ 20822 w 65547"/>
                <a:gd name="connsiteY457" fmla="*/ 20169 h 101403"/>
                <a:gd name="connsiteX458" fmla="*/ 20542 w 65547"/>
                <a:gd name="connsiteY458" fmla="*/ 20542 h 101403"/>
                <a:gd name="connsiteX459" fmla="*/ 20262 w 65547"/>
                <a:gd name="connsiteY459" fmla="*/ 20542 h 101403"/>
                <a:gd name="connsiteX460" fmla="*/ 19982 w 65547"/>
                <a:gd name="connsiteY460" fmla="*/ 20822 h 101403"/>
                <a:gd name="connsiteX461" fmla="*/ 19982 w 65547"/>
                <a:gd name="connsiteY461" fmla="*/ 21943 h 101403"/>
                <a:gd name="connsiteX462" fmla="*/ 19982 w 65547"/>
                <a:gd name="connsiteY462" fmla="*/ 22690 h 101403"/>
                <a:gd name="connsiteX463" fmla="*/ 20168 w 65547"/>
                <a:gd name="connsiteY463" fmla="*/ 23063 h 101403"/>
                <a:gd name="connsiteX464" fmla="*/ 20635 w 65547"/>
                <a:gd name="connsiteY464" fmla="*/ 23623 h 101403"/>
                <a:gd name="connsiteX465" fmla="*/ 21102 w 65547"/>
                <a:gd name="connsiteY465" fmla="*/ 24184 h 101403"/>
                <a:gd name="connsiteX466" fmla="*/ 22410 w 65547"/>
                <a:gd name="connsiteY466" fmla="*/ 25491 h 101403"/>
                <a:gd name="connsiteX467" fmla="*/ 22970 w 65547"/>
                <a:gd name="connsiteY467" fmla="*/ 25678 h 101403"/>
                <a:gd name="connsiteX468" fmla="*/ 23717 w 65547"/>
                <a:gd name="connsiteY468" fmla="*/ 25304 h 101403"/>
                <a:gd name="connsiteX469" fmla="*/ 24464 w 65547"/>
                <a:gd name="connsiteY469" fmla="*/ 24651 h 101403"/>
                <a:gd name="connsiteX470" fmla="*/ 25117 w 65547"/>
                <a:gd name="connsiteY470" fmla="*/ 24651 h 101403"/>
                <a:gd name="connsiteX471" fmla="*/ 25491 w 65547"/>
                <a:gd name="connsiteY471" fmla="*/ 25771 h 101403"/>
                <a:gd name="connsiteX472" fmla="*/ 24744 w 65547"/>
                <a:gd name="connsiteY472" fmla="*/ 26145 h 101403"/>
                <a:gd name="connsiteX473" fmla="*/ 24744 w 65547"/>
                <a:gd name="connsiteY473" fmla="*/ 27078 h 101403"/>
                <a:gd name="connsiteX474" fmla="*/ 25211 w 65547"/>
                <a:gd name="connsiteY474" fmla="*/ 28105 h 101403"/>
                <a:gd name="connsiteX475" fmla="*/ 26051 w 65547"/>
                <a:gd name="connsiteY475" fmla="*/ 28572 h 101403"/>
                <a:gd name="connsiteX476" fmla="*/ 29786 w 65547"/>
                <a:gd name="connsiteY476" fmla="*/ 29226 h 101403"/>
                <a:gd name="connsiteX477" fmla="*/ 30533 w 65547"/>
                <a:gd name="connsiteY477" fmla="*/ 29693 h 101403"/>
                <a:gd name="connsiteX478" fmla="*/ 31373 w 65547"/>
                <a:gd name="connsiteY478" fmla="*/ 30533 h 101403"/>
                <a:gd name="connsiteX479" fmla="*/ 32120 w 65547"/>
                <a:gd name="connsiteY479" fmla="*/ 31560 h 101403"/>
                <a:gd name="connsiteX480" fmla="*/ 32400 w 65547"/>
                <a:gd name="connsiteY480" fmla="*/ 32494 h 101403"/>
                <a:gd name="connsiteX481" fmla="*/ 32400 w 65547"/>
                <a:gd name="connsiteY481" fmla="*/ 34175 h 101403"/>
                <a:gd name="connsiteX482" fmla="*/ 32681 w 65547"/>
                <a:gd name="connsiteY482" fmla="*/ 35388 h 101403"/>
                <a:gd name="connsiteX483" fmla="*/ 33147 w 65547"/>
                <a:gd name="connsiteY483" fmla="*/ 36135 h 101403"/>
                <a:gd name="connsiteX484" fmla="*/ 33801 w 65547"/>
                <a:gd name="connsiteY484" fmla="*/ 36415 h 10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65547" h="101403">
                  <a:moveTo>
                    <a:pt x="26891" y="29973"/>
                  </a:moveTo>
                  <a:lnTo>
                    <a:pt x="25678" y="29973"/>
                  </a:lnTo>
                  <a:cubicBezTo>
                    <a:pt x="25678" y="29973"/>
                    <a:pt x="24464" y="29599"/>
                    <a:pt x="24464" y="29599"/>
                  </a:cubicBezTo>
                  <a:lnTo>
                    <a:pt x="23997" y="28852"/>
                  </a:lnTo>
                  <a:lnTo>
                    <a:pt x="23250" y="27172"/>
                  </a:lnTo>
                  <a:lnTo>
                    <a:pt x="22690" y="26798"/>
                  </a:lnTo>
                  <a:lnTo>
                    <a:pt x="22129" y="26611"/>
                  </a:lnTo>
                  <a:lnTo>
                    <a:pt x="20262" y="25304"/>
                  </a:lnTo>
                  <a:lnTo>
                    <a:pt x="20262" y="24557"/>
                  </a:lnTo>
                  <a:lnTo>
                    <a:pt x="20542" y="24557"/>
                  </a:lnTo>
                  <a:lnTo>
                    <a:pt x="20542" y="23904"/>
                  </a:lnTo>
                  <a:lnTo>
                    <a:pt x="17181" y="24744"/>
                  </a:lnTo>
                  <a:lnTo>
                    <a:pt x="16340" y="25771"/>
                  </a:lnTo>
                  <a:lnTo>
                    <a:pt x="15780" y="25958"/>
                  </a:lnTo>
                  <a:lnTo>
                    <a:pt x="15780" y="26145"/>
                  </a:lnTo>
                  <a:cubicBezTo>
                    <a:pt x="15780" y="26145"/>
                    <a:pt x="15593" y="26611"/>
                    <a:pt x="15593" y="26611"/>
                  </a:cubicBezTo>
                  <a:lnTo>
                    <a:pt x="15593" y="27078"/>
                  </a:lnTo>
                  <a:cubicBezTo>
                    <a:pt x="15593" y="27078"/>
                    <a:pt x="15126" y="27265"/>
                    <a:pt x="15126" y="27265"/>
                  </a:cubicBezTo>
                  <a:lnTo>
                    <a:pt x="14006" y="27265"/>
                  </a:lnTo>
                  <a:cubicBezTo>
                    <a:pt x="14006" y="27265"/>
                    <a:pt x="13632" y="27265"/>
                    <a:pt x="13632" y="27265"/>
                  </a:cubicBezTo>
                  <a:lnTo>
                    <a:pt x="13072" y="26892"/>
                  </a:lnTo>
                  <a:lnTo>
                    <a:pt x="11391" y="25117"/>
                  </a:lnTo>
                  <a:lnTo>
                    <a:pt x="10271" y="25304"/>
                  </a:lnTo>
                  <a:lnTo>
                    <a:pt x="10271" y="27358"/>
                  </a:lnTo>
                  <a:cubicBezTo>
                    <a:pt x="10271" y="27358"/>
                    <a:pt x="11298" y="29693"/>
                    <a:pt x="11298" y="29693"/>
                  </a:cubicBezTo>
                  <a:lnTo>
                    <a:pt x="12605" y="30813"/>
                  </a:lnTo>
                  <a:lnTo>
                    <a:pt x="15033" y="31373"/>
                  </a:lnTo>
                  <a:lnTo>
                    <a:pt x="16247" y="32027"/>
                  </a:lnTo>
                  <a:lnTo>
                    <a:pt x="17274" y="32867"/>
                  </a:lnTo>
                  <a:lnTo>
                    <a:pt x="12699" y="32867"/>
                  </a:lnTo>
                  <a:lnTo>
                    <a:pt x="12699" y="33614"/>
                  </a:lnTo>
                  <a:lnTo>
                    <a:pt x="13352" y="33614"/>
                  </a:lnTo>
                  <a:cubicBezTo>
                    <a:pt x="13352" y="33614"/>
                    <a:pt x="15313" y="35015"/>
                    <a:pt x="15313" y="35015"/>
                  </a:cubicBezTo>
                  <a:lnTo>
                    <a:pt x="18301" y="35668"/>
                  </a:lnTo>
                  <a:lnTo>
                    <a:pt x="20448" y="37162"/>
                  </a:lnTo>
                  <a:lnTo>
                    <a:pt x="20916" y="37162"/>
                  </a:lnTo>
                  <a:cubicBezTo>
                    <a:pt x="20916" y="37162"/>
                    <a:pt x="20916" y="36135"/>
                    <a:pt x="20916" y="36135"/>
                  </a:cubicBezTo>
                  <a:lnTo>
                    <a:pt x="20448" y="35295"/>
                  </a:lnTo>
                  <a:lnTo>
                    <a:pt x="19888" y="34642"/>
                  </a:lnTo>
                  <a:lnTo>
                    <a:pt x="19515" y="34268"/>
                  </a:lnTo>
                  <a:lnTo>
                    <a:pt x="20262" y="33801"/>
                  </a:lnTo>
                  <a:lnTo>
                    <a:pt x="20916" y="34455"/>
                  </a:lnTo>
                  <a:lnTo>
                    <a:pt x="21476" y="35668"/>
                  </a:lnTo>
                  <a:lnTo>
                    <a:pt x="21849" y="37069"/>
                  </a:lnTo>
                  <a:lnTo>
                    <a:pt x="21662" y="37443"/>
                  </a:lnTo>
                  <a:lnTo>
                    <a:pt x="21289" y="38563"/>
                  </a:lnTo>
                  <a:lnTo>
                    <a:pt x="22129" y="37909"/>
                  </a:lnTo>
                  <a:lnTo>
                    <a:pt x="24930" y="36509"/>
                  </a:lnTo>
                  <a:lnTo>
                    <a:pt x="24464" y="36509"/>
                  </a:lnTo>
                  <a:cubicBezTo>
                    <a:pt x="24464" y="36509"/>
                    <a:pt x="24090" y="36322"/>
                    <a:pt x="24090" y="36322"/>
                  </a:cubicBezTo>
                  <a:lnTo>
                    <a:pt x="23717" y="36042"/>
                  </a:lnTo>
                  <a:lnTo>
                    <a:pt x="23343" y="35668"/>
                  </a:lnTo>
                  <a:lnTo>
                    <a:pt x="24184" y="35015"/>
                  </a:lnTo>
                  <a:lnTo>
                    <a:pt x="24930" y="35015"/>
                  </a:lnTo>
                  <a:cubicBezTo>
                    <a:pt x="24930" y="35015"/>
                    <a:pt x="25678" y="35482"/>
                    <a:pt x="25678" y="35482"/>
                  </a:cubicBezTo>
                  <a:lnTo>
                    <a:pt x="26518" y="35668"/>
                  </a:lnTo>
                  <a:lnTo>
                    <a:pt x="27545" y="35202"/>
                  </a:lnTo>
                  <a:lnTo>
                    <a:pt x="28105" y="34175"/>
                  </a:lnTo>
                  <a:lnTo>
                    <a:pt x="28572" y="32867"/>
                  </a:lnTo>
                  <a:lnTo>
                    <a:pt x="29132" y="31560"/>
                  </a:lnTo>
                  <a:lnTo>
                    <a:pt x="28199" y="30066"/>
                  </a:lnTo>
                  <a:lnTo>
                    <a:pt x="26985" y="29786"/>
                  </a:lnTo>
                  <a:close/>
                  <a:moveTo>
                    <a:pt x="47714" y="11205"/>
                  </a:moveTo>
                  <a:lnTo>
                    <a:pt x="48180" y="12139"/>
                  </a:lnTo>
                  <a:lnTo>
                    <a:pt x="49114" y="13539"/>
                  </a:lnTo>
                  <a:lnTo>
                    <a:pt x="50141" y="14099"/>
                  </a:lnTo>
                  <a:lnTo>
                    <a:pt x="50888" y="13539"/>
                  </a:lnTo>
                  <a:lnTo>
                    <a:pt x="50888" y="12045"/>
                  </a:lnTo>
                  <a:cubicBezTo>
                    <a:pt x="50888" y="12045"/>
                    <a:pt x="50608" y="11205"/>
                    <a:pt x="50608" y="11205"/>
                  </a:cubicBezTo>
                  <a:lnTo>
                    <a:pt x="50048" y="9711"/>
                  </a:lnTo>
                  <a:lnTo>
                    <a:pt x="47994" y="4855"/>
                  </a:lnTo>
                  <a:lnTo>
                    <a:pt x="47620" y="3361"/>
                  </a:lnTo>
                  <a:lnTo>
                    <a:pt x="46873" y="2614"/>
                  </a:lnTo>
                  <a:lnTo>
                    <a:pt x="46126" y="3455"/>
                  </a:lnTo>
                  <a:lnTo>
                    <a:pt x="45939" y="5696"/>
                  </a:lnTo>
                  <a:lnTo>
                    <a:pt x="46500" y="8030"/>
                  </a:lnTo>
                  <a:lnTo>
                    <a:pt x="47807" y="11205"/>
                  </a:lnTo>
                  <a:close/>
                  <a:moveTo>
                    <a:pt x="41831" y="6443"/>
                  </a:moveTo>
                  <a:lnTo>
                    <a:pt x="42205" y="7283"/>
                  </a:lnTo>
                  <a:lnTo>
                    <a:pt x="43512" y="9711"/>
                  </a:lnTo>
                  <a:lnTo>
                    <a:pt x="44445" y="11205"/>
                  </a:lnTo>
                  <a:lnTo>
                    <a:pt x="44819" y="11858"/>
                  </a:lnTo>
                  <a:lnTo>
                    <a:pt x="45286" y="13352"/>
                  </a:lnTo>
                  <a:lnTo>
                    <a:pt x="45659" y="15033"/>
                  </a:lnTo>
                  <a:lnTo>
                    <a:pt x="46313" y="16154"/>
                  </a:lnTo>
                  <a:lnTo>
                    <a:pt x="47153" y="16620"/>
                  </a:lnTo>
                  <a:lnTo>
                    <a:pt x="47900" y="16434"/>
                  </a:lnTo>
                  <a:lnTo>
                    <a:pt x="48087" y="15407"/>
                  </a:lnTo>
                  <a:lnTo>
                    <a:pt x="47620" y="14286"/>
                  </a:lnTo>
                  <a:lnTo>
                    <a:pt x="47340" y="13819"/>
                  </a:lnTo>
                  <a:lnTo>
                    <a:pt x="43979" y="7190"/>
                  </a:lnTo>
                  <a:lnTo>
                    <a:pt x="42671" y="3735"/>
                  </a:lnTo>
                  <a:lnTo>
                    <a:pt x="42018" y="2521"/>
                  </a:lnTo>
                  <a:lnTo>
                    <a:pt x="41364" y="1867"/>
                  </a:lnTo>
                  <a:lnTo>
                    <a:pt x="40897" y="2334"/>
                  </a:lnTo>
                  <a:lnTo>
                    <a:pt x="40897" y="3735"/>
                  </a:lnTo>
                  <a:cubicBezTo>
                    <a:pt x="40897" y="3735"/>
                    <a:pt x="41831" y="6349"/>
                    <a:pt x="41831" y="6349"/>
                  </a:cubicBezTo>
                  <a:close/>
                  <a:moveTo>
                    <a:pt x="4108" y="29786"/>
                  </a:moveTo>
                  <a:lnTo>
                    <a:pt x="2708" y="29039"/>
                  </a:lnTo>
                  <a:lnTo>
                    <a:pt x="1307" y="29039"/>
                  </a:lnTo>
                  <a:cubicBezTo>
                    <a:pt x="1307" y="29039"/>
                    <a:pt x="0" y="29879"/>
                    <a:pt x="0" y="29879"/>
                  </a:cubicBezTo>
                  <a:lnTo>
                    <a:pt x="187" y="30626"/>
                  </a:lnTo>
                  <a:lnTo>
                    <a:pt x="4108" y="31000"/>
                  </a:lnTo>
                  <a:lnTo>
                    <a:pt x="4669" y="31000"/>
                  </a:lnTo>
                  <a:cubicBezTo>
                    <a:pt x="4669" y="31000"/>
                    <a:pt x="5135" y="30720"/>
                    <a:pt x="5135" y="30720"/>
                  </a:cubicBezTo>
                  <a:lnTo>
                    <a:pt x="4669" y="30440"/>
                  </a:lnTo>
                  <a:lnTo>
                    <a:pt x="4015" y="29786"/>
                  </a:lnTo>
                  <a:close/>
                  <a:moveTo>
                    <a:pt x="49208" y="26611"/>
                  </a:moveTo>
                  <a:lnTo>
                    <a:pt x="51729" y="26985"/>
                  </a:lnTo>
                  <a:lnTo>
                    <a:pt x="50048" y="25211"/>
                  </a:lnTo>
                  <a:lnTo>
                    <a:pt x="44165" y="22036"/>
                  </a:lnTo>
                  <a:lnTo>
                    <a:pt x="44165" y="21382"/>
                  </a:lnTo>
                  <a:lnTo>
                    <a:pt x="45099" y="20916"/>
                  </a:lnTo>
                  <a:lnTo>
                    <a:pt x="47994" y="21382"/>
                  </a:lnTo>
                  <a:lnTo>
                    <a:pt x="49208" y="21382"/>
                  </a:lnTo>
                  <a:cubicBezTo>
                    <a:pt x="49208" y="21382"/>
                    <a:pt x="49861" y="20822"/>
                    <a:pt x="49861" y="20822"/>
                  </a:cubicBezTo>
                  <a:lnTo>
                    <a:pt x="49674" y="20169"/>
                  </a:lnTo>
                  <a:lnTo>
                    <a:pt x="47620" y="18768"/>
                  </a:lnTo>
                  <a:lnTo>
                    <a:pt x="45006" y="17741"/>
                  </a:lnTo>
                  <a:lnTo>
                    <a:pt x="44539" y="17741"/>
                  </a:lnTo>
                  <a:cubicBezTo>
                    <a:pt x="44539" y="17741"/>
                    <a:pt x="43605" y="18395"/>
                    <a:pt x="43605" y="18395"/>
                  </a:cubicBezTo>
                  <a:lnTo>
                    <a:pt x="43232" y="18395"/>
                  </a:lnTo>
                  <a:cubicBezTo>
                    <a:pt x="43232" y="18395"/>
                    <a:pt x="42765" y="18208"/>
                    <a:pt x="42765" y="18208"/>
                  </a:cubicBezTo>
                  <a:lnTo>
                    <a:pt x="41831" y="17274"/>
                  </a:lnTo>
                  <a:lnTo>
                    <a:pt x="41271" y="17087"/>
                  </a:lnTo>
                  <a:lnTo>
                    <a:pt x="41271" y="16340"/>
                  </a:lnTo>
                  <a:lnTo>
                    <a:pt x="42205" y="16060"/>
                  </a:lnTo>
                  <a:lnTo>
                    <a:pt x="43045" y="15126"/>
                  </a:lnTo>
                  <a:lnTo>
                    <a:pt x="43418" y="14099"/>
                  </a:lnTo>
                  <a:lnTo>
                    <a:pt x="42951" y="13632"/>
                  </a:lnTo>
                  <a:lnTo>
                    <a:pt x="39217" y="12979"/>
                  </a:lnTo>
                  <a:lnTo>
                    <a:pt x="40150" y="12325"/>
                  </a:lnTo>
                  <a:lnTo>
                    <a:pt x="40524" y="12325"/>
                  </a:lnTo>
                  <a:cubicBezTo>
                    <a:pt x="40524" y="12325"/>
                    <a:pt x="39777" y="10925"/>
                    <a:pt x="39777" y="10925"/>
                  </a:cubicBezTo>
                  <a:lnTo>
                    <a:pt x="38563" y="10925"/>
                  </a:lnTo>
                  <a:cubicBezTo>
                    <a:pt x="38563" y="10925"/>
                    <a:pt x="35015" y="12139"/>
                    <a:pt x="35015" y="12139"/>
                  </a:cubicBezTo>
                  <a:lnTo>
                    <a:pt x="34828" y="13352"/>
                  </a:lnTo>
                  <a:lnTo>
                    <a:pt x="35295" y="16434"/>
                  </a:lnTo>
                  <a:lnTo>
                    <a:pt x="34548" y="15407"/>
                  </a:lnTo>
                  <a:lnTo>
                    <a:pt x="34174" y="14286"/>
                  </a:lnTo>
                  <a:lnTo>
                    <a:pt x="33988" y="12885"/>
                  </a:lnTo>
                  <a:lnTo>
                    <a:pt x="33988" y="11205"/>
                  </a:lnTo>
                  <a:cubicBezTo>
                    <a:pt x="33988" y="11205"/>
                    <a:pt x="34548" y="10458"/>
                    <a:pt x="34548" y="10458"/>
                  </a:cubicBezTo>
                  <a:lnTo>
                    <a:pt x="35668" y="9804"/>
                  </a:lnTo>
                  <a:lnTo>
                    <a:pt x="36509" y="9057"/>
                  </a:lnTo>
                  <a:lnTo>
                    <a:pt x="36322" y="8030"/>
                  </a:lnTo>
                  <a:lnTo>
                    <a:pt x="35762" y="8030"/>
                  </a:lnTo>
                  <a:cubicBezTo>
                    <a:pt x="35762" y="8030"/>
                    <a:pt x="35295" y="7563"/>
                    <a:pt x="35295" y="7563"/>
                  </a:cubicBezTo>
                  <a:lnTo>
                    <a:pt x="34921" y="7096"/>
                  </a:lnTo>
                  <a:lnTo>
                    <a:pt x="34454" y="6723"/>
                  </a:lnTo>
                  <a:lnTo>
                    <a:pt x="33894" y="6536"/>
                  </a:lnTo>
                  <a:lnTo>
                    <a:pt x="31747" y="7003"/>
                  </a:lnTo>
                  <a:lnTo>
                    <a:pt x="29973" y="8310"/>
                  </a:lnTo>
                  <a:lnTo>
                    <a:pt x="28945" y="8777"/>
                  </a:lnTo>
                  <a:lnTo>
                    <a:pt x="28385" y="8590"/>
                  </a:lnTo>
                  <a:lnTo>
                    <a:pt x="27825" y="8217"/>
                  </a:lnTo>
                  <a:lnTo>
                    <a:pt x="27358" y="8217"/>
                  </a:lnTo>
                  <a:cubicBezTo>
                    <a:pt x="27358" y="8217"/>
                    <a:pt x="26985" y="8870"/>
                    <a:pt x="26985" y="8870"/>
                  </a:cubicBezTo>
                  <a:lnTo>
                    <a:pt x="26985" y="9524"/>
                  </a:lnTo>
                  <a:cubicBezTo>
                    <a:pt x="26985" y="9524"/>
                    <a:pt x="27451" y="10084"/>
                    <a:pt x="27451" y="10084"/>
                  </a:cubicBezTo>
                  <a:lnTo>
                    <a:pt x="28012" y="10645"/>
                  </a:lnTo>
                  <a:lnTo>
                    <a:pt x="28385" y="11298"/>
                  </a:lnTo>
                  <a:lnTo>
                    <a:pt x="30066" y="16527"/>
                  </a:lnTo>
                  <a:lnTo>
                    <a:pt x="33054" y="21663"/>
                  </a:lnTo>
                  <a:lnTo>
                    <a:pt x="33614" y="22223"/>
                  </a:lnTo>
                  <a:lnTo>
                    <a:pt x="33988" y="22410"/>
                  </a:lnTo>
                  <a:lnTo>
                    <a:pt x="35015" y="23530"/>
                  </a:lnTo>
                  <a:lnTo>
                    <a:pt x="35295" y="23997"/>
                  </a:lnTo>
                  <a:lnTo>
                    <a:pt x="35762" y="24464"/>
                  </a:lnTo>
                  <a:lnTo>
                    <a:pt x="37723" y="24464"/>
                  </a:lnTo>
                  <a:cubicBezTo>
                    <a:pt x="37723" y="24464"/>
                    <a:pt x="41457" y="29132"/>
                    <a:pt x="41457" y="29132"/>
                  </a:cubicBezTo>
                  <a:lnTo>
                    <a:pt x="43418" y="30720"/>
                  </a:lnTo>
                  <a:lnTo>
                    <a:pt x="44259" y="28479"/>
                  </a:lnTo>
                  <a:lnTo>
                    <a:pt x="43792" y="25864"/>
                  </a:lnTo>
                  <a:lnTo>
                    <a:pt x="42578" y="24184"/>
                  </a:lnTo>
                  <a:lnTo>
                    <a:pt x="41177" y="22876"/>
                  </a:lnTo>
                  <a:lnTo>
                    <a:pt x="40057" y="21569"/>
                  </a:lnTo>
                  <a:lnTo>
                    <a:pt x="41364" y="21196"/>
                  </a:lnTo>
                  <a:lnTo>
                    <a:pt x="42858" y="22503"/>
                  </a:lnTo>
                  <a:lnTo>
                    <a:pt x="44165" y="24557"/>
                  </a:lnTo>
                  <a:lnTo>
                    <a:pt x="45006" y="26425"/>
                  </a:lnTo>
                  <a:lnTo>
                    <a:pt x="45379" y="28852"/>
                  </a:lnTo>
                  <a:lnTo>
                    <a:pt x="45379" y="31373"/>
                  </a:lnTo>
                  <a:cubicBezTo>
                    <a:pt x="45379" y="31373"/>
                    <a:pt x="45846" y="33521"/>
                    <a:pt x="45846" y="33521"/>
                  </a:cubicBezTo>
                  <a:lnTo>
                    <a:pt x="47620" y="34735"/>
                  </a:lnTo>
                  <a:lnTo>
                    <a:pt x="47433" y="34081"/>
                  </a:lnTo>
                  <a:lnTo>
                    <a:pt x="47433" y="33614"/>
                  </a:lnTo>
                  <a:cubicBezTo>
                    <a:pt x="47433" y="33614"/>
                    <a:pt x="47620" y="33241"/>
                    <a:pt x="47620" y="33241"/>
                  </a:cubicBezTo>
                  <a:lnTo>
                    <a:pt x="47994" y="32867"/>
                  </a:lnTo>
                  <a:lnTo>
                    <a:pt x="47994" y="32120"/>
                  </a:lnTo>
                  <a:lnTo>
                    <a:pt x="47714" y="31934"/>
                  </a:lnTo>
                  <a:lnTo>
                    <a:pt x="47527" y="31654"/>
                  </a:lnTo>
                  <a:lnTo>
                    <a:pt x="47340" y="31467"/>
                  </a:lnTo>
                  <a:lnTo>
                    <a:pt x="47900" y="30533"/>
                  </a:lnTo>
                  <a:lnTo>
                    <a:pt x="48741" y="30066"/>
                  </a:lnTo>
                  <a:lnTo>
                    <a:pt x="49768" y="30066"/>
                  </a:lnTo>
                  <a:cubicBezTo>
                    <a:pt x="49768" y="30066"/>
                    <a:pt x="50608" y="30066"/>
                    <a:pt x="50608" y="30066"/>
                  </a:cubicBezTo>
                  <a:lnTo>
                    <a:pt x="50608" y="29319"/>
                  </a:lnTo>
                  <a:lnTo>
                    <a:pt x="49021" y="27639"/>
                  </a:lnTo>
                  <a:lnTo>
                    <a:pt x="48087" y="26892"/>
                  </a:lnTo>
                  <a:lnTo>
                    <a:pt x="47060" y="26705"/>
                  </a:lnTo>
                  <a:lnTo>
                    <a:pt x="47060" y="26051"/>
                  </a:lnTo>
                  <a:lnTo>
                    <a:pt x="49488" y="27172"/>
                  </a:lnTo>
                  <a:close/>
                  <a:moveTo>
                    <a:pt x="46780" y="97202"/>
                  </a:moveTo>
                  <a:lnTo>
                    <a:pt x="45753" y="96735"/>
                  </a:lnTo>
                  <a:lnTo>
                    <a:pt x="45939" y="95708"/>
                  </a:lnTo>
                  <a:lnTo>
                    <a:pt x="45939" y="95334"/>
                  </a:lnTo>
                  <a:cubicBezTo>
                    <a:pt x="45939" y="95334"/>
                    <a:pt x="44165" y="95147"/>
                    <a:pt x="44165" y="95147"/>
                  </a:cubicBezTo>
                  <a:lnTo>
                    <a:pt x="43325" y="95521"/>
                  </a:lnTo>
                  <a:lnTo>
                    <a:pt x="42765" y="96641"/>
                  </a:lnTo>
                  <a:lnTo>
                    <a:pt x="42578" y="95708"/>
                  </a:lnTo>
                  <a:lnTo>
                    <a:pt x="42205" y="95054"/>
                  </a:lnTo>
                  <a:lnTo>
                    <a:pt x="41738" y="94680"/>
                  </a:lnTo>
                  <a:lnTo>
                    <a:pt x="41177" y="94680"/>
                  </a:lnTo>
                  <a:lnTo>
                    <a:pt x="41177" y="93840"/>
                  </a:lnTo>
                  <a:lnTo>
                    <a:pt x="42298" y="94214"/>
                  </a:lnTo>
                  <a:lnTo>
                    <a:pt x="43138" y="94214"/>
                  </a:lnTo>
                  <a:cubicBezTo>
                    <a:pt x="43138" y="94214"/>
                    <a:pt x="44819" y="93186"/>
                    <a:pt x="44819" y="93186"/>
                  </a:cubicBezTo>
                  <a:lnTo>
                    <a:pt x="45379" y="93186"/>
                  </a:lnTo>
                  <a:cubicBezTo>
                    <a:pt x="45379" y="93186"/>
                    <a:pt x="45939" y="93186"/>
                    <a:pt x="45939" y="93186"/>
                  </a:cubicBezTo>
                  <a:lnTo>
                    <a:pt x="46406" y="93000"/>
                  </a:lnTo>
                  <a:lnTo>
                    <a:pt x="46593" y="92159"/>
                  </a:lnTo>
                  <a:lnTo>
                    <a:pt x="44632" y="91132"/>
                  </a:lnTo>
                  <a:lnTo>
                    <a:pt x="44632" y="90479"/>
                  </a:lnTo>
                  <a:lnTo>
                    <a:pt x="45193" y="90105"/>
                  </a:lnTo>
                  <a:lnTo>
                    <a:pt x="45193" y="89545"/>
                  </a:lnTo>
                  <a:cubicBezTo>
                    <a:pt x="45193" y="89545"/>
                    <a:pt x="45193" y="88891"/>
                    <a:pt x="45193" y="88891"/>
                  </a:cubicBezTo>
                  <a:lnTo>
                    <a:pt x="44726" y="88331"/>
                  </a:lnTo>
                  <a:lnTo>
                    <a:pt x="44259" y="88144"/>
                  </a:lnTo>
                  <a:lnTo>
                    <a:pt x="43232" y="88424"/>
                  </a:lnTo>
                  <a:lnTo>
                    <a:pt x="42765" y="88424"/>
                  </a:lnTo>
                  <a:cubicBezTo>
                    <a:pt x="42765" y="88424"/>
                    <a:pt x="42298" y="87677"/>
                    <a:pt x="42298" y="87677"/>
                  </a:cubicBezTo>
                  <a:lnTo>
                    <a:pt x="41924" y="86744"/>
                  </a:lnTo>
                  <a:lnTo>
                    <a:pt x="41364" y="85903"/>
                  </a:lnTo>
                  <a:lnTo>
                    <a:pt x="40430" y="85623"/>
                  </a:lnTo>
                  <a:lnTo>
                    <a:pt x="40804" y="84970"/>
                  </a:lnTo>
                  <a:lnTo>
                    <a:pt x="41551" y="84970"/>
                  </a:lnTo>
                  <a:cubicBezTo>
                    <a:pt x="41551" y="84970"/>
                    <a:pt x="42298" y="85250"/>
                    <a:pt x="42298" y="85250"/>
                  </a:cubicBezTo>
                  <a:lnTo>
                    <a:pt x="42858" y="85997"/>
                  </a:lnTo>
                  <a:lnTo>
                    <a:pt x="43512" y="86557"/>
                  </a:lnTo>
                  <a:lnTo>
                    <a:pt x="44259" y="86370"/>
                  </a:lnTo>
                  <a:lnTo>
                    <a:pt x="44819" y="85530"/>
                  </a:lnTo>
                  <a:lnTo>
                    <a:pt x="44819" y="84223"/>
                  </a:lnTo>
                  <a:cubicBezTo>
                    <a:pt x="44819" y="84223"/>
                    <a:pt x="43699" y="83102"/>
                    <a:pt x="43699" y="83102"/>
                  </a:cubicBezTo>
                  <a:lnTo>
                    <a:pt x="40711" y="82635"/>
                  </a:lnTo>
                  <a:lnTo>
                    <a:pt x="39403" y="80955"/>
                  </a:lnTo>
                  <a:lnTo>
                    <a:pt x="35202" y="81421"/>
                  </a:lnTo>
                  <a:lnTo>
                    <a:pt x="35202" y="80768"/>
                  </a:lnTo>
                  <a:lnTo>
                    <a:pt x="37536" y="78620"/>
                  </a:lnTo>
                  <a:lnTo>
                    <a:pt x="36976" y="78620"/>
                  </a:lnTo>
                  <a:cubicBezTo>
                    <a:pt x="36976" y="78620"/>
                    <a:pt x="36415" y="78620"/>
                    <a:pt x="36415" y="78620"/>
                  </a:cubicBezTo>
                  <a:lnTo>
                    <a:pt x="35948" y="78433"/>
                  </a:lnTo>
                  <a:lnTo>
                    <a:pt x="35482" y="77967"/>
                  </a:lnTo>
                  <a:lnTo>
                    <a:pt x="35855" y="77686"/>
                  </a:lnTo>
                  <a:lnTo>
                    <a:pt x="36789" y="76566"/>
                  </a:lnTo>
                  <a:lnTo>
                    <a:pt x="36135" y="75912"/>
                  </a:lnTo>
                  <a:lnTo>
                    <a:pt x="35295" y="75912"/>
                  </a:lnTo>
                  <a:cubicBezTo>
                    <a:pt x="35295" y="75912"/>
                    <a:pt x="33521" y="77220"/>
                    <a:pt x="33521" y="77220"/>
                  </a:cubicBezTo>
                  <a:lnTo>
                    <a:pt x="33708" y="77500"/>
                  </a:lnTo>
                  <a:lnTo>
                    <a:pt x="33708" y="77500"/>
                  </a:lnTo>
                  <a:cubicBezTo>
                    <a:pt x="33708" y="77500"/>
                    <a:pt x="33801" y="77967"/>
                    <a:pt x="33801" y="77967"/>
                  </a:cubicBezTo>
                  <a:lnTo>
                    <a:pt x="32867" y="77967"/>
                  </a:lnTo>
                  <a:lnTo>
                    <a:pt x="33334" y="79461"/>
                  </a:lnTo>
                  <a:lnTo>
                    <a:pt x="33521" y="79927"/>
                  </a:lnTo>
                  <a:lnTo>
                    <a:pt x="33708" y="81795"/>
                  </a:lnTo>
                  <a:lnTo>
                    <a:pt x="34828" y="84223"/>
                  </a:lnTo>
                  <a:lnTo>
                    <a:pt x="36322" y="86557"/>
                  </a:lnTo>
                  <a:lnTo>
                    <a:pt x="37629" y="88144"/>
                  </a:lnTo>
                  <a:lnTo>
                    <a:pt x="37442" y="90665"/>
                  </a:lnTo>
                  <a:lnTo>
                    <a:pt x="39497" y="93653"/>
                  </a:lnTo>
                  <a:lnTo>
                    <a:pt x="43792" y="97762"/>
                  </a:lnTo>
                  <a:lnTo>
                    <a:pt x="45566" y="100376"/>
                  </a:lnTo>
                  <a:lnTo>
                    <a:pt x="46593" y="101403"/>
                  </a:lnTo>
                  <a:lnTo>
                    <a:pt x="47714" y="101217"/>
                  </a:lnTo>
                  <a:lnTo>
                    <a:pt x="48087" y="100003"/>
                  </a:lnTo>
                  <a:lnTo>
                    <a:pt x="47900" y="98322"/>
                  </a:lnTo>
                  <a:lnTo>
                    <a:pt x="47153" y="96921"/>
                  </a:lnTo>
                  <a:close/>
                  <a:moveTo>
                    <a:pt x="53129" y="2801"/>
                  </a:moveTo>
                  <a:lnTo>
                    <a:pt x="53596" y="5416"/>
                  </a:lnTo>
                  <a:lnTo>
                    <a:pt x="54343" y="7096"/>
                  </a:lnTo>
                  <a:lnTo>
                    <a:pt x="55463" y="9151"/>
                  </a:lnTo>
                  <a:lnTo>
                    <a:pt x="56864" y="10551"/>
                  </a:lnTo>
                  <a:lnTo>
                    <a:pt x="58358" y="11111"/>
                  </a:lnTo>
                  <a:lnTo>
                    <a:pt x="59199" y="10738"/>
                  </a:lnTo>
                  <a:lnTo>
                    <a:pt x="59479" y="10084"/>
                  </a:lnTo>
                  <a:lnTo>
                    <a:pt x="59665" y="9151"/>
                  </a:lnTo>
                  <a:lnTo>
                    <a:pt x="59292" y="8123"/>
                  </a:lnTo>
                  <a:lnTo>
                    <a:pt x="58918" y="7750"/>
                  </a:lnTo>
                  <a:lnTo>
                    <a:pt x="58638" y="7563"/>
                  </a:lnTo>
                  <a:lnTo>
                    <a:pt x="58078" y="7563"/>
                  </a:lnTo>
                  <a:cubicBezTo>
                    <a:pt x="58078" y="7563"/>
                    <a:pt x="57518" y="8310"/>
                    <a:pt x="57518" y="8310"/>
                  </a:cubicBezTo>
                  <a:lnTo>
                    <a:pt x="57051" y="8310"/>
                  </a:lnTo>
                  <a:cubicBezTo>
                    <a:pt x="57051" y="8310"/>
                    <a:pt x="56771" y="7750"/>
                    <a:pt x="56771" y="7750"/>
                  </a:cubicBezTo>
                  <a:lnTo>
                    <a:pt x="56771" y="7003"/>
                  </a:lnTo>
                  <a:cubicBezTo>
                    <a:pt x="56771" y="7003"/>
                    <a:pt x="56491" y="6069"/>
                    <a:pt x="56491" y="6069"/>
                  </a:cubicBezTo>
                  <a:lnTo>
                    <a:pt x="55837" y="5136"/>
                  </a:lnTo>
                  <a:lnTo>
                    <a:pt x="55277" y="4015"/>
                  </a:lnTo>
                  <a:lnTo>
                    <a:pt x="54903" y="2521"/>
                  </a:lnTo>
                  <a:lnTo>
                    <a:pt x="54436" y="1214"/>
                  </a:lnTo>
                  <a:lnTo>
                    <a:pt x="53783" y="374"/>
                  </a:lnTo>
                  <a:lnTo>
                    <a:pt x="52662" y="0"/>
                  </a:lnTo>
                  <a:lnTo>
                    <a:pt x="52009" y="840"/>
                  </a:lnTo>
                  <a:lnTo>
                    <a:pt x="52476" y="2148"/>
                  </a:lnTo>
                  <a:lnTo>
                    <a:pt x="53129" y="2801"/>
                  </a:lnTo>
                  <a:close/>
                  <a:moveTo>
                    <a:pt x="55557" y="10645"/>
                  </a:moveTo>
                  <a:lnTo>
                    <a:pt x="53970" y="7750"/>
                  </a:lnTo>
                  <a:lnTo>
                    <a:pt x="52662" y="3735"/>
                  </a:lnTo>
                  <a:lnTo>
                    <a:pt x="53036" y="2988"/>
                  </a:lnTo>
                  <a:lnTo>
                    <a:pt x="51635" y="3828"/>
                  </a:lnTo>
                  <a:lnTo>
                    <a:pt x="51355" y="5322"/>
                  </a:lnTo>
                  <a:lnTo>
                    <a:pt x="51729" y="7190"/>
                  </a:lnTo>
                  <a:lnTo>
                    <a:pt x="52289" y="9337"/>
                  </a:lnTo>
                  <a:lnTo>
                    <a:pt x="52289" y="10178"/>
                  </a:lnTo>
                  <a:cubicBezTo>
                    <a:pt x="52289" y="10178"/>
                    <a:pt x="52569" y="12979"/>
                    <a:pt x="52569" y="12979"/>
                  </a:cubicBezTo>
                  <a:lnTo>
                    <a:pt x="52569" y="13913"/>
                  </a:lnTo>
                  <a:cubicBezTo>
                    <a:pt x="52569" y="13913"/>
                    <a:pt x="52289" y="14660"/>
                    <a:pt x="52289" y="14660"/>
                  </a:cubicBezTo>
                  <a:lnTo>
                    <a:pt x="52289" y="15220"/>
                  </a:lnTo>
                  <a:cubicBezTo>
                    <a:pt x="52289" y="15220"/>
                    <a:pt x="52289" y="15593"/>
                    <a:pt x="52289" y="15593"/>
                  </a:cubicBezTo>
                  <a:lnTo>
                    <a:pt x="51915" y="15780"/>
                  </a:lnTo>
                  <a:lnTo>
                    <a:pt x="51729" y="15593"/>
                  </a:lnTo>
                  <a:lnTo>
                    <a:pt x="51729" y="15220"/>
                  </a:lnTo>
                  <a:cubicBezTo>
                    <a:pt x="51729" y="15220"/>
                    <a:pt x="51448" y="15220"/>
                    <a:pt x="51448" y="15220"/>
                  </a:cubicBezTo>
                  <a:lnTo>
                    <a:pt x="51075" y="15873"/>
                  </a:lnTo>
                  <a:lnTo>
                    <a:pt x="50888" y="17648"/>
                  </a:lnTo>
                  <a:lnTo>
                    <a:pt x="51448" y="19235"/>
                  </a:lnTo>
                  <a:lnTo>
                    <a:pt x="53036" y="21476"/>
                  </a:lnTo>
                  <a:lnTo>
                    <a:pt x="53223" y="21849"/>
                  </a:lnTo>
                  <a:lnTo>
                    <a:pt x="53223" y="22223"/>
                  </a:lnTo>
                  <a:cubicBezTo>
                    <a:pt x="53223" y="22223"/>
                    <a:pt x="53409" y="22596"/>
                    <a:pt x="53409" y="22596"/>
                  </a:cubicBezTo>
                  <a:lnTo>
                    <a:pt x="53876" y="23063"/>
                  </a:lnTo>
                  <a:lnTo>
                    <a:pt x="54343" y="23343"/>
                  </a:lnTo>
                  <a:lnTo>
                    <a:pt x="54623" y="23343"/>
                  </a:lnTo>
                  <a:cubicBezTo>
                    <a:pt x="54623" y="23343"/>
                    <a:pt x="54436" y="22596"/>
                    <a:pt x="54436" y="22596"/>
                  </a:cubicBezTo>
                  <a:lnTo>
                    <a:pt x="53970" y="21476"/>
                  </a:lnTo>
                  <a:lnTo>
                    <a:pt x="52942" y="18021"/>
                  </a:lnTo>
                  <a:lnTo>
                    <a:pt x="53690" y="17648"/>
                  </a:lnTo>
                  <a:lnTo>
                    <a:pt x="54436" y="18395"/>
                  </a:lnTo>
                  <a:lnTo>
                    <a:pt x="55744" y="21196"/>
                  </a:lnTo>
                  <a:lnTo>
                    <a:pt x="56491" y="22129"/>
                  </a:lnTo>
                  <a:lnTo>
                    <a:pt x="57424" y="22410"/>
                  </a:lnTo>
                  <a:lnTo>
                    <a:pt x="58358" y="22129"/>
                  </a:lnTo>
                  <a:lnTo>
                    <a:pt x="59199" y="21569"/>
                  </a:lnTo>
                  <a:lnTo>
                    <a:pt x="59199" y="20822"/>
                  </a:lnTo>
                  <a:lnTo>
                    <a:pt x="58825" y="20355"/>
                  </a:lnTo>
                  <a:lnTo>
                    <a:pt x="58638" y="19795"/>
                  </a:lnTo>
                  <a:lnTo>
                    <a:pt x="58451" y="18021"/>
                  </a:lnTo>
                  <a:lnTo>
                    <a:pt x="57518" y="18581"/>
                  </a:lnTo>
                  <a:lnTo>
                    <a:pt x="56584" y="17741"/>
                  </a:lnTo>
                  <a:lnTo>
                    <a:pt x="54810" y="15220"/>
                  </a:lnTo>
                  <a:lnTo>
                    <a:pt x="55183" y="14473"/>
                  </a:lnTo>
                  <a:lnTo>
                    <a:pt x="56211" y="15593"/>
                  </a:lnTo>
                  <a:lnTo>
                    <a:pt x="57705" y="16247"/>
                  </a:lnTo>
                  <a:lnTo>
                    <a:pt x="59199" y="16060"/>
                  </a:lnTo>
                  <a:lnTo>
                    <a:pt x="60132" y="14473"/>
                  </a:lnTo>
                  <a:lnTo>
                    <a:pt x="57611" y="12885"/>
                  </a:lnTo>
                  <a:lnTo>
                    <a:pt x="55557" y="10831"/>
                  </a:lnTo>
                  <a:close/>
                  <a:moveTo>
                    <a:pt x="65454" y="9898"/>
                  </a:moveTo>
                  <a:lnTo>
                    <a:pt x="64708" y="9431"/>
                  </a:lnTo>
                  <a:lnTo>
                    <a:pt x="63307" y="9431"/>
                  </a:lnTo>
                  <a:cubicBezTo>
                    <a:pt x="63307" y="9431"/>
                    <a:pt x="61720" y="11018"/>
                    <a:pt x="61720" y="11018"/>
                  </a:cubicBezTo>
                  <a:lnTo>
                    <a:pt x="60879" y="11392"/>
                  </a:lnTo>
                  <a:lnTo>
                    <a:pt x="60319" y="12139"/>
                  </a:lnTo>
                  <a:lnTo>
                    <a:pt x="60506" y="13259"/>
                  </a:lnTo>
                  <a:lnTo>
                    <a:pt x="60973" y="14566"/>
                  </a:lnTo>
                  <a:lnTo>
                    <a:pt x="61533" y="15593"/>
                  </a:lnTo>
                  <a:lnTo>
                    <a:pt x="62373" y="15780"/>
                  </a:lnTo>
                  <a:lnTo>
                    <a:pt x="63120" y="15500"/>
                  </a:lnTo>
                  <a:lnTo>
                    <a:pt x="63774" y="15126"/>
                  </a:lnTo>
                  <a:lnTo>
                    <a:pt x="64241" y="14566"/>
                  </a:lnTo>
                  <a:lnTo>
                    <a:pt x="64427" y="13913"/>
                  </a:lnTo>
                  <a:lnTo>
                    <a:pt x="64427" y="12979"/>
                  </a:lnTo>
                  <a:cubicBezTo>
                    <a:pt x="64427" y="12979"/>
                    <a:pt x="64147" y="11952"/>
                    <a:pt x="64147" y="11952"/>
                  </a:cubicBezTo>
                  <a:lnTo>
                    <a:pt x="65548" y="10458"/>
                  </a:lnTo>
                  <a:lnTo>
                    <a:pt x="65548" y="9804"/>
                  </a:lnTo>
                  <a:close/>
                  <a:moveTo>
                    <a:pt x="47714" y="56584"/>
                  </a:moveTo>
                  <a:lnTo>
                    <a:pt x="47433" y="55184"/>
                  </a:lnTo>
                  <a:lnTo>
                    <a:pt x="46873" y="54437"/>
                  </a:lnTo>
                  <a:lnTo>
                    <a:pt x="43232" y="53409"/>
                  </a:lnTo>
                  <a:lnTo>
                    <a:pt x="42671" y="53036"/>
                  </a:lnTo>
                  <a:lnTo>
                    <a:pt x="42018" y="51822"/>
                  </a:lnTo>
                  <a:lnTo>
                    <a:pt x="41551" y="51262"/>
                  </a:lnTo>
                  <a:lnTo>
                    <a:pt x="40991" y="50982"/>
                  </a:lnTo>
                  <a:lnTo>
                    <a:pt x="39497" y="51262"/>
                  </a:lnTo>
                  <a:lnTo>
                    <a:pt x="38563" y="51075"/>
                  </a:lnTo>
                  <a:lnTo>
                    <a:pt x="36509" y="50141"/>
                  </a:lnTo>
                  <a:lnTo>
                    <a:pt x="35388" y="49955"/>
                  </a:lnTo>
                  <a:lnTo>
                    <a:pt x="35762" y="51542"/>
                  </a:lnTo>
                  <a:lnTo>
                    <a:pt x="36789" y="53970"/>
                  </a:lnTo>
                  <a:lnTo>
                    <a:pt x="36976" y="55744"/>
                  </a:lnTo>
                  <a:lnTo>
                    <a:pt x="37256" y="57051"/>
                  </a:lnTo>
                  <a:lnTo>
                    <a:pt x="37909" y="57798"/>
                  </a:lnTo>
                  <a:lnTo>
                    <a:pt x="38656" y="58078"/>
                  </a:lnTo>
                  <a:lnTo>
                    <a:pt x="43045" y="58918"/>
                  </a:lnTo>
                  <a:lnTo>
                    <a:pt x="43699" y="59665"/>
                  </a:lnTo>
                  <a:lnTo>
                    <a:pt x="46780" y="66202"/>
                  </a:lnTo>
                  <a:lnTo>
                    <a:pt x="47153" y="66482"/>
                  </a:lnTo>
                  <a:lnTo>
                    <a:pt x="47620" y="66202"/>
                  </a:lnTo>
                  <a:lnTo>
                    <a:pt x="48087" y="65455"/>
                  </a:lnTo>
                  <a:lnTo>
                    <a:pt x="48460" y="64708"/>
                  </a:lnTo>
                  <a:lnTo>
                    <a:pt x="48647" y="64427"/>
                  </a:lnTo>
                  <a:lnTo>
                    <a:pt x="48647" y="61533"/>
                  </a:lnTo>
                  <a:cubicBezTo>
                    <a:pt x="48647" y="61533"/>
                    <a:pt x="48647" y="60973"/>
                    <a:pt x="48647" y="60973"/>
                  </a:cubicBezTo>
                  <a:lnTo>
                    <a:pt x="48460" y="60693"/>
                  </a:lnTo>
                  <a:lnTo>
                    <a:pt x="48741" y="60039"/>
                  </a:lnTo>
                  <a:lnTo>
                    <a:pt x="49394" y="58918"/>
                  </a:lnTo>
                  <a:lnTo>
                    <a:pt x="49114" y="57891"/>
                  </a:lnTo>
                  <a:lnTo>
                    <a:pt x="47714" y="56491"/>
                  </a:lnTo>
                  <a:close/>
                  <a:moveTo>
                    <a:pt x="33521" y="36042"/>
                  </a:moveTo>
                  <a:lnTo>
                    <a:pt x="35202" y="37069"/>
                  </a:lnTo>
                  <a:lnTo>
                    <a:pt x="37723" y="41458"/>
                  </a:lnTo>
                  <a:lnTo>
                    <a:pt x="40711" y="43512"/>
                  </a:lnTo>
                  <a:lnTo>
                    <a:pt x="42111" y="45659"/>
                  </a:lnTo>
                  <a:lnTo>
                    <a:pt x="43605" y="47247"/>
                  </a:lnTo>
                  <a:lnTo>
                    <a:pt x="45193" y="46687"/>
                  </a:lnTo>
                  <a:lnTo>
                    <a:pt x="45006" y="45006"/>
                  </a:lnTo>
                  <a:lnTo>
                    <a:pt x="45286" y="43699"/>
                  </a:lnTo>
                  <a:lnTo>
                    <a:pt x="45286" y="42858"/>
                  </a:lnTo>
                  <a:cubicBezTo>
                    <a:pt x="45286" y="42858"/>
                    <a:pt x="43792" y="41925"/>
                    <a:pt x="43792" y="41925"/>
                  </a:cubicBezTo>
                  <a:lnTo>
                    <a:pt x="43792" y="40524"/>
                  </a:lnTo>
                  <a:cubicBezTo>
                    <a:pt x="43792" y="40524"/>
                    <a:pt x="44072" y="38843"/>
                    <a:pt x="44072" y="38843"/>
                  </a:cubicBezTo>
                  <a:lnTo>
                    <a:pt x="44539" y="37629"/>
                  </a:lnTo>
                  <a:lnTo>
                    <a:pt x="43232" y="36322"/>
                  </a:lnTo>
                  <a:lnTo>
                    <a:pt x="39964" y="36322"/>
                  </a:lnTo>
                  <a:cubicBezTo>
                    <a:pt x="39964" y="36322"/>
                    <a:pt x="38283" y="35668"/>
                    <a:pt x="38283" y="35668"/>
                  </a:cubicBezTo>
                  <a:lnTo>
                    <a:pt x="38283" y="34922"/>
                  </a:lnTo>
                  <a:lnTo>
                    <a:pt x="41084" y="34922"/>
                  </a:lnTo>
                  <a:lnTo>
                    <a:pt x="41457" y="34455"/>
                  </a:lnTo>
                  <a:lnTo>
                    <a:pt x="41271" y="33334"/>
                  </a:lnTo>
                  <a:lnTo>
                    <a:pt x="40617" y="31840"/>
                  </a:lnTo>
                  <a:lnTo>
                    <a:pt x="39870" y="30533"/>
                  </a:lnTo>
                  <a:lnTo>
                    <a:pt x="35668" y="30720"/>
                  </a:lnTo>
                  <a:lnTo>
                    <a:pt x="36229" y="30533"/>
                  </a:lnTo>
                  <a:lnTo>
                    <a:pt x="36882" y="30066"/>
                  </a:lnTo>
                  <a:lnTo>
                    <a:pt x="37536" y="29413"/>
                  </a:lnTo>
                  <a:lnTo>
                    <a:pt x="38003" y="28665"/>
                  </a:lnTo>
                  <a:lnTo>
                    <a:pt x="38283" y="27545"/>
                  </a:lnTo>
                  <a:lnTo>
                    <a:pt x="38283" y="26611"/>
                  </a:lnTo>
                  <a:cubicBezTo>
                    <a:pt x="38283" y="26611"/>
                    <a:pt x="37816" y="26051"/>
                    <a:pt x="37816" y="26051"/>
                  </a:cubicBezTo>
                  <a:lnTo>
                    <a:pt x="35388" y="25304"/>
                  </a:lnTo>
                  <a:lnTo>
                    <a:pt x="32681" y="22876"/>
                  </a:lnTo>
                  <a:lnTo>
                    <a:pt x="31093" y="22316"/>
                  </a:lnTo>
                  <a:lnTo>
                    <a:pt x="31093" y="19982"/>
                  </a:lnTo>
                  <a:cubicBezTo>
                    <a:pt x="31093" y="19982"/>
                    <a:pt x="28759" y="15313"/>
                    <a:pt x="28759" y="15313"/>
                  </a:cubicBezTo>
                  <a:lnTo>
                    <a:pt x="28199" y="12792"/>
                  </a:lnTo>
                  <a:lnTo>
                    <a:pt x="27545" y="11392"/>
                  </a:lnTo>
                  <a:lnTo>
                    <a:pt x="25958" y="10364"/>
                  </a:lnTo>
                  <a:lnTo>
                    <a:pt x="22690" y="9617"/>
                  </a:lnTo>
                  <a:lnTo>
                    <a:pt x="22410" y="9617"/>
                  </a:lnTo>
                  <a:cubicBezTo>
                    <a:pt x="22410" y="9617"/>
                    <a:pt x="22223" y="9524"/>
                    <a:pt x="22223" y="9524"/>
                  </a:cubicBezTo>
                  <a:lnTo>
                    <a:pt x="22036" y="9524"/>
                  </a:lnTo>
                  <a:cubicBezTo>
                    <a:pt x="22036" y="9524"/>
                    <a:pt x="21756" y="8964"/>
                    <a:pt x="21756" y="8964"/>
                  </a:cubicBezTo>
                  <a:lnTo>
                    <a:pt x="21102" y="12979"/>
                  </a:lnTo>
                  <a:lnTo>
                    <a:pt x="21102" y="15126"/>
                  </a:lnTo>
                  <a:cubicBezTo>
                    <a:pt x="21102" y="15126"/>
                    <a:pt x="22036" y="16620"/>
                    <a:pt x="22036" y="16620"/>
                  </a:cubicBezTo>
                  <a:lnTo>
                    <a:pt x="21289" y="16994"/>
                  </a:lnTo>
                  <a:lnTo>
                    <a:pt x="21102" y="17741"/>
                  </a:lnTo>
                  <a:lnTo>
                    <a:pt x="21102" y="18768"/>
                  </a:lnTo>
                  <a:cubicBezTo>
                    <a:pt x="21102" y="18768"/>
                    <a:pt x="20822" y="20169"/>
                    <a:pt x="20822" y="20169"/>
                  </a:cubicBezTo>
                  <a:lnTo>
                    <a:pt x="20542" y="20542"/>
                  </a:lnTo>
                  <a:lnTo>
                    <a:pt x="20262" y="20542"/>
                  </a:lnTo>
                  <a:cubicBezTo>
                    <a:pt x="20262" y="20542"/>
                    <a:pt x="19982" y="20822"/>
                    <a:pt x="19982" y="20822"/>
                  </a:cubicBezTo>
                  <a:lnTo>
                    <a:pt x="19982" y="21943"/>
                  </a:lnTo>
                  <a:cubicBezTo>
                    <a:pt x="19982" y="21943"/>
                    <a:pt x="19982" y="22690"/>
                    <a:pt x="19982" y="22690"/>
                  </a:cubicBezTo>
                  <a:lnTo>
                    <a:pt x="20168" y="23063"/>
                  </a:lnTo>
                  <a:lnTo>
                    <a:pt x="20635" y="23623"/>
                  </a:lnTo>
                  <a:lnTo>
                    <a:pt x="21102" y="24184"/>
                  </a:lnTo>
                  <a:lnTo>
                    <a:pt x="22410" y="25491"/>
                  </a:lnTo>
                  <a:lnTo>
                    <a:pt x="22970" y="25678"/>
                  </a:lnTo>
                  <a:lnTo>
                    <a:pt x="23717" y="25304"/>
                  </a:lnTo>
                  <a:lnTo>
                    <a:pt x="24464" y="24651"/>
                  </a:lnTo>
                  <a:lnTo>
                    <a:pt x="25117" y="24651"/>
                  </a:lnTo>
                  <a:cubicBezTo>
                    <a:pt x="25117" y="24651"/>
                    <a:pt x="25491" y="25771"/>
                    <a:pt x="25491" y="25771"/>
                  </a:cubicBezTo>
                  <a:lnTo>
                    <a:pt x="24744" y="26145"/>
                  </a:lnTo>
                  <a:lnTo>
                    <a:pt x="24744" y="27078"/>
                  </a:lnTo>
                  <a:cubicBezTo>
                    <a:pt x="24744" y="27078"/>
                    <a:pt x="25211" y="28105"/>
                    <a:pt x="25211" y="28105"/>
                  </a:cubicBezTo>
                  <a:lnTo>
                    <a:pt x="26051" y="28572"/>
                  </a:lnTo>
                  <a:lnTo>
                    <a:pt x="29786" y="29226"/>
                  </a:lnTo>
                  <a:lnTo>
                    <a:pt x="30533" y="29693"/>
                  </a:lnTo>
                  <a:lnTo>
                    <a:pt x="31373" y="30533"/>
                  </a:lnTo>
                  <a:lnTo>
                    <a:pt x="32120" y="31560"/>
                  </a:lnTo>
                  <a:lnTo>
                    <a:pt x="32400" y="32494"/>
                  </a:lnTo>
                  <a:lnTo>
                    <a:pt x="32400" y="34175"/>
                  </a:lnTo>
                  <a:cubicBezTo>
                    <a:pt x="32400" y="34175"/>
                    <a:pt x="32681" y="35388"/>
                    <a:pt x="32681" y="35388"/>
                  </a:cubicBezTo>
                  <a:lnTo>
                    <a:pt x="33147" y="36135"/>
                  </a:lnTo>
                  <a:lnTo>
                    <a:pt x="33801" y="36415"/>
                  </a:lnTo>
                  <a:close/>
                </a:path>
              </a:pathLst>
            </a:custGeom>
            <a:solidFill>
              <a:srgbClr val="CEE3BF"/>
            </a:solidFill>
            <a:ln w="9334" cap="flat">
              <a:noFill/>
              <a:prstDash val="solid"/>
              <a:miter/>
            </a:ln>
          </p:spPr>
          <p:txBody>
            <a:bodyPr rtlCol="0" anchor="ctr"/>
            <a:lstStyle/>
            <a:p>
              <a:endParaRPr lang="en-GB" dirty="0"/>
            </a:p>
          </p:txBody>
        </p:sp>
      </p:grpSp>
      <p:grpSp>
        <p:nvGrpSpPr>
          <p:cNvPr id="3103" name="Group 3102">
            <a:extLst>
              <a:ext uri="{FF2B5EF4-FFF2-40B4-BE49-F238E27FC236}">
                <a16:creationId xmlns:a16="http://schemas.microsoft.com/office/drawing/2014/main" id="{F9816360-0373-446F-8D5A-E4CB48853D85}"/>
              </a:ext>
            </a:extLst>
          </p:cNvPr>
          <p:cNvGrpSpPr/>
          <p:nvPr/>
        </p:nvGrpSpPr>
        <p:grpSpPr>
          <a:xfrm>
            <a:off x="2449217" y="1737502"/>
            <a:ext cx="7579520" cy="3772166"/>
            <a:chOff x="2449217" y="1737502"/>
            <a:chExt cx="7579520" cy="3772166"/>
          </a:xfrm>
          <a:solidFill>
            <a:srgbClr val="417B66"/>
          </a:solidFill>
        </p:grpSpPr>
        <p:sp>
          <p:nvSpPr>
            <p:cNvPr id="2612" name="Freeform: Shape 2611">
              <a:extLst>
                <a:ext uri="{FF2B5EF4-FFF2-40B4-BE49-F238E27FC236}">
                  <a16:creationId xmlns:a16="http://schemas.microsoft.com/office/drawing/2014/main" id="{25C1A2A8-C1D0-4DC2-B8AC-670D41A03890}"/>
                </a:ext>
              </a:extLst>
            </p:cNvPr>
            <p:cNvSpPr/>
            <p:nvPr/>
          </p:nvSpPr>
          <p:spPr>
            <a:xfrm>
              <a:off x="5859580" y="329530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13" name="Freeform: Shape 2612">
              <a:extLst>
                <a:ext uri="{FF2B5EF4-FFF2-40B4-BE49-F238E27FC236}">
                  <a16:creationId xmlns:a16="http://schemas.microsoft.com/office/drawing/2014/main" id="{598BBCB8-4882-4699-92D4-94F4C10F74BF}"/>
                </a:ext>
              </a:extLst>
            </p:cNvPr>
            <p:cNvSpPr/>
            <p:nvPr/>
          </p:nvSpPr>
          <p:spPr>
            <a:xfrm>
              <a:off x="6139980" y="305673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14" name="Freeform: Shape 2613">
              <a:extLst>
                <a:ext uri="{FF2B5EF4-FFF2-40B4-BE49-F238E27FC236}">
                  <a16:creationId xmlns:a16="http://schemas.microsoft.com/office/drawing/2014/main" id="{DAAB9BA1-6996-48CD-B0CD-B4A0776CCED1}"/>
                </a:ext>
              </a:extLst>
            </p:cNvPr>
            <p:cNvSpPr/>
            <p:nvPr/>
          </p:nvSpPr>
          <p:spPr>
            <a:xfrm>
              <a:off x="6129522" y="304982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15" name="Freeform: Shape 2614">
              <a:extLst>
                <a:ext uri="{FF2B5EF4-FFF2-40B4-BE49-F238E27FC236}">
                  <a16:creationId xmlns:a16="http://schemas.microsoft.com/office/drawing/2014/main" id="{2D6F3E57-78AB-4855-88BC-9CD0888B4D03}"/>
                </a:ext>
              </a:extLst>
            </p:cNvPr>
            <p:cNvSpPr/>
            <p:nvPr/>
          </p:nvSpPr>
          <p:spPr>
            <a:xfrm>
              <a:off x="6139980" y="3042266"/>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16" name="Freeform: Shape 2615">
              <a:extLst>
                <a:ext uri="{FF2B5EF4-FFF2-40B4-BE49-F238E27FC236}">
                  <a16:creationId xmlns:a16="http://schemas.microsoft.com/office/drawing/2014/main" id="{00ADCF3E-26B5-47B6-8313-62C917E3B292}"/>
                </a:ext>
              </a:extLst>
            </p:cNvPr>
            <p:cNvSpPr/>
            <p:nvPr/>
          </p:nvSpPr>
          <p:spPr>
            <a:xfrm>
              <a:off x="9124935" y="3624728"/>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17" name="Freeform: Shape 2616">
              <a:extLst>
                <a:ext uri="{FF2B5EF4-FFF2-40B4-BE49-F238E27FC236}">
                  <a16:creationId xmlns:a16="http://schemas.microsoft.com/office/drawing/2014/main" id="{4E81EDBD-B092-492D-AF01-C0E2EFC36DA2}"/>
                </a:ext>
              </a:extLst>
            </p:cNvPr>
            <p:cNvSpPr/>
            <p:nvPr/>
          </p:nvSpPr>
          <p:spPr>
            <a:xfrm>
              <a:off x="8989077" y="5396858"/>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18" name="Freeform: Shape 2617">
              <a:extLst>
                <a:ext uri="{FF2B5EF4-FFF2-40B4-BE49-F238E27FC236}">
                  <a16:creationId xmlns:a16="http://schemas.microsoft.com/office/drawing/2014/main" id="{85298EA5-8D51-4382-8EDA-B299F6D8A931}"/>
                </a:ext>
              </a:extLst>
            </p:cNvPr>
            <p:cNvSpPr/>
            <p:nvPr/>
          </p:nvSpPr>
          <p:spPr>
            <a:xfrm>
              <a:off x="9979486" y="541487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19" name="Freeform: Shape 2618">
              <a:extLst>
                <a:ext uri="{FF2B5EF4-FFF2-40B4-BE49-F238E27FC236}">
                  <a16:creationId xmlns:a16="http://schemas.microsoft.com/office/drawing/2014/main" id="{07869D01-1D09-4225-A598-E3D73FCD7748}"/>
                </a:ext>
              </a:extLst>
            </p:cNvPr>
            <p:cNvSpPr/>
            <p:nvPr/>
          </p:nvSpPr>
          <p:spPr>
            <a:xfrm>
              <a:off x="5916351" y="2970929"/>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20" name="Freeform: Shape 2619">
              <a:extLst>
                <a:ext uri="{FF2B5EF4-FFF2-40B4-BE49-F238E27FC236}">
                  <a16:creationId xmlns:a16="http://schemas.microsoft.com/office/drawing/2014/main" id="{EE206534-84C8-480F-8CA9-2AB3ED47F00A}"/>
                </a:ext>
              </a:extLst>
            </p:cNvPr>
            <p:cNvSpPr/>
            <p:nvPr/>
          </p:nvSpPr>
          <p:spPr>
            <a:xfrm>
              <a:off x="5957062" y="3222663"/>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21" name="Freeform: Shape 2620">
              <a:extLst>
                <a:ext uri="{FF2B5EF4-FFF2-40B4-BE49-F238E27FC236}">
                  <a16:creationId xmlns:a16="http://schemas.microsoft.com/office/drawing/2014/main" id="{37CE0C4B-E2DE-431B-85F5-7C38CFBC59F6}"/>
                </a:ext>
              </a:extLst>
            </p:cNvPr>
            <p:cNvSpPr/>
            <p:nvPr/>
          </p:nvSpPr>
          <p:spPr>
            <a:xfrm>
              <a:off x="5951086" y="3145163"/>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22" name="Freeform: Shape 2621">
              <a:extLst>
                <a:ext uri="{FF2B5EF4-FFF2-40B4-BE49-F238E27FC236}">
                  <a16:creationId xmlns:a16="http://schemas.microsoft.com/office/drawing/2014/main" id="{CE5DA3CA-EC2D-4529-ACE0-A9FD6CF560DC}"/>
                </a:ext>
              </a:extLst>
            </p:cNvPr>
            <p:cNvSpPr/>
            <p:nvPr/>
          </p:nvSpPr>
          <p:spPr>
            <a:xfrm>
              <a:off x="5718027" y="2975691"/>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23" name="Freeform: Shape 2622">
              <a:extLst>
                <a:ext uri="{FF2B5EF4-FFF2-40B4-BE49-F238E27FC236}">
                  <a16:creationId xmlns:a16="http://schemas.microsoft.com/office/drawing/2014/main" id="{6A17E6FD-2A7F-49E2-8150-0A448D307DD6}"/>
                </a:ext>
              </a:extLst>
            </p:cNvPr>
            <p:cNvSpPr/>
            <p:nvPr/>
          </p:nvSpPr>
          <p:spPr>
            <a:xfrm>
              <a:off x="5762005" y="2944597"/>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24" name="Freeform: Shape 2623">
              <a:extLst>
                <a:ext uri="{FF2B5EF4-FFF2-40B4-BE49-F238E27FC236}">
                  <a16:creationId xmlns:a16="http://schemas.microsoft.com/office/drawing/2014/main" id="{A056A39A-6ABA-4D21-853D-7F6FD39B6E28}"/>
                </a:ext>
              </a:extLst>
            </p:cNvPr>
            <p:cNvSpPr/>
            <p:nvPr/>
          </p:nvSpPr>
          <p:spPr>
            <a:xfrm>
              <a:off x="5756683" y="2956549"/>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25" name="Freeform: Shape 2624">
              <a:extLst>
                <a:ext uri="{FF2B5EF4-FFF2-40B4-BE49-F238E27FC236}">
                  <a16:creationId xmlns:a16="http://schemas.microsoft.com/office/drawing/2014/main" id="{F071E797-84C1-4245-AFC4-9F7046DDA35B}"/>
                </a:ext>
              </a:extLst>
            </p:cNvPr>
            <p:cNvSpPr/>
            <p:nvPr/>
          </p:nvSpPr>
          <p:spPr>
            <a:xfrm>
              <a:off x="5788243" y="2939088"/>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26" name="Freeform: Shape 2625">
              <a:extLst>
                <a:ext uri="{FF2B5EF4-FFF2-40B4-BE49-F238E27FC236}">
                  <a16:creationId xmlns:a16="http://schemas.microsoft.com/office/drawing/2014/main" id="{E934F6C1-AA62-469E-AE2B-D14C73507E3B}"/>
                </a:ext>
              </a:extLst>
            </p:cNvPr>
            <p:cNvSpPr/>
            <p:nvPr/>
          </p:nvSpPr>
          <p:spPr>
            <a:xfrm>
              <a:off x="5721388" y="2938435"/>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27" name="Freeform: Shape 2626">
              <a:extLst>
                <a:ext uri="{FF2B5EF4-FFF2-40B4-BE49-F238E27FC236}">
                  <a16:creationId xmlns:a16="http://schemas.microsoft.com/office/drawing/2014/main" id="{26F921EF-DBD7-4F58-B885-E6C0FA897F8C}"/>
                </a:ext>
              </a:extLst>
            </p:cNvPr>
            <p:cNvSpPr/>
            <p:nvPr/>
          </p:nvSpPr>
          <p:spPr>
            <a:xfrm>
              <a:off x="6491121" y="2610319"/>
              <a:ext cx="50348" cy="50348"/>
            </a:xfrm>
            <a:custGeom>
              <a:avLst/>
              <a:gdLst>
                <a:gd name="connsiteX0" fmla="*/ 10738 w 21475"/>
                <a:gd name="connsiteY0" fmla="*/ 21476 h 21475"/>
                <a:gd name="connsiteX1" fmla="*/ 10738 w 21475"/>
                <a:gd name="connsiteY1" fmla="*/ 21476 h 21475"/>
                <a:gd name="connsiteX2" fmla="*/ 0 w 21475"/>
                <a:gd name="connsiteY2" fmla="*/ 10738 h 21475"/>
                <a:gd name="connsiteX3" fmla="*/ 0 w 21475"/>
                <a:gd name="connsiteY3" fmla="*/ 10738 h 21475"/>
                <a:gd name="connsiteX4" fmla="*/ 10738 w 21475"/>
                <a:gd name="connsiteY4" fmla="*/ 0 h 21475"/>
                <a:gd name="connsiteX5" fmla="*/ 10738 w 21475"/>
                <a:gd name="connsiteY5" fmla="*/ 0 h 21475"/>
                <a:gd name="connsiteX6" fmla="*/ 21476 w 21475"/>
                <a:gd name="connsiteY6" fmla="*/ 10738 h 21475"/>
                <a:gd name="connsiteX7" fmla="*/ 21476 w 21475"/>
                <a:gd name="connsiteY7" fmla="*/ 10738 h 21475"/>
                <a:gd name="connsiteX8" fmla="*/ 10738 w 21475"/>
                <a:gd name="connsiteY8" fmla="*/ 21476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75" h="21475">
                  <a:moveTo>
                    <a:pt x="10738" y="21476"/>
                  </a:moveTo>
                  <a:lnTo>
                    <a:pt x="10738" y="21476"/>
                  </a:lnTo>
                  <a:cubicBezTo>
                    <a:pt x="4855" y="21476"/>
                    <a:pt x="0" y="16621"/>
                    <a:pt x="0" y="10738"/>
                  </a:cubicBezTo>
                  <a:lnTo>
                    <a:pt x="0" y="10738"/>
                  </a:lnTo>
                  <a:cubicBezTo>
                    <a:pt x="0" y="4855"/>
                    <a:pt x="4855" y="0"/>
                    <a:pt x="10738" y="0"/>
                  </a:cubicBezTo>
                  <a:lnTo>
                    <a:pt x="10738" y="0"/>
                  </a:lnTo>
                  <a:cubicBezTo>
                    <a:pt x="16620" y="0"/>
                    <a:pt x="21476" y="4855"/>
                    <a:pt x="21476" y="10738"/>
                  </a:cubicBezTo>
                  <a:lnTo>
                    <a:pt x="21476" y="10738"/>
                  </a:lnTo>
                  <a:cubicBezTo>
                    <a:pt x="21476" y="16621"/>
                    <a:pt x="16620" y="21476"/>
                    <a:pt x="10738" y="21476"/>
                  </a:cubicBezTo>
                  <a:close/>
                </a:path>
              </a:pathLst>
            </a:custGeom>
            <a:grpFill/>
            <a:ln w="3175" cap="flat">
              <a:solidFill>
                <a:schemeClr val="bg1"/>
              </a:solidFill>
              <a:prstDash val="solid"/>
              <a:miter/>
            </a:ln>
          </p:spPr>
          <p:txBody>
            <a:bodyPr rtlCol="0" anchor="ctr"/>
            <a:lstStyle/>
            <a:p>
              <a:endParaRPr lang="en-GB" dirty="0"/>
            </a:p>
          </p:txBody>
        </p:sp>
        <p:sp>
          <p:nvSpPr>
            <p:cNvPr id="2628" name="Freeform: Shape 2627">
              <a:extLst>
                <a:ext uri="{FF2B5EF4-FFF2-40B4-BE49-F238E27FC236}">
                  <a16:creationId xmlns:a16="http://schemas.microsoft.com/office/drawing/2014/main" id="{6510035D-BFDC-4730-BE9B-3A0DDCA6CDEB}"/>
                </a:ext>
              </a:extLst>
            </p:cNvPr>
            <p:cNvSpPr/>
            <p:nvPr/>
          </p:nvSpPr>
          <p:spPr>
            <a:xfrm>
              <a:off x="6089465" y="2733701"/>
              <a:ext cx="49251" cy="49251"/>
            </a:xfrm>
            <a:custGeom>
              <a:avLst/>
              <a:gdLst>
                <a:gd name="connsiteX0" fmla="*/ 0 w 21008"/>
                <a:gd name="connsiteY0" fmla="*/ 10551 h 21008"/>
                <a:gd name="connsiteX1" fmla="*/ 10645 w 21008"/>
                <a:gd name="connsiteY1" fmla="*/ 0 h 21008"/>
                <a:gd name="connsiteX2" fmla="*/ 21009 w 21008"/>
                <a:gd name="connsiteY2" fmla="*/ 10551 h 21008"/>
                <a:gd name="connsiteX3" fmla="*/ 10645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856" y="0"/>
                    <a:pt x="10645" y="0"/>
                  </a:cubicBezTo>
                  <a:cubicBezTo>
                    <a:pt x="16434" y="0"/>
                    <a:pt x="21009" y="4762"/>
                    <a:pt x="21009" y="10551"/>
                  </a:cubicBezTo>
                  <a:cubicBezTo>
                    <a:pt x="21009" y="16340"/>
                    <a:pt x="16340" y="21009"/>
                    <a:pt x="10645" y="21009"/>
                  </a:cubicBezTo>
                  <a:cubicBezTo>
                    <a:pt x="494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29" name="Freeform: Shape 2628">
              <a:extLst>
                <a:ext uri="{FF2B5EF4-FFF2-40B4-BE49-F238E27FC236}">
                  <a16:creationId xmlns:a16="http://schemas.microsoft.com/office/drawing/2014/main" id="{E177C4A8-206E-4A5B-BBC4-66826EC1F92A}"/>
                </a:ext>
              </a:extLst>
            </p:cNvPr>
            <p:cNvSpPr/>
            <p:nvPr/>
          </p:nvSpPr>
          <p:spPr>
            <a:xfrm>
              <a:off x="6077140" y="2805318"/>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458" y="0"/>
                  </a:cubicBezTo>
                  <a:cubicBezTo>
                    <a:pt x="16247" y="0"/>
                    <a:pt x="21009" y="4762"/>
                    <a:pt x="21009" y="10551"/>
                  </a:cubicBezTo>
                  <a:cubicBezTo>
                    <a:pt x="21009" y="16340"/>
                    <a:pt x="16340" y="21009"/>
                    <a:pt x="10458" y="21009"/>
                  </a:cubicBezTo>
                  <a:cubicBezTo>
                    <a:pt x="4575" y="21009"/>
                    <a:pt x="0" y="16247"/>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30" name="Freeform: Shape 2629">
              <a:extLst>
                <a:ext uri="{FF2B5EF4-FFF2-40B4-BE49-F238E27FC236}">
                  <a16:creationId xmlns:a16="http://schemas.microsoft.com/office/drawing/2014/main" id="{0A3C195B-F011-4898-9622-53A4E4CEEAD3}"/>
                </a:ext>
              </a:extLst>
            </p:cNvPr>
            <p:cNvSpPr/>
            <p:nvPr/>
          </p:nvSpPr>
          <p:spPr>
            <a:xfrm>
              <a:off x="6083396" y="2792899"/>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458" y="0"/>
                  </a:cubicBezTo>
                  <a:cubicBezTo>
                    <a:pt x="16247" y="0"/>
                    <a:pt x="21009" y="4762"/>
                    <a:pt x="21009" y="10551"/>
                  </a:cubicBezTo>
                  <a:cubicBezTo>
                    <a:pt x="21009" y="16340"/>
                    <a:pt x="16340" y="21009"/>
                    <a:pt x="10458" y="21009"/>
                  </a:cubicBezTo>
                  <a:cubicBezTo>
                    <a:pt x="4575" y="21009"/>
                    <a:pt x="0" y="16247"/>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31" name="Freeform: Shape 2630">
              <a:extLst>
                <a:ext uri="{FF2B5EF4-FFF2-40B4-BE49-F238E27FC236}">
                  <a16:creationId xmlns:a16="http://schemas.microsoft.com/office/drawing/2014/main" id="{37C8987C-E7C6-4E43-9F86-C98DB188D1C9}"/>
                </a:ext>
              </a:extLst>
            </p:cNvPr>
            <p:cNvSpPr/>
            <p:nvPr/>
          </p:nvSpPr>
          <p:spPr>
            <a:xfrm>
              <a:off x="6091053" y="2780107"/>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458" y="0"/>
                  </a:cubicBezTo>
                  <a:cubicBezTo>
                    <a:pt x="16247" y="0"/>
                    <a:pt x="21009" y="4762"/>
                    <a:pt x="21009" y="10551"/>
                  </a:cubicBezTo>
                  <a:cubicBezTo>
                    <a:pt x="21009" y="16340"/>
                    <a:pt x="16340" y="21009"/>
                    <a:pt x="10458" y="21009"/>
                  </a:cubicBezTo>
                  <a:cubicBezTo>
                    <a:pt x="4575" y="21009"/>
                    <a:pt x="0" y="16247"/>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32" name="Freeform: Shape 2631">
              <a:extLst>
                <a:ext uri="{FF2B5EF4-FFF2-40B4-BE49-F238E27FC236}">
                  <a16:creationId xmlns:a16="http://schemas.microsoft.com/office/drawing/2014/main" id="{CAA6F6D6-EFCC-483C-A078-3E7B9C2A03A7}"/>
                </a:ext>
              </a:extLst>
            </p:cNvPr>
            <p:cNvSpPr/>
            <p:nvPr/>
          </p:nvSpPr>
          <p:spPr>
            <a:xfrm>
              <a:off x="6075146" y="2752842"/>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856" y="0"/>
                    <a:pt x="10458" y="0"/>
                  </a:cubicBezTo>
                  <a:cubicBezTo>
                    <a:pt x="16060" y="0"/>
                    <a:pt x="20916" y="4762"/>
                    <a:pt x="20916" y="10551"/>
                  </a:cubicBezTo>
                  <a:cubicBezTo>
                    <a:pt x="20916" y="16340"/>
                    <a:pt x="16247" y="21009"/>
                    <a:pt x="10458" y="21009"/>
                  </a:cubicBezTo>
                  <a:cubicBezTo>
                    <a:pt x="4669" y="21009"/>
                    <a:pt x="0" y="16247"/>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33" name="Freeform: Shape 2632">
              <a:extLst>
                <a:ext uri="{FF2B5EF4-FFF2-40B4-BE49-F238E27FC236}">
                  <a16:creationId xmlns:a16="http://schemas.microsoft.com/office/drawing/2014/main" id="{54C10AC3-D8DD-4F8B-B723-76A99920E9B5}"/>
                </a:ext>
              </a:extLst>
            </p:cNvPr>
            <p:cNvSpPr/>
            <p:nvPr/>
          </p:nvSpPr>
          <p:spPr>
            <a:xfrm>
              <a:off x="6064534" y="2769650"/>
              <a:ext cx="49251" cy="49251"/>
            </a:xfrm>
            <a:custGeom>
              <a:avLst/>
              <a:gdLst>
                <a:gd name="connsiteX0" fmla="*/ 0 w 21008"/>
                <a:gd name="connsiteY0" fmla="*/ 10458 h 21008"/>
                <a:gd name="connsiteX1" fmla="*/ 10551 w 21008"/>
                <a:gd name="connsiteY1" fmla="*/ 0 h 21008"/>
                <a:gd name="connsiteX2" fmla="*/ 21009 w 21008"/>
                <a:gd name="connsiteY2" fmla="*/ 10458 h 21008"/>
                <a:gd name="connsiteX3" fmla="*/ 10551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551" y="0"/>
                  </a:cubicBezTo>
                  <a:cubicBezTo>
                    <a:pt x="16340" y="0"/>
                    <a:pt x="21009" y="4669"/>
                    <a:pt x="21009" y="10458"/>
                  </a:cubicBezTo>
                  <a:cubicBezTo>
                    <a:pt x="21009" y="16247"/>
                    <a:pt x="16434" y="21009"/>
                    <a:pt x="10551"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34" name="Freeform: Shape 2633">
              <a:extLst>
                <a:ext uri="{FF2B5EF4-FFF2-40B4-BE49-F238E27FC236}">
                  <a16:creationId xmlns:a16="http://schemas.microsoft.com/office/drawing/2014/main" id="{ACAD66EC-4942-4A93-8623-24A2D930A47B}"/>
                </a:ext>
              </a:extLst>
            </p:cNvPr>
            <p:cNvSpPr/>
            <p:nvPr/>
          </p:nvSpPr>
          <p:spPr>
            <a:xfrm>
              <a:off x="6054077" y="2791745"/>
              <a:ext cx="49251" cy="49036"/>
            </a:xfrm>
            <a:custGeom>
              <a:avLst/>
              <a:gdLst>
                <a:gd name="connsiteX0" fmla="*/ 0 w 21008"/>
                <a:gd name="connsiteY0" fmla="*/ 10458 h 20915"/>
                <a:gd name="connsiteX1" fmla="*/ 10551 w 21008"/>
                <a:gd name="connsiteY1" fmla="*/ 0 h 20915"/>
                <a:gd name="connsiteX2" fmla="*/ 21009 w 21008"/>
                <a:gd name="connsiteY2" fmla="*/ 10458 h 20915"/>
                <a:gd name="connsiteX3" fmla="*/ 10551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551" y="0"/>
                  </a:cubicBezTo>
                  <a:cubicBezTo>
                    <a:pt x="16434" y="0"/>
                    <a:pt x="21009" y="4669"/>
                    <a:pt x="21009" y="10458"/>
                  </a:cubicBezTo>
                  <a:cubicBezTo>
                    <a:pt x="21009" y="16247"/>
                    <a:pt x="16247" y="20916"/>
                    <a:pt x="10551" y="20916"/>
                  </a:cubicBezTo>
                  <a:cubicBezTo>
                    <a:pt x="4856"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35" name="Freeform: Shape 2634">
              <a:extLst>
                <a:ext uri="{FF2B5EF4-FFF2-40B4-BE49-F238E27FC236}">
                  <a16:creationId xmlns:a16="http://schemas.microsoft.com/office/drawing/2014/main" id="{1B197684-BE28-4CBE-850D-B1080E2F384F}"/>
                </a:ext>
              </a:extLst>
            </p:cNvPr>
            <p:cNvSpPr/>
            <p:nvPr/>
          </p:nvSpPr>
          <p:spPr>
            <a:xfrm>
              <a:off x="6083396" y="2817737"/>
              <a:ext cx="49251" cy="49251"/>
            </a:xfrm>
            <a:custGeom>
              <a:avLst/>
              <a:gdLst>
                <a:gd name="connsiteX0" fmla="*/ 0 w 21008"/>
                <a:gd name="connsiteY0" fmla="*/ 10551 h 21008"/>
                <a:gd name="connsiteX1" fmla="*/ 10364 w 21008"/>
                <a:gd name="connsiteY1" fmla="*/ 0 h 21008"/>
                <a:gd name="connsiteX2" fmla="*/ 21009 w 21008"/>
                <a:gd name="connsiteY2" fmla="*/ 10551 h 21008"/>
                <a:gd name="connsiteX3" fmla="*/ 10364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575" y="0"/>
                    <a:pt x="10364" y="0"/>
                  </a:cubicBezTo>
                  <a:cubicBezTo>
                    <a:pt x="16153" y="0"/>
                    <a:pt x="21009" y="4762"/>
                    <a:pt x="21009" y="10551"/>
                  </a:cubicBezTo>
                  <a:cubicBezTo>
                    <a:pt x="21009" y="16340"/>
                    <a:pt x="16153" y="21009"/>
                    <a:pt x="10364" y="21009"/>
                  </a:cubicBezTo>
                  <a:cubicBezTo>
                    <a:pt x="4575"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36" name="Freeform: Shape 2635">
              <a:extLst>
                <a:ext uri="{FF2B5EF4-FFF2-40B4-BE49-F238E27FC236}">
                  <a16:creationId xmlns:a16="http://schemas.microsoft.com/office/drawing/2014/main" id="{F9127308-A9F0-4616-AAC7-B2617CA6B369}"/>
                </a:ext>
              </a:extLst>
            </p:cNvPr>
            <p:cNvSpPr/>
            <p:nvPr/>
          </p:nvSpPr>
          <p:spPr>
            <a:xfrm>
              <a:off x="6103345" y="2765448"/>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37" name="Freeform: Shape 2636">
              <a:extLst>
                <a:ext uri="{FF2B5EF4-FFF2-40B4-BE49-F238E27FC236}">
                  <a16:creationId xmlns:a16="http://schemas.microsoft.com/office/drawing/2014/main" id="{C1F0B53E-1CF3-4F95-AEF8-A08B3F64819B}"/>
                </a:ext>
              </a:extLst>
            </p:cNvPr>
            <p:cNvSpPr/>
            <p:nvPr/>
          </p:nvSpPr>
          <p:spPr>
            <a:xfrm>
              <a:off x="6106893" y="2805318"/>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762"/>
                    <a:pt x="20916" y="10551"/>
                  </a:cubicBezTo>
                  <a:cubicBezTo>
                    <a:pt x="20916" y="16340"/>
                    <a:pt x="16247" y="21009"/>
                    <a:pt x="10458" y="21009"/>
                  </a:cubicBezTo>
                  <a:cubicBezTo>
                    <a:pt x="4669" y="21009"/>
                    <a:pt x="0" y="16154"/>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38" name="Freeform: Shape 2637">
              <a:extLst>
                <a:ext uri="{FF2B5EF4-FFF2-40B4-BE49-F238E27FC236}">
                  <a16:creationId xmlns:a16="http://schemas.microsoft.com/office/drawing/2014/main" id="{F944C5B6-6C2D-401C-ADCF-2A4C767FDCFC}"/>
                </a:ext>
              </a:extLst>
            </p:cNvPr>
            <p:cNvSpPr/>
            <p:nvPr/>
          </p:nvSpPr>
          <p:spPr>
            <a:xfrm>
              <a:off x="6140974" y="2797441"/>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39" name="Freeform: Shape 2638">
              <a:extLst>
                <a:ext uri="{FF2B5EF4-FFF2-40B4-BE49-F238E27FC236}">
                  <a16:creationId xmlns:a16="http://schemas.microsoft.com/office/drawing/2014/main" id="{5BDD4377-2AC0-48FF-BC92-A200F154C100}"/>
                </a:ext>
              </a:extLst>
            </p:cNvPr>
            <p:cNvSpPr/>
            <p:nvPr/>
          </p:nvSpPr>
          <p:spPr>
            <a:xfrm>
              <a:off x="6075146" y="2646023"/>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762" y="0"/>
                    <a:pt x="10458" y="0"/>
                  </a:cubicBezTo>
                  <a:cubicBezTo>
                    <a:pt x="16153"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40" name="Freeform: Shape 2639">
              <a:extLst>
                <a:ext uri="{FF2B5EF4-FFF2-40B4-BE49-F238E27FC236}">
                  <a16:creationId xmlns:a16="http://schemas.microsoft.com/office/drawing/2014/main" id="{BCA63259-2B43-4095-A117-BB56F1FF4361}"/>
                </a:ext>
              </a:extLst>
            </p:cNvPr>
            <p:cNvSpPr/>
            <p:nvPr/>
          </p:nvSpPr>
          <p:spPr>
            <a:xfrm>
              <a:off x="6090832" y="2646083"/>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41" name="Freeform: Shape 2640">
              <a:extLst>
                <a:ext uri="{FF2B5EF4-FFF2-40B4-BE49-F238E27FC236}">
                  <a16:creationId xmlns:a16="http://schemas.microsoft.com/office/drawing/2014/main" id="{03C01766-5B76-4F43-BE97-95F2EB20107B}"/>
                </a:ext>
              </a:extLst>
            </p:cNvPr>
            <p:cNvSpPr/>
            <p:nvPr/>
          </p:nvSpPr>
          <p:spPr>
            <a:xfrm>
              <a:off x="6090832" y="2638613"/>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42" name="Freeform: Shape 2641">
              <a:extLst>
                <a:ext uri="{FF2B5EF4-FFF2-40B4-BE49-F238E27FC236}">
                  <a16:creationId xmlns:a16="http://schemas.microsoft.com/office/drawing/2014/main" id="{2C6DC9E1-1654-48E2-BAD0-A200C081C0C3}"/>
                </a:ext>
              </a:extLst>
            </p:cNvPr>
            <p:cNvSpPr/>
            <p:nvPr/>
          </p:nvSpPr>
          <p:spPr>
            <a:xfrm>
              <a:off x="6132664" y="2673068"/>
              <a:ext cx="49037" cy="49036"/>
            </a:xfrm>
            <a:custGeom>
              <a:avLst/>
              <a:gdLst>
                <a:gd name="connsiteX0" fmla="*/ 0 w 20916"/>
                <a:gd name="connsiteY0" fmla="*/ 10458 h 20915"/>
                <a:gd name="connsiteX1" fmla="*/ 10458 w 20916"/>
                <a:gd name="connsiteY1" fmla="*/ 0 h 20915"/>
                <a:gd name="connsiteX2" fmla="*/ 20916 w 20916"/>
                <a:gd name="connsiteY2" fmla="*/ 10458 h 20915"/>
                <a:gd name="connsiteX3" fmla="*/ 10458 w 20916"/>
                <a:gd name="connsiteY3" fmla="*/ 20916 h 20915"/>
                <a:gd name="connsiteX4" fmla="*/ 0 w 20916"/>
                <a:gd name="connsiteY4" fmla="*/ 10458 h 20915"/>
                <a:gd name="connsiteX5" fmla="*/ 0 w 20916"/>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6"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43" name="Freeform: Shape 2642">
              <a:extLst>
                <a:ext uri="{FF2B5EF4-FFF2-40B4-BE49-F238E27FC236}">
                  <a16:creationId xmlns:a16="http://schemas.microsoft.com/office/drawing/2014/main" id="{F1D926CD-15C3-4362-A82D-7EF44AD6FB25}"/>
                </a:ext>
              </a:extLst>
            </p:cNvPr>
            <p:cNvSpPr/>
            <p:nvPr/>
          </p:nvSpPr>
          <p:spPr>
            <a:xfrm>
              <a:off x="6059492" y="2628749"/>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762" y="0"/>
                    <a:pt x="10458" y="0"/>
                  </a:cubicBezTo>
                  <a:cubicBezTo>
                    <a:pt x="16153" y="0"/>
                    <a:pt x="21009" y="4762"/>
                    <a:pt x="21009" y="10551"/>
                  </a:cubicBezTo>
                  <a:cubicBezTo>
                    <a:pt x="21009" y="16340"/>
                    <a:pt x="16340" y="21009"/>
                    <a:pt x="10458" y="21009"/>
                  </a:cubicBezTo>
                  <a:cubicBezTo>
                    <a:pt x="4575"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44" name="Freeform: Shape 2643">
              <a:extLst>
                <a:ext uri="{FF2B5EF4-FFF2-40B4-BE49-F238E27FC236}">
                  <a16:creationId xmlns:a16="http://schemas.microsoft.com/office/drawing/2014/main" id="{7CC14A97-82DB-43BA-B864-F7287363794B}"/>
                </a:ext>
              </a:extLst>
            </p:cNvPr>
            <p:cNvSpPr/>
            <p:nvPr/>
          </p:nvSpPr>
          <p:spPr>
            <a:xfrm>
              <a:off x="6077233" y="2618758"/>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762" y="0"/>
                    <a:pt x="10458" y="0"/>
                  </a:cubicBezTo>
                  <a:cubicBezTo>
                    <a:pt x="16154" y="0"/>
                    <a:pt x="21009" y="4762"/>
                    <a:pt x="21009" y="10551"/>
                  </a:cubicBezTo>
                  <a:cubicBezTo>
                    <a:pt x="21009" y="16340"/>
                    <a:pt x="16340" y="21009"/>
                    <a:pt x="10458" y="21009"/>
                  </a:cubicBezTo>
                  <a:cubicBezTo>
                    <a:pt x="4576"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45" name="Freeform: Shape 2644">
              <a:extLst>
                <a:ext uri="{FF2B5EF4-FFF2-40B4-BE49-F238E27FC236}">
                  <a16:creationId xmlns:a16="http://schemas.microsoft.com/office/drawing/2014/main" id="{444702D3-9E23-4F34-9927-9A476E379555}"/>
                </a:ext>
              </a:extLst>
            </p:cNvPr>
            <p:cNvSpPr/>
            <p:nvPr/>
          </p:nvSpPr>
          <p:spPr>
            <a:xfrm>
              <a:off x="5988495" y="2642629"/>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762" y="0"/>
                    <a:pt x="10458" y="0"/>
                  </a:cubicBezTo>
                  <a:cubicBezTo>
                    <a:pt x="16154"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46" name="Freeform: Shape 2645">
              <a:extLst>
                <a:ext uri="{FF2B5EF4-FFF2-40B4-BE49-F238E27FC236}">
                  <a16:creationId xmlns:a16="http://schemas.microsoft.com/office/drawing/2014/main" id="{E009BCB2-2BEC-4D05-AED2-28D62C9F383C}"/>
                </a:ext>
              </a:extLst>
            </p:cNvPr>
            <p:cNvSpPr/>
            <p:nvPr/>
          </p:nvSpPr>
          <p:spPr>
            <a:xfrm>
              <a:off x="6059492" y="2673909"/>
              <a:ext cx="49251" cy="49036"/>
            </a:xfrm>
            <a:custGeom>
              <a:avLst/>
              <a:gdLst>
                <a:gd name="connsiteX0" fmla="*/ 0 w 21008"/>
                <a:gd name="connsiteY0" fmla="*/ 10458 h 20915"/>
                <a:gd name="connsiteX1" fmla="*/ 10458 w 21008"/>
                <a:gd name="connsiteY1" fmla="*/ 0 h 20915"/>
                <a:gd name="connsiteX2" fmla="*/ 21009 w 21008"/>
                <a:gd name="connsiteY2" fmla="*/ 10458 h 20915"/>
                <a:gd name="connsiteX3" fmla="*/ 10458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458" y="0"/>
                  </a:cubicBezTo>
                  <a:cubicBezTo>
                    <a:pt x="16247" y="0"/>
                    <a:pt x="21009" y="4669"/>
                    <a:pt x="21009" y="10458"/>
                  </a:cubicBezTo>
                  <a:cubicBezTo>
                    <a:pt x="21009" y="16247"/>
                    <a:pt x="16340" y="20916"/>
                    <a:pt x="10458" y="20916"/>
                  </a:cubicBezTo>
                  <a:cubicBezTo>
                    <a:pt x="4575"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47" name="Freeform: Shape 2646">
              <a:extLst>
                <a:ext uri="{FF2B5EF4-FFF2-40B4-BE49-F238E27FC236}">
                  <a16:creationId xmlns:a16="http://schemas.microsoft.com/office/drawing/2014/main" id="{FC9303F4-A0D3-4242-9DDD-7D72D4C3ABFE}"/>
                </a:ext>
              </a:extLst>
            </p:cNvPr>
            <p:cNvSpPr/>
            <p:nvPr/>
          </p:nvSpPr>
          <p:spPr>
            <a:xfrm>
              <a:off x="6038637" y="2688975"/>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855" y="0"/>
                    <a:pt x="10458" y="0"/>
                  </a:cubicBezTo>
                  <a:cubicBezTo>
                    <a:pt x="16060" y="0"/>
                    <a:pt x="20916" y="4762"/>
                    <a:pt x="20916" y="10551"/>
                  </a:cubicBezTo>
                  <a:cubicBezTo>
                    <a:pt x="20916" y="16340"/>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48" name="Freeform: Shape 2647">
              <a:extLst>
                <a:ext uri="{FF2B5EF4-FFF2-40B4-BE49-F238E27FC236}">
                  <a16:creationId xmlns:a16="http://schemas.microsoft.com/office/drawing/2014/main" id="{EEB33DA0-58A7-4529-B7B3-7530467E8A22}"/>
                </a:ext>
              </a:extLst>
            </p:cNvPr>
            <p:cNvSpPr/>
            <p:nvPr/>
          </p:nvSpPr>
          <p:spPr>
            <a:xfrm>
              <a:off x="6107453" y="2576927"/>
              <a:ext cx="49036" cy="49251"/>
            </a:xfrm>
            <a:custGeom>
              <a:avLst/>
              <a:gdLst>
                <a:gd name="connsiteX0" fmla="*/ 0 w 20915"/>
                <a:gd name="connsiteY0" fmla="*/ 10458 h 21008"/>
                <a:gd name="connsiteX1" fmla="*/ 10458 w 20915"/>
                <a:gd name="connsiteY1" fmla="*/ 0 h 21008"/>
                <a:gd name="connsiteX2" fmla="*/ 20916 w 20915"/>
                <a:gd name="connsiteY2" fmla="*/ 10458 h 21008"/>
                <a:gd name="connsiteX3" fmla="*/ 10458 w 20915"/>
                <a:gd name="connsiteY3" fmla="*/ 21009 h 21008"/>
                <a:gd name="connsiteX4" fmla="*/ 0 w 20915"/>
                <a:gd name="connsiteY4" fmla="*/ 10458 h 21008"/>
                <a:gd name="connsiteX5" fmla="*/ 0 w 20915"/>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458"/>
                  </a:moveTo>
                  <a:cubicBezTo>
                    <a:pt x="0" y="4669"/>
                    <a:pt x="4669" y="0"/>
                    <a:pt x="10458" y="0"/>
                  </a:cubicBezTo>
                  <a:cubicBezTo>
                    <a:pt x="16247" y="0"/>
                    <a:pt x="20916" y="4669"/>
                    <a:pt x="20916" y="10458"/>
                  </a:cubicBezTo>
                  <a:cubicBezTo>
                    <a:pt x="20916" y="16247"/>
                    <a:pt x="16153" y="21009"/>
                    <a:pt x="10458" y="21009"/>
                  </a:cubicBezTo>
                  <a:cubicBezTo>
                    <a:pt x="4762"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49" name="Freeform: Shape 2648">
              <a:extLst>
                <a:ext uri="{FF2B5EF4-FFF2-40B4-BE49-F238E27FC236}">
                  <a16:creationId xmlns:a16="http://schemas.microsoft.com/office/drawing/2014/main" id="{F2A8E1F9-59BD-4C93-B4ED-15892A9A2629}"/>
                </a:ext>
              </a:extLst>
            </p:cNvPr>
            <p:cNvSpPr/>
            <p:nvPr/>
          </p:nvSpPr>
          <p:spPr>
            <a:xfrm>
              <a:off x="6113896" y="2610915"/>
              <a:ext cx="49036" cy="49251"/>
            </a:xfrm>
            <a:custGeom>
              <a:avLst/>
              <a:gdLst>
                <a:gd name="connsiteX0" fmla="*/ 0 w 20915"/>
                <a:gd name="connsiteY0" fmla="*/ 10458 h 21008"/>
                <a:gd name="connsiteX1" fmla="*/ 10458 w 20915"/>
                <a:gd name="connsiteY1" fmla="*/ 0 h 21008"/>
                <a:gd name="connsiteX2" fmla="*/ 20916 w 20915"/>
                <a:gd name="connsiteY2" fmla="*/ 10458 h 21008"/>
                <a:gd name="connsiteX3" fmla="*/ 10458 w 20915"/>
                <a:gd name="connsiteY3" fmla="*/ 21009 h 21008"/>
                <a:gd name="connsiteX4" fmla="*/ 0 w 20915"/>
                <a:gd name="connsiteY4" fmla="*/ 10458 h 21008"/>
                <a:gd name="connsiteX5" fmla="*/ 0 w 20915"/>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458"/>
                  </a:moveTo>
                  <a:cubicBezTo>
                    <a:pt x="0" y="4669"/>
                    <a:pt x="4669" y="0"/>
                    <a:pt x="10458" y="0"/>
                  </a:cubicBezTo>
                  <a:cubicBezTo>
                    <a:pt x="16247" y="0"/>
                    <a:pt x="20916" y="4669"/>
                    <a:pt x="20916" y="10458"/>
                  </a:cubicBezTo>
                  <a:cubicBezTo>
                    <a:pt x="20916" y="16247"/>
                    <a:pt x="16153" y="21009"/>
                    <a:pt x="10458" y="21009"/>
                  </a:cubicBezTo>
                  <a:cubicBezTo>
                    <a:pt x="4762"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50" name="Freeform: Shape 2649">
              <a:extLst>
                <a:ext uri="{FF2B5EF4-FFF2-40B4-BE49-F238E27FC236}">
                  <a16:creationId xmlns:a16="http://schemas.microsoft.com/office/drawing/2014/main" id="{69542867-B2FD-4998-BD57-CCBB93689264}"/>
                </a:ext>
              </a:extLst>
            </p:cNvPr>
            <p:cNvSpPr/>
            <p:nvPr/>
          </p:nvSpPr>
          <p:spPr>
            <a:xfrm>
              <a:off x="6119404" y="2643876"/>
              <a:ext cx="49036" cy="49251"/>
            </a:xfrm>
            <a:custGeom>
              <a:avLst/>
              <a:gdLst>
                <a:gd name="connsiteX0" fmla="*/ 0 w 20915"/>
                <a:gd name="connsiteY0" fmla="*/ 10458 h 21008"/>
                <a:gd name="connsiteX1" fmla="*/ 10458 w 20915"/>
                <a:gd name="connsiteY1" fmla="*/ 0 h 21008"/>
                <a:gd name="connsiteX2" fmla="*/ 20916 w 20915"/>
                <a:gd name="connsiteY2" fmla="*/ 10458 h 21008"/>
                <a:gd name="connsiteX3" fmla="*/ 10458 w 20915"/>
                <a:gd name="connsiteY3" fmla="*/ 21009 h 21008"/>
                <a:gd name="connsiteX4" fmla="*/ 0 w 20915"/>
                <a:gd name="connsiteY4" fmla="*/ 10458 h 21008"/>
                <a:gd name="connsiteX5" fmla="*/ 0 w 20915"/>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458"/>
                  </a:moveTo>
                  <a:cubicBezTo>
                    <a:pt x="0" y="4669"/>
                    <a:pt x="4669" y="0"/>
                    <a:pt x="10458" y="0"/>
                  </a:cubicBezTo>
                  <a:cubicBezTo>
                    <a:pt x="16247" y="0"/>
                    <a:pt x="20916" y="4669"/>
                    <a:pt x="20916" y="10458"/>
                  </a:cubicBezTo>
                  <a:cubicBezTo>
                    <a:pt x="20916" y="16247"/>
                    <a:pt x="16154" y="21009"/>
                    <a:pt x="10458" y="21009"/>
                  </a:cubicBezTo>
                  <a:cubicBezTo>
                    <a:pt x="4762"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51" name="Freeform: Shape 2650">
              <a:extLst>
                <a:ext uri="{FF2B5EF4-FFF2-40B4-BE49-F238E27FC236}">
                  <a16:creationId xmlns:a16="http://schemas.microsoft.com/office/drawing/2014/main" id="{A701516A-3520-4B78-8D41-783E3C9746D4}"/>
                </a:ext>
              </a:extLst>
            </p:cNvPr>
            <p:cNvSpPr/>
            <p:nvPr/>
          </p:nvSpPr>
          <p:spPr>
            <a:xfrm>
              <a:off x="5974709" y="2589346"/>
              <a:ext cx="49251" cy="49251"/>
            </a:xfrm>
            <a:custGeom>
              <a:avLst/>
              <a:gdLst>
                <a:gd name="connsiteX0" fmla="*/ 0 w 21008"/>
                <a:gd name="connsiteY0" fmla="*/ 10458 h 21008"/>
                <a:gd name="connsiteX1" fmla="*/ 10551 w 21008"/>
                <a:gd name="connsiteY1" fmla="*/ 0 h 21008"/>
                <a:gd name="connsiteX2" fmla="*/ 21009 w 21008"/>
                <a:gd name="connsiteY2" fmla="*/ 10458 h 21008"/>
                <a:gd name="connsiteX3" fmla="*/ 10551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551" y="0"/>
                  </a:cubicBezTo>
                  <a:cubicBezTo>
                    <a:pt x="16340" y="0"/>
                    <a:pt x="21009" y="4669"/>
                    <a:pt x="21009" y="10458"/>
                  </a:cubicBezTo>
                  <a:cubicBezTo>
                    <a:pt x="21009" y="16247"/>
                    <a:pt x="16434" y="21009"/>
                    <a:pt x="10551"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52" name="Freeform: Shape 2651">
              <a:extLst>
                <a:ext uri="{FF2B5EF4-FFF2-40B4-BE49-F238E27FC236}">
                  <a16:creationId xmlns:a16="http://schemas.microsoft.com/office/drawing/2014/main" id="{CF8034F8-6C62-427B-9EFC-68036B63714E}"/>
                </a:ext>
              </a:extLst>
            </p:cNvPr>
            <p:cNvSpPr/>
            <p:nvPr/>
          </p:nvSpPr>
          <p:spPr>
            <a:xfrm>
              <a:off x="6116637" y="2484114"/>
              <a:ext cx="49251" cy="49251"/>
            </a:xfrm>
            <a:custGeom>
              <a:avLst/>
              <a:gdLst>
                <a:gd name="connsiteX0" fmla="*/ 0 w 21008"/>
                <a:gd name="connsiteY0" fmla="*/ 10551 h 21008"/>
                <a:gd name="connsiteX1" fmla="*/ 10364 w 21008"/>
                <a:gd name="connsiteY1" fmla="*/ 0 h 21008"/>
                <a:gd name="connsiteX2" fmla="*/ 21009 w 21008"/>
                <a:gd name="connsiteY2" fmla="*/ 10551 h 21008"/>
                <a:gd name="connsiteX3" fmla="*/ 10364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364" y="0"/>
                  </a:cubicBezTo>
                  <a:cubicBezTo>
                    <a:pt x="16060" y="0"/>
                    <a:pt x="21009" y="4669"/>
                    <a:pt x="21009" y="10551"/>
                  </a:cubicBezTo>
                  <a:cubicBezTo>
                    <a:pt x="21009" y="16434"/>
                    <a:pt x="16153" y="21009"/>
                    <a:pt x="10364" y="21009"/>
                  </a:cubicBezTo>
                  <a:cubicBezTo>
                    <a:pt x="4575"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53" name="Freeform: Shape 2652">
              <a:extLst>
                <a:ext uri="{FF2B5EF4-FFF2-40B4-BE49-F238E27FC236}">
                  <a16:creationId xmlns:a16="http://schemas.microsoft.com/office/drawing/2014/main" id="{A040F3E1-490A-401E-B9C4-90281ECB8502}"/>
                </a:ext>
              </a:extLst>
            </p:cNvPr>
            <p:cNvSpPr/>
            <p:nvPr/>
          </p:nvSpPr>
          <p:spPr>
            <a:xfrm>
              <a:off x="6251094" y="2297088"/>
              <a:ext cx="49251" cy="49251"/>
            </a:xfrm>
            <a:custGeom>
              <a:avLst/>
              <a:gdLst>
                <a:gd name="connsiteX0" fmla="*/ 0 w 21008"/>
                <a:gd name="connsiteY0" fmla="*/ 10551 h 21008"/>
                <a:gd name="connsiteX1" fmla="*/ 10551 w 21008"/>
                <a:gd name="connsiteY1" fmla="*/ 0 h 21008"/>
                <a:gd name="connsiteX2" fmla="*/ 21009 w 21008"/>
                <a:gd name="connsiteY2" fmla="*/ 10551 h 21008"/>
                <a:gd name="connsiteX3" fmla="*/ 10551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762" y="0"/>
                    <a:pt x="10551" y="0"/>
                  </a:cubicBezTo>
                  <a:cubicBezTo>
                    <a:pt x="16340" y="0"/>
                    <a:pt x="21009" y="4669"/>
                    <a:pt x="21009" y="10551"/>
                  </a:cubicBezTo>
                  <a:cubicBezTo>
                    <a:pt x="21009" y="16434"/>
                    <a:pt x="16340" y="21009"/>
                    <a:pt x="10551" y="21009"/>
                  </a:cubicBezTo>
                  <a:cubicBezTo>
                    <a:pt x="4762"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54" name="Freeform: Shape 2653">
              <a:extLst>
                <a:ext uri="{FF2B5EF4-FFF2-40B4-BE49-F238E27FC236}">
                  <a16:creationId xmlns:a16="http://schemas.microsoft.com/office/drawing/2014/main" id="{13C45AFD-245F-446F-AB2F-9D4760FC7842}"/>
                </a:ext>
              </a:extLst>
            </p:cNvPr>
            <p:cNvSpPr/>
            <p:nvPr/>
          </p:nvSpPr>
          <p:spPr>
            <a:xfrm>
              <a:off x="6347423" y="2182706"/>
              <a:ext cx="49037" cy="49251"/>
            </a:xfrm>
            <a:custGeom>
              <a:avLst/>
              <a:gdLst>
                <a:gd name="connsiteX0" fmla="*/ 0 w 20916"/>
                <a:gd name="connsiteY0" fmla="*/ 10551 h 21008"/>
                <a:gd name="connsiteX1" fmla="*/ 10458 w 20916"/>
                <a:gd name="connsiteY1" fmla="*/ 0 h 21008"/>
                <a:gd name="connsiteX2" fmla="*/ 20916 w 20916"/>
                <a:gd name="connsiteY2" fmla="*/ 10551 h 21008"/>
                <a:gd name="connsiteX3" fmla="*/ 10458 w 20916"/>
                <a:gd name="connsiteY3" fmla="*/ 21009 h 21008"/>
                <a:gd name="connsiteX4" fmla="*/ 0 w 20916"/>
                <a:gd name="connsiteY4" fmla="*/ 10551 h 21008"/>
                <a:gd name="connsiteX5" fmla="*/ 0 w 20916"/>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6"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55" name="Freeform: Shape 2654">
              <a:extLst>
                <a:ext uri="{FF2B5EF4-FFF2-40B4-BE49-F238E27FC236}">
                  <a16:creationId xmlns:a16="http://schemas.microsoft.com/office/drawing/2014/main" id="{344B98D4-F862-4697-BF05-CA4EA046F382}"/>
                </a:ext>
              </a:extLst>
            </p:cNvPr>
            <p:cNvSpPr/>
            <p:nvPr/>
          </p:nvSpPr>
          <p:spPr>
            <a:xfrm>
              <a:off x="6328374" y="2221642"/>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56" name="Freeform: Shape 2655">
              <a:extLst>
                <a:ext uri="{FF2B5EF4-FFF2-40B4-BE49-F238E27FC236}">
                  <a16:creationId xmlns:a16="http://schemas.microsoft.com/office/drawing/2014/main" id="{B928A90D-81A3-4D86-B84F-FBA11F14680D}"/>
                </a:ext>
              </a:extLst>
            </p:cNvPr>
            <p:cNvSpPr/>
            <p:nvPr/>
          </p:nvSpPr>
          <p:spPr>
            <a:xfrm>
              <a:off x="6461184" y="2186721"/>
              <a:ext cx="49251" cy="49251"/>
            </a:xfrm>
            <a:custGeom>
              <a:avLst/>
              <a:gdLst>
                <a:gd name="connsiteX0" fmla="*/ 0 w 21008"/>
                <a:gd name="connsiteY0" fmla="*/ 10458 h 21008"/>
                <a:gd name="connsiteX1" fmla="*/ 10551 w 21008"/>
                <a:gd name="connsiteY1" fmla="*/ 0 h 21008"/>
                <a:gd name="connsiteX2" fmla="*/ 21009 w 21008"/>
                <a:gd name="connsiteY2" fmla="*/ 10458 h 21008"/>
                <a:gd name="connsiteX3" fmla="*/ 10551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669" y="0"/>
                    <a:pt x="10551" y="0"/>
                  </a:cubicBezTo>
                  <a:cubicBezTo>
                    <a:pt x="16434" y="0"/>
                    <a:pt x="21009" y="4669"/>
                    <a:pt x="21009" y="10458"/>
                  </a:cubicBezTo>
                  <a:cubicBezTo>
                    <a:pt x="21009" y="16247"/>
                    <a:pt x="16247" y="21009"/>
                    <a:pt x="10551" y="21009"/>
                  </a:cubicBezTo>
                  <a:cubicBezTo>
                    <a:pt x="4856"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57" name="Freeform: Shape 2656">
              <a:extLst>
                <a:ext uri="{FF2B5EF4-FFF2-40B4-BE49-F238E27FC236}">
                  <a16:creationId xmlns:a16="http://schemas.microsoft.com/office/drawing/2014/main" id="{4AC21A1A-66B7-4D7D-B6BB-F39F0FB34A64}"/>
                </a:ext>
              </a:extLst>
            </p:cNvPr>
            <p:cNvSpPr/>
            <p:nvPr/>
          </p:nvSpPr>
          <p:spPr>
            <a:xfrm>
              <a:off x="6180844" y="2782128"/>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762" y="0"/>
                    <a:pt x="10458" y="0"/>
                  </a:cubicBezTo>
                  <a:cubicBezTo>
                    <a:pt x="16153"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58" name="Freeform: Shape 2657">
              <a:extLst>
                <a:ext uri="{FF2B5EF4-FFF2-40B4-BE49-F238E27FC236}">
                  <a16:creationId xmlns:a16="http://schemas.microsoft.com/office/drawing/2014/main" id="{3E36A230-9CA9-42D7-9C62-B1A3E2814E5E}"/>
                </a:ext>
              </a:extLst>
            </p:cNvPr>
            <p:cNvSpPr/>
            <p:nvPr/>
          </p:nvSpPr>
          <p:spPr>
            <a:xfrm>
              <a:off x="6213525" y="2771517"/>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762"/>
                    <a:pt x="20916" y="10551"/>
                  </a:cubicBezTo>
                  <a:cubicBezTo>
                    <a:pt x="20916" y="16340"/>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59" name="Freeform: Shape 2658">
              <a:extLst>
                <a:ext uri="{FF2B5EF4-FFF2-40B4-BE49-F238E27FC236}">
                  <a16:creationId xmlns:a16="http://schemas.microsoft.com/office/drawing/2014/main" id="{27412EF1-5717-431A-A589-34DA6A11E047}"/>
                </a:ext>
              </a:extLst>
            </p:cNvPr>
            <p:cNvSpPr/>
            <p:nvPr/>
          </p:nvSpPr>
          <p:spPr>
            <a:xfrm>
              <a:off x="6154266" y="2708210"/>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4" y="0"/>
                    <a:pt x="21009" y="4669"/>
                    <a:pt x="21009" y="10458"/>
                  </a:cubicBezTo>
                  <a:cubicBezTo>
                    <a:pt x="21009" y="16247"/>
                    <a:pt x="16247" y="21009"/>
                    <a:pt x="10458" y="21009"/>
                  </a:cubicBezTo>
                  <a:cubicBezTo>
                    <a:pt x="4669"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60" name="Freeform: Shape 2659">
              <a:extLst>
                <a:ext uri="{FF2B5EF4-FFF2-40B4-BE49-F238E27FC236}">
                  <a16:creationId xmlns:a16="http://schemas.microsoft.com/office/drawing/2014/main" id="{268C7336-567C-4FCB-B8A9-336CBFDA2411}"/>
                </a:ext>
              </a:extLst>
            </p:cNvPr>
            <p:cNvSpPr/>
            <p:nvPr/>
          </p:nvSpPr>
          <p:spPr>
            <a:xfrm>
              <a:off x="6165004" y="2731180"/>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3" y="0"/>
                    <a:pt x="21009" y="4669"/>
                    <a:pt x="21009" y="10458"/>
                  </a:cubicBezTo>
                  <a:cubicBezTo>
                    <a:pt x="21009" y="16247"/>
                    <a:pt x="16247" y="21009"/>
                    <a:pt x="10458"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61" name="Freeform: Shape 2660">
              <a:extLst>
                <a:ext uri="{FF2B5EF4-FFF2-40B4-BE49-F238E27FC236}">
                  <a16:creationId xmlns:a16="http://schemas.microsoft.com/office/drawing/2014/main" id="{EC60708E-B6D8-48EB-84A8-D484F044E3FA}"/>
                </a:ext>
              </a:extLst>
            </p:cNvPr>
            <p:cNvSpPr/>
            <p:nvPr/>
          </p:nvSpPr>
          <p:spPr>
            <a:xfrm>
              <a:off x="6161269" y="2719508"/>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4" y="0"/>
                    <a:pt x="21009" y="4669"/>
                    <a:pt x="21009" y="10458"/>
                  </a:cubicBezTo>
                  <a:cubicBezTo>
                    <a:pt x="21009" y="16247"/>
                    <a:pt x="16247" y="21009"/>
                    <a:pt x="10458"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62" name="Freeform: Shape 2661">
              <a:extLst>
                <a:ext uri="{FF2B5EF4-FFF2-40B4-BE49-F238E27FC236}">
                  <a16:creationId xmlns:a16="http://schemas.microsoft.com/office/drawing/2014/main" id="{5042A95B-53D1-4E57-AF73-800E4552CD08}"/>
                </a:ext>
              </a:extLst>
            </p:cNvPr>
            <p:cNvSpPr/>
            <p:nvPr/>
          </p:nvSpPr>
          <p:spPr>
            <a:xfrm>
              <a:off x="6176863" y="2750321"/>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3" y="0"/>
                    <a:pt x="21009" y="4669"/>
                    <a:pt x="21009" y="10458"/>
                  </a:cubicBezTo>
                  <a:cubicBezTo>
                    <a:pt x="21009" y="16247"/>
                    <a:pt x="16247" y="21009"/>
                    <a:pt x="10458"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63" name="Freeform: Shape 2662">
              <a:extLst>
                <a:ext uri="{FF2B5EF4-FFF2-40B4-BE49-F238E27FC236}">
                  <a16:creationId xmlns:a16="http://schemas.microsoft.com/office/drawing/2014/main" id="{EAFBA647-E818-453E-91F7-D5631029AA57}"/>
                </a:ext>
              </a:extLst>
            </p:cNvPr>
            <p:cNvSpPr/>
            <p:nvPr/>
          </p:nvSpPr>
          <p:spPr>
            <a:xfrm>
              <a:off x="6160489" y="2682812"/>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64" name="Freeform: Shape 2663">
              <a:extLst>
                <a:ext uri="{FF2B5EF4-FFF2-40B4-BE49-F238E27FC236}">
                  <a16:creationId xmlns:a16="http://schemas.microsoft.com/office/drawing/2014/main" id="{C2A2CDB3-ACC2-4BE9-BE08-22D78CB615E1}"/>
                </a:ext>
              </a:extLst>
            </p:cNvPr>
            <p:cNvSpPr/>
            <p:nvPr/>
          </p:nvSpPr>
          <p:spPr>
            <a:xfrm>
              <a:off x="6217914" y="2699993"/>
              <a:ext cx="49037" cy="49251"/>
            </a:xfrm>
            <a:custGeom>
              <a:avLst/>
              <a:gdLst>
                <a:gd name="connsiteX0" fmla="*/ 0 w 20916"/>
                <a:gd name="connsiteY0" fmla="*/ 10458 h 21008"/>
                <a:gd name="connsiteX1" fmla="*/ 10458 w 20916"/>
                <a:gd name="connsiteY1" fmla="*/ 0 h 21008"/>
                <a:gd name="connsiteX2" fmla="*/ 20916 w 20916"/>
                <a:gd name="connsiteY2" fmla="*/ 10458 h 21008"/>
                <a:gd name="connsiteX3" fmla="*/ 10458 w 20916"/>
                <a:gd name="connsiteY3" fmla="*/ 21009 h 21008"/>
                <a:gd name="connsiteX4" fmla="*/ 0 w 20916"/>
                <a:gd name="connsiteY4" fmla="*/ 10458 h 21008"/>
                <a:gd name="connsiteX5" fmla="*/ 0 w 20916"/>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6" h="21008">
                  <a:moveTo>
                    <a:pt x="0" y="10458"/>
                  </a:moveTo>
                  <a:cubicBezTo>
                    <a:pt x="0" y="4669"/>
                    <a:pt x="4669" y="0"/>
                    <a:pt x="10458" y="0"/>
                  </a:cubicBezTo>
                  <a:cubicBezTo>
                    <a:pt x="16247" y="0"/>
                    <a:pt x="20916" y="4669"/>
                    <a:pt x="20916" y="10458"/>
                  </a:cubicBezTo>
                  <a:cubicBezTo>
                    <a:pt x="20916" y="16247"/>
                    <a:pt x="16247" y="21009"/>
                    <a:pt x="10458" y="21009"/>
                  </a:cubicBezTo>
                  <a:cubicBezTo>
                    <a:pt x="4669"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65" name="Freeform: Shape 2664">
              <a:extLst>
                <a:ext uri="{FF2B5EF4-FFF2-40B4-BE49-F238E27FC236}">
                  <a16:creationId xmlns:a16="http://schemas.microsoft.com/office/drawing/2014/main" id="{40099115-1C97-4DAA-8674-387B7CAD4FFB}"/>
                </a:ext>
              </a:extLst>
            </p:cNvPr>
            <p:cNvSpPr/>
            <p:nvPr/>
          </p:nvSpPr>
          <p:spPr>
            <a:xfrm>
              <a:off x="6245118" y="2689035"/>
              <a:ext cx="49251" cy="49036"/>
            </a:xfrm>
            <a:custGeom>
              <a:avLst/>
              <a:gdLst>
                <a:gd name="connsiteX0" fmla="*/ 0 w 21008"/>
                <a:gd name="connsiteY0" fmla="*/ 10458 h 20915"/>
                <a:gd name="connsiteX1" fmla="*/ 10551 w 21008"/>
                <a:gd name="connsiteY1" fmla="*/ 0 h 20915"/>
                <a:gd name="connsiteX2" fmla="*/ 21009 w 21008"/>
                <a:gd name="connsiteY2" fmla="*/ 10458 h 20915"/>
                <a:gd name="connsiteX3" fmla="*/ 10551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762" y="0"/>
                    <a:pt x="10551" y="0"/>
                  </a:cubicBezTo>
                  <a:cubicBezTo>
                    <a:pt x="16340" y="0"/>
                    <a:pt x="21009" y="4669"/>
                    <a:pt x="21009" y="10458"/>
                  </a:cubicBezTo>
                  <a:cubicBezTo>
                    <a:pt x="21009" y="16247"/>
                    <a:pt x="16247" y="20916"/>
                    <a:pt x="10551" y="20916"/>
                  </a:cubicBezTo>
                  <a:cubicBezTo>
                    <a:pt x="485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66" name="Freeform: Shape 2665">
              <a:extLst>
                <a:ext uri="{FF2B5EF4-FFF2-40B4-BE49-F238E27FC236}">
                  <a16:creationId xmlns:a16="http://schemas.microsoft.com/office/drawing/2014/main" id="{81B19192-00DF-40C9-801D-46D8CCF43CD5}"/>
                </a:ext>
              </a:extLst>
            </p:cNvPr>
            <p:cNvSpPr/>
            <p:nvPr/>
          </p:nvSpPr>
          <p:spPr>
            <a:xfrm>
              <a:off x="6263979" y="2673849"/>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669" y="0"/>
                    <a:pt x="10458" y="0"/>
                  </a:cubicBezTo>
                  <a:cubicBezTo>
                    <a:pt x="16247" y="0"/>
                    <a:pt x="21009" y="4669"/>
                    <a:pt x="21009" y="10458"/>
                  </a:cubicBezTo>
                  <a:cubicBezTo>
                    <a:pt x="21009" y="16247"/>
                    <a:pt x="16340" y="21009"/>
                    <a:pt x="10458" y="21009"/>
                  </a:cubicBezTo>
                  <a:cubicBezTo>
                    <a:pt x="4576"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67" name="Freeform: Shape 2666">
              <a:extLst>
                <a:ext uri="{FF2B5EF4-FFF2-40B4-BE49-F238E27FC236}">
                  <a16:creationId xmlns:a16="http://schemas.microsoft.com/office/drawing/2014/main" id="{292BE56C-221D-4CA1-AFAE-6E1F259D6632}"/>
                </a:ext>
              </a:extLst>
            </p:cNvPr>
            <p:cNvSpPr/>
            <p:nvPr/>
          </p:nvSpPr>
          <p:spPr>
            <a:xfrm>
              <a:off x="6284956" y="2668960"/>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68" name="Freeform: Shape 2667">
              <a:extLst>
                <a:ext uri="{FF2B5EF4-FFF2-40B4-BE49-F238E27FC236}">
                  <a16:creationId xmlns:a16="http://schemas.microsoft.com/office/drawing/2014/main" id="{7781B188-DC68-494C-9A7A-CE977C8A0E11}"/>
                </a:ext>
              </a:extLst>
            </p:cNvPr>
            <p:cNvSpPr/>
            <p:nvPr/>
          </p:nvSpPr>
          <p:spPr>
            <a:xfrm>
              <a:off x="6274157" y="2623147"/>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762" y="0"/>
                    <a:pt x="10458" y="0"/>
                  </a:cubicBezTo>
                  <a:cubicBezTo>
                    <a:pt x="16153" y="0"/>
                    <a:pt x="21009" y="4669"/>
                    <a:pt x="21009" y="10551"/>
                  </a:cubicBezTo>
                  <a:cubicBezTo>
                    <a:pt x="21009"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69" name="Freeform: Shape 2668">
              <a:extLst>
                <a:ext uri="{FF2B5EF4-FFF2-40B4-BE49-F238E27FC236}">
                  <a16:creationId xmlns:a16="http://schemas.microsoft.com/office/drawing/2014/main" id="{80494031-7C12-451C-B8A8-2B04C0C7AAE7}"/>
                </a:ext>
              </a:extLst>
            </p:cNvPr>
            <p:cNvSpPr/>
            <p:nvPr/>
          </p:nvSpPr>
          <p:spPr>
            <a:xfrm>
              <a:off x="6274531" y="2639207"/>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4" y="0"/>
                    <a:pt x="21009" y="4762"/>
                    <a:pt x="21009" y="10458"/>
                  </a:cubicBezTo>
                  <a:cubicBezTo>
                    <a:pt x="21009" y="16154"/>
                    <a:pt x="16247" y="21009"/>
                    <a:pt x="10458"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70" name="Freeform: Shape 2669">
              <a:extLst>
                <a:ext uri="{FF2B5EF4-FFF2-40B4-BE49-F238E27FC236}">
                  <a16:creationId xmlns:a16="http://schemas.microsoft.com/office/drawing/2014/main" id="{6B7A4014-E13C-46C3-AE56-BE2265A82A9C}"/>
                </a:ext>
              </a:extLst>
            </p:cNvPr>
            <p:cNvSpPr/>
            <p:nvPr/>
          </p:nvSpPr>
          <p:spPr>
            <a:xfrm>
              <a:off x="6245178" y="2646023"/>
              <a:ext cx="49036" cy="49251"/>
            </a:xfrm>
            <a:custGeom>
              <a:avLst/>
              <a:gdLst>
                <a:gd name="connsiteX0" fmla="*/ 0 w 20915"/>
                <a:gd name="connsiteY0" fmla="*/ 10458 h 21008"/>
                <a:gd name="connsiteX1" fmla="*/ 10458 w 20915"/>
                <a:gd name="connsiteY1" fmla="*/ 0 h 21008"/>
                <a:gd name="connsiteX2" fmla="*/ 20916 w 20915"/>
                <a:gd name="connsiteY2" fmla="*/ 10458 h 21008"/>
                <a:gd name="connsiteX3" fmla="*/ 10458 w 20915"/>
                <a:gd name="connsiteY3" fmla="*/ 21009 h 21008"/>
                <a:gd name="connsiteX4" fmla="*/ 0 w 20915"/>
                <a:gd name="connsiteY4" fmla="*/ 10458 h 21008"/>
                <a:gd name="connsiteX5" fmla="*/ 0 w 20915"/>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458"/>
                  </a:moveTo>
                  <a:cubicBezTo>
                    <a:pt x="0" y="4669"/>
                    <a:pt x="4669" y="0"/>
                    <a:pt x="10458" y="0"/>
                  </a:cubicBezTo>
                  <a:cubicBezTo>
                    <a:pt x="16247" y="0"/>
                    <a:pt x="20916" y="4669"/>
                    <a:pt x="20916" y="10458"/>
                  </a:cubicBezTo>
                  <a:cubicBezTo>
                    <a:pt x="20916" y="16247"/>
                    <a:pt x="16247" y="21009"/>
                    <a:pt x="10458"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71" name="Freeform: Shape 2670">
              <a:extLst>
                <a:ext uri="{FF2B5EF4-FFF2-40B4-BE49-F238E27FC236}">
                  <a16:creationId xmlns:a16="http://schemas.microsoft.com/office/drawing/2014/main" id="{CF6DD4E0-E894-476E-84BA-43D457ACA3D8}"/>
                </a:ext>
              </a:extLst>
            </p:cNvPr>
            <p:cNvSpPr/>
            <p:nvPr/>
          </p:nvSpPr>
          <p:spPr>
            <a:xfrm>
              <a:off x="6213465" y="2640141"/>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3" y="0"/>
                    <a:pt x="21009" y="4762"/>
                    <a:pt x="21009" y="10458"/>
                  </a:cubicBezTo>
                  <a:cubicBezTo>
                    <a:pt x="21009" y="16154"/>
                    <a:pt x="16247" y="21009"/>
                    <a:pt x="10458" y="21009"/>
                  </a:cubicBezTo>
                  <a:cubicBezTo>
                    <a:pt x="4669"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72" name="Freeform: Shape 2671">
              <a:extLst>
                <a:ext uri="{FF2B5EF4-FFF2-40B4-BE49-F238E27FC236}">
                  <a16:creationId xmlns:a16="http://schemas.microsoft.com/office/drawing/2014/main" id="{33473AFF-FC4E-41C7-B2FF-9D6A5A1A2F73}"/>
                </a:ext>
              </a:extLst>
            </p:cNvPr>
            <p:cNvSpPr/>
            <p:nvPr/>
          </p:nvSpPr>
          <p:spPr>
            <a:xfrm>
              <a:off x="6323458" y="2617885"/>
              <a:ext cx="49251" cy="49036"/>
            </a:xfrm>
            <a:custGeom>
              <a:avLst/>
              <a:gdLst>
                <a:gd name="connsiteX0" fmla="*/ 0 w 21008"/>
                <a:gd name="connsiteY0" fmla="*/ 10458 h 20915"/>
                <a:gd name="connsiteX1" fmla="*/ 10551 w 21008"/>
                <a:gd name="connsiteY1" fmla="*/ 0 h 20915"/>
                <a:gd name="connsiteX2" fmla="*/ 21009 w 21008"/>
                <a:gd name="connsiteY2" fmla="*/ 10458 h 20915"/>
                <a:gd name="connsiteX3" fmla="*/ 10551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551" y="0"/>
                  </a:cubicBezTo>
                  <a:cubicBezTo>
                    <a:pt x="16434" y="0"/>
                    <a:pt x="21009" y="4669"/>
                    <a:pt x="21009" y="10458"/>
                  </a:cubicBezTo>
                  <a:cubicBezTo>
                    <a:pt x="21009" y="16247"/>
                    <a:pt x="16340" y="20916"/>
                    <a:pt x="10551" y="20916"/>
                  </a:cubicBezTo>
                  <a:cubicBezTo>
                    <a:pt x="4762"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73" name="Freeform: Shape 2672">
              <a:extLst>
                <a:ext uri="{FF2B5EF4-FFF2-40B4-BE49-F238E27FC236}">
                  <a16:creationId xmlns:a16="http://schemas.microsoft.com/office/drawing/2014/main" id="{4BB4BDC4-95CB-4EDC-8D89-0D160F519ABC}"/>
                </a:ext>
              </a:extLst>
            </p:cNvPr>
            <p:cNvSpPr/>
            <p:nvPr/>
          </p:nvSpPr>
          <p:spPr>
            <a:xfrm>
              <a:off x="6294760" y="2610975"/>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74" name="Freeform: Shape 2673">
              <a:extLst>
                <a:ext uri="{FF2B5EF4-FFF2-40B4-BE49-F238E27FC236}">
                  <a16:creationId xmlns:a16="http://schemas.microsoft.com/office/drawing/2014/main" id="{9634FC64-204B-4C07-9433-23ACC94A9F50}"/>
                </a:ext>
              </a:extLst>
            </p:cNvPr>
            <p:cNvSpPr/>
            <p:nvPr/>
          </p:nvSpPr>
          <p:spPr>
            <a:xfrm>
              <a:off x="6289657" y="2584024"/>
              <a:ext cx="49251" cy="49251"/>
            </a:xfrm>
            <a:custGeom>
              <a:avLst/>
              <a:gdLst>
                <a:gd name="connsiteX0" fmla="*/ 0 w 21008"/>
                <a:gd name="connsiteY0" fmla="*/ 10551 h 21008"/>
                <a:gd name="connsiteX1" fmla="*/ 10551 w 21008"/>
                <a:gd name="connsiteY1" fmla="*/ 0 h 21008"/>
                <a:gd name="connsiteX2" fmla="*/ 21009 w 21008"/>
                <a:gd name="connsiteY2" fmla="*/ 10551 h 21008"/>
                <a:gd name="connsiteX3" fmla="*/ 10551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762" y="0"/>
                    <a:pt x="10551" y="0"/>
                  </a:cubicBezTo>
                  <a:cubicBezTo>
                    <a:pt x="16340" y="0"/>
                    <a:pt x="21009" y="4669"/>
                    <a:pt x="21009" y="10551"/>
                  </a:cubicBezTo>
                  <a:cubicBezTo>
                    <a:pt x="21009" y="16434"/>
                    <a:pt x="16340" y="21009"/>
                    <a:pt x="10551" y="21009"/>
                  </a:cubicBezTo>
                  <a:cubicBezTo>
                    <a:pt x="4762"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75" name="Freeform: Shape 2674">
              <a:extLst>
                <a:ext uri="{FF2B5EF4-FFF2-40B4-BE49-F238E27FC236}">
                  <a16:creationId xmlns:a16="http://schemas.microsoft.com/office/drawing/2014/main" id="{226C33AC-677D-409E-8D42-2DE2C01FCC21}"/>
                </a:ext>
              </a:extLst>
            </p:cNvPr>
            <p:cNvSpPr/>
            <p:nvPr/>
          </p:nvSpPr>
          <p:spPr>
            <a:xfrm>
              <a:off x="6269115" y="2585017"/>
              <a:ext cx="49251" cy="49036"/>
            </a:xfrm>
            <a:custGeom>
              <a:avLst/>
              <a:gdLst>
                <a:gd name="connsiteX0" fmla="*/ 0 w 21008"/>
                <a:gd name="connsiteY0" fmla="*/ 10458 h 20915"/>
                <a:gd name="connsiteX1" fmla="*/ 10458 w 21008"/>
                <a:gd name="connsiteY1" fmla="*/ 0 h 20915"/>
                <a:gd name="connsiteX2" fmla="*/ 21009 w 21008"/>
                <a:gd name="connsiteY2" fmla="*/ 10458 h 20915"/>
                <a:gd name="connsiteX3" fmla="*/ 10458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458" y="0"/>
                  </a:cubicBezTo>
                  <a:cubicBezTo>
                    <a:pt x="16247" y="0"/>
                    <a:pt x="21009" y="4669"/>
                    <a:pt x="21009" y="10458"/>
                  </a:cubicBezTo>
                  <a:cubicBezTo>
                    <a:pt x="21009" y="16247"/>
                    <a:pt x="16340" y="20916"/>
                    <a:pt x="10458" y="20916"/>
                  </a:cubicBezTo>
                  <a:cubicBezTo>
                    <a:pt x="4575"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76" name="Freeform: Shape 2675">
              <a:extLst>
                <a:ext uri="{FF2B5EF4-FFF2-40B4-BE49-F238E27FC236}">
                  <a16:creationId xmlns:a16="http://schemas.microsoft.com/office/drawing/2014/main" id="{FB92E8FE-44E5-4798-B2E3-806B253A14D9}"/>
                </a:ext>
              </a:extLst>
            </p:cNvPr>
            <p:cNvSpPr/>
            <p:nvPr/>
          </p:nvSpPr>
          <p:spPr>
            <a:xfrm>
              <a:off x="6290839" y="2524698"/>
              <a:ext cx="49037" cy="49036"/>
            </a:xfrm>
            <a:custGeom>
              <a:avLst/>
              <a:gdLst>
                <a:gd name="connsiteX0" fmla="*/ 0 w 20916"/>
                <a:gd name="connsiteY0" fmla="*/ 10458 h 20915"/>
                <a:gd name="connsiteX1" fmla="*/ 10458 w 20916"/>
                <a:gd name="connsiteY1" fmla="*/ 0 h 20915"/>
                <a:gd name="connsiteX2" fmla="*/ 20916 w 20916"/>
                <a:gd name="connsiteY2" fmla="*/ 10458 h 20915"/>
                <a:gd name="connsiteX3" fmla="*/ 10458 w 20916"/>
                <a:gd name="connsiteY3" fmla="*/ 20916 h 20915"/>
                <a:gd name="connsiteX4" fmla="*/ 0 w 20916"/>
                <a:gd name="connsiteY4" fmla="*/ 10458 h 20915"/>
                <a:gd name="connsiteX5" fmla="*/ 0 w 20916"/>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6" h="20915">
                  <a:moveTo>
                    <a:pt x="0" y="10458"/>
                  </a:moveTo>
                  <a:cubicBezTo>
                    <a:pt x="0" y="4669"/>
                    <a:pt x="4762" y="0"/>
                    <a:pt x="10458" y="0"/>
                  </a:cubicBezTo>
                  <a:cubicBezTo>
                    <a:pt x="16154" y="0"/>
                    <a:pt x="20916" y="4669"/>
                    <a:pt x="20916" y="10458"/>
                  </a:cubicBezTo>
                  <a:cubicBezTo>
                    <a:pt x="20916" y="16247"/>
                    <a:pt x="16247" y="20916"/>
                    <a:pt x="10458" y="20916"/>
                  </a:cubicBezTo>
                  <a:cubicBezTo>
                    <a:pt x="4669"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77" name="Freeform: Shape 2676">
              <a:extLst>
                <a:ext uri="{FF2B5EF4-FFF2-40B4-BE49-F238E27FC236}">
                  <a16:creationId xmlns:a16="http://schemas.microsoft.com/office/drawing/2014/main" id="{B77605E0-81BD-438C-86D9-64D518593B46}"/>
                </a:ext>
              </a:extLst>
            </p:cNvPr>
            <p:cNvSpPr/>
            <p:nvPr/>
          </p:nvSpPr>
          <p:spPr>
            <a:xfrm>
              <a:off x="6368524" y="2458343"/>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78" name="Freeform: Shape 2677">
              <a:extLst>
                <a:ext uri="{FF2B5EF4-FFF2-40B4-BE49-F238E27FC236}">
                  <a16:creationId xmlns:a16="http://schemas.microsoft.com/office/drawing/2014/main" id="{A7B2652C-4F06-4091-90AF-5A92529AB345}"/>
                </a:ext>
              </a:extLst>
            </p:cNvPr>
            <p:cNvSpPr/>
            <p:nvPr/>
          </p:nvSpPr>
          <p:spPr>
            <a:xfrm>
              <a:off x="6309639" y="2510165"/>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3" y="0"/>
                    <a:pt x="21009" y="4762"/>
                    <a:pt x="21009" y="10458"/>
                  </a:cubicBezTo>
                  <a:cubicBezTo>
                    <a:pt x="21009" y="16154"/>
                    <a:pt x="16247" y="21009"/>
                    <a:pt x="10458" y="21009"/>
                  </a:cubicBezTo>
                  <a:cubicBezTo>
                    <a:pt x="4669"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79" name="Freeform: Shape 2678">
              <a:extLst>
                <a:ext uri="{FF2B5EF4-FFF2-40B4-BE49-F238E27FC236}">
                  <a16:creationId xmlns:a16="http://schemas.microsoft.com/office/drawing/2014/main" id="{3448FD3E-7845-48E5-9AB6-78B7488127F7}"/>
                </a:ext>
              </a:extLst>
            </p:cNvPr>
            <p:cNvSpPr/>
            <p:nvPr/>
          </p:nvSpPr>
          <p:spPr>
            <a:xfrm>
              <a:off x="6228124" y="2490277"/>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3" y="0"/>
                    <a:pt x="21009" y="4762"/>
                    <a:pt x="21009" y="10458"/>
                  </a:cubicBezTo>
                  <a:cubicBezTo>
                    <a:pt x="21009" y="16154"/>
                    <a:pt x="16247" y="21009"/>
                    <a:pt x="10458" y="21009"/>
                  </a:cubicBezTo>
                  <a:cubicBezTo>
                    <a:pt x="4669"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80" name="Freeform: Shape 2679">
              <a:extLst>
                <a:ext uri="{FF2B5EF4-FFF2-40B4-BE49-F238E27FC236}">
                  <a16:creationId xmlns:a16="http://schemas.microsoft.com/office/drawing/2014/main" id="{5DFE0B2F-CFE2-4FFC-8FB0-F0D44B15293B}"/>
                </a:ext>
              </a:extLst>
            </p:cNvPr>
            <p:cNvSpPr/>
            <p:nvPr/>
          </p:nvSpPr>
          <p:spPr>
            <a:xfrm>
              <a:off x="6239516" y="2575246"/>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669" y="0"/>
                    <a:pt x="10458" y="0"/>
                  </a:cubicBezTo>
                  <a:cubicBezTo>
                    <a:pt x="16247" y="0"/>
                    <a:pt x="21009" y="4669"/>
                    <a:pt x="21009" y="10458"/>
                  </a:cubicBezTo>
                  <a:cubicBezTo>
                    <a:pt x="21009" y="16247"/>
                    <a:pt x="16247" y="21009"/>
                    <a:pt x="10458"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81" name="Freeform: Shape 2680">
              <a:extLst>
                <a:ext uri="{FF2B5EF4-FFF2-40B4-BE49-F238E27FC236}">
                  <a16:creationId xmlns:a16="http://schemas.microsoft.com/office/drawing/2014/main" id="{1639C015-1F1C-4DAE-82F2-8E1BBA0077C3}"/>
                </a:ext>
              </a:extLst>
            </p:cNvPr>
            <p:cNvSpPr/>
            <p:nvPr/>
          </p:nvSpPr>
          <p:spPr>
            <a:xfrm>
              <a:off x="6412723" y="2389434"/>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458" y="0"/>
                  </a:cubicBezTo>
                  <a:cubicBezTo>
                    <a:pt x="16247" y="0"/>
                    <a:pt x="21009" y="4669"/>
                    <a:pt x="21009" y="10551"/>
                  </a:cubicBezTo>
                  <a:cubicBezTo>
                    <a:pt x="21009"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82" name="Freeform: Shape 2681">
              <a:extLst>
                <a:ext uri="{FF2B5EF4-FFF2-40B4-BE49-F238E27FC236}">
                  <a16:creationId xmlns:a16="http://schemas.microsoft.com/office/drawing/2014/main" id="{03B472A9-30A1-4D70-A003-0E9A54520591}"/>
                </a:ext>
              </a:extLst>
            </p:cNvPr>
            <p:cNvSpPr/>
            <p:nvPr/>
          </p:nvSpPr>
          <p:spPr>
            <a:xfrm>
              <a:off x="6397036" y="2367678"/>
              <a:ext cx="49251" cy="49251"/>
            </a:xfrm>
            <a:custGeom>
              <a:avLst/>
              <a:gdLst>
                <a:gd name="connsiteX0" fmla="*/ 0 w 21008"/>
                <a:gd name="connsiteY0" fmla="*/ 10551 h 21008"/>
                <a:gd name="connsiteX1" fmla="*/ 10551 w 21008"/>
                <a:gd name="connsiteY1" fmla="*/ 0 h 21008"/>
                <a:gd name="connsiteX2" fmla="*/ 21009 w 21008"/>
                <a:gd name="connsiteY2" fmla="*/ 10551 h 21008"/>
                <a:gd name="connsiteX3" fmla="*/ 10551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551" y="0"/>
                  </a:cubicBezTo>
                  <a:cubicBezTo>
                    <a:pt x="16434" y="0"/>
                    <a:pt x="21009" y="4669"/>
                    <a:pt x="21009" y="10551"/>
                  </a:cubicBezTo>
                  <a:cubicBezTo>
                    <a:pt x="21009" y="16434"/>
                    <a:pt x="16340" y="21009"/>
                    <a:pt x="10551" y="21009"/>
                  </a:cubicBezTo>
                  <a:cubicBezTo>
                    <a:pt x="4762"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83" name="Freeform: Shape 2682">
              <a:extLst>
                <a:ext uri="{FF2B5EF4-FFF2-40B4-BE49-F238E27FC236}">
                  <a16:creationId xmlns:a16="http://schemas.microsoft.com/office/drawing/2014/main" id="{B0BC92A0-89D3-4AC5-9CDA-29103927B814}"/>
                </a:ext>
              </a:extLst>
            </p:cNvPr>
            <p:cNvSpPr/>
            <p:nvPr/>
          </p:nvSpPr>
          <p:spPr>
            <a:xfrm>
              <a:off x="6366597" y="2287157"/>
              <a:ext cx="49251" cy="49036"/>
            </a:xfrm>
            <a:custGeom>
              <a:avLst/>
              <a:gdLst>
                <a:gd name="connsiteX0" fmla="*/ 0 w 21008"/>
                <a:gd name="connsiteY0" fmla="*/ 10458 h 20915"/>
                <a:gd name="connsiteX1" fmla="*/ 10551 w 21008"/>
                <a:gd name="connsiteY1" fmla="*/ 0 h 20915"/>
                <a:gd name="connsiteX2" fmla="*/ 21009 w 21008"/>
                <a:gd name="connsiteY2" fmla="*/ 10458 h 20915"/>
                <a:gd name="connsiteX3" fmla="*/ 10551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762" y="0"/>
                    <a:pt x="10551" y="0"/>
                  </a:cubicBezTo>
                  <a:cubicBezTo>
                    <a:pt x="16340" y="0"/>
                    <a:pt x="21009" y="4669"/>
                    <a:pt x="21009" y="10458"/>
                  </a:cubicBezTo>
                  <a:cubicBezTo>
                    <a:pt x="21009" y="16247"/>
                    <a:pt x="16247" y="20916"/>
                    <a:pt x="10551" y="20916"/>
                  </a:cubicBezTo>
                  <a:cubicBezTo>
                    <a:pt x="485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84" name="Freeform: Shape 2683">
              <a:extLst>
                <a:ext uri="{FF2B5EF4-FFF2-40B4-BE49-F238E27FC236}">
                  <a16:creationId xmlns:a16="http://schemas.microsoft.com/office/drawing/2014/main" id="{285D91C4-1F68-4147-A753-D7241D1A7A83}"/>
                </a:ext>
              </a:extLst>
            </p:cNvPr>
            <p:cNvSpPr/>
            <p:nvPr/>
          </p:nvSpPr>
          <p:spPr>
            <a:xfrm>
              <a:off x="6418045" y="2586078"/>
              <a:ext cx="49251" cy="49251"/>
            </a:xfrm>
            <a:custGeom>
              <a:avLst/>
              <a:gdLst>
                <a:gd name="connsiteX0" fmla="*/ 0 w 21008"/>
                <a:gd name="connsiteY0" fmla="*/ 10551 h 21008"/>
                <a:gd name="connsiteX1" fmla="*/ 10551 w 21008"/>
                <a:gd name="connsiteY1" fmla="*/ 0 h 21008"/>
                <a:gd name="connsiteX2" fmla="*/ 21009 w 21008"/>
                <a:gd name="connsiteY2" fmla="*/ 10551 h 21008"/>
                <a:gd name="connsiteX3" fmla="*/ 10551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551" y="0"/>
                  </a:cubicBezTo>
                  <a:cubicBezTo>
                    <a:pt x="16434" y="0"/>
                    <a:pt x="21009" y="4762"/>
                    <a:pt x="21009" y="10551"/>
                  </a:cubicBezTo>
                  <a:cubicBezTo>
                    <a:pt x="21009" y="16340"/>
                    <a:pt x="16340" y="21009"/>
                    <a:pt x="10551" y="21009"/>
                  </a:cubicBezTo>
                  <a:cubicBezTo>
                    <a:pt x="4762"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85" name="Freeform: Shape 2684">
              <a:extLst>
                <a:ext uri="{FF2B5EF4-FFF2-40B4-BE49-F238E27FC236}">
                  <a16:creationId xmlns:a16="http://schemas.microsoft.com/office/drawing/2014/main" id="{77FFA117-55EF-4163-8DCD-BDD587A3E75D}"/>
                </a:ext>
              </a:extLst>
            </p:cNvPr>
            <p:cNvSpPr/>
            <p:nvPr/>
          </p:nvSpPr>
          <p:spPr>
            <a:xfrm>
              <a:off x="6416458" y="2545147"/>
              <a:ext cx="49251" cy="49036"/>
            </a:xfrm>
            <a:custGeom>
              <a:avLst/>
              <a:gdLst>
                <a:gd name="connsiteX0" fmla="*/ 0 w 21008"/>
                <a:gd name="connsiteY0" fmla="*/ 10458 h 20915"/>
                <a:gd name="connsiteX1" fmla="*/ 10458 w 21008"/>
                <a:gd name="connsiteY1" fmla="*/ 0 h 20915"/>
                <a:gd name="connsiteX2" fmla="*/ 21009 w 21008"/>
                <a:gd name="connsiteY2" fmla="*/ 10458 h 20915"/>
                <a:gd name="connsiteX3" fmla="*/ 10458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762" y="0"/>
                    <a:pt x="10458" y="0"/>
                  </a:cubicBezTo>
                  <a:cubicBezTo>
                    <a:pt x="16153" y="0"/>
                    <a:pt x="21009" y="4669"/>
                    <a:pt x="21009" y="10458"/>
                  </a:cubicBezTo>
                  <a:cubicBezTo>
                    <a:pt x="21009"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86" name="Freeform: Shape 2685">
              <a:extLst>
                <a:ext uri="{FF2B5EF4-FFF2-40B4-BE49-F238E27FC236}">
                  <a16:creationId xmlns:a16="http://schemas.microsoft.com/office/drawing/2014/main" id="{1A34F74B-8E2A-4FE1-A242-A0FF2901148E}"/>
                </a:ext>
              </a:extLst>
            </p:cNvPr>
            <p:cNvSpPr/>
            <p:nvPr/>
          </p:nvSpPr>
          <p:spPr>
            <a:xfrm>
              <a:off x="6414184" y="2494665"/>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87" name="Freeform: Shape 2686">
              <a:extLst>
                <a:ext uri="{FF2B5EF4-FFF2-40B4-BE49-F238E27FC236}">
                  <a16:creationId xmlns:a16="http://schemas.microsoft.com/office/drawing/2014/main" id="{64051DF5-DEB1-484C-9DFD-D76B73BECE7E}"/>
                </a:ext>
              </a:extLst>
            </p:cNvPr>
            <p:cNvSpPr/>
            <p:nvPr/>
          </p:nvSpPr>
          <p:spPr>
            <a:xfrm>
              <a:off x="6456855" y="2458250"/>
              <a:ext cx="49036" cy="49251"/>
            </a:xfrm>
            <a:custGeom>
              <a:avLst/>
              <a:gdLst>
                <a:gd name="connsiteX0" fmla="*/ 0 w 20915"/>
                <a:gd name="connsiteY0" fmla="*/ 10458 h 21008"/>
                <a:gd name="connsiteX1" fmla="*/ 10458 w 20915"/>
                <a:gd name="connsiteY1" fmla="*/ 0 h 21008"/>
                <a:gd name="connsiteX2" fmla="*/ 20916 w 20915"/>
                <a:gd name="connsiteY2" fmla="*/ 10458 h 21008"/>
                <a:gd name="connsiteX3" fmla="*/ 10458 w 20915"/>
                <a:gd name="connsiteY3" fmla="*/ 21009 h 21008"/>
                <a:gd name="connsiteX4" fmla="*/ 0 w 20915"/>
                <a:gd name="connsiteY4" fmla="*/ 10458 h 21008"/>
                <a:gd name="connsiteX5" fmla="*/ 0 w 20915"/>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458"/>
                  </a:moveTo>
                  <a:cubicBezTo>
                    <a:pt x="0" y="4669"/>
                    <a:pt x="4669" y="0"/>
                    <a:pt x="10458" y="0"/>
                  </a:cubicBezTo>
                  <a:cubicBezTo>
                    <a:pt x="16247" y="0"/>
                    <a:pt x="20916" y="4762"/>
                    <a:pt x="20916" y="10458"/>
                  </a:cubicBezTo>
                  <a:cubicBezTo>
                    <a:pt x="20916" y="16154"/>
                    <a:pt x="16247" y="21009"/>
                    <a:pt x="10458"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88" name="Freeform: Shape 2687">
              <a:extLst>
                <a:ext uri="{FF2B5EF4-FFF2-40B4-BE49-F238E27FC236}">
                  <a16:creationId xmlns:a16="http://schemas.microsoft.com/office/drawing/2014/main" id="{233B0AAD-7108-49A3-8A15-4DCACE6FAD49}"/>
                </a:ext>
              </a:extLst>
            </p:cNvPr>
            <p:cNvSpPr/>
            <p:nvPr/>
          </p:nvSpPr>
          <p:spPr>
            <a:xfrm>
              <a:off x="6491683" y="2446672"/>
              <a:ext cx="49036" cy="49251"/>
            </a:xfrm>
            <a:custGeom>
              <a:avLst/>
              <a:gdLst>
                <a:gd name="connsiteX0" fmla="*/ 0 w 20915"/>
                <a:gd name="connsiteY0" fmla="*/ 10458 h 21008"/>
                <a:gd name="connsiteX1" fmla="*/ 10458 w 20915"/>
                <a:gd name="connsiteY1" fmla="*/ 0 h 21008"/>
                <a:gd name="connsiteX2" fmla="*/ 20916 w 20915"/>
                <a:gd name="connsiteY2" fmla="*/ 10458 h 21008"/>
                <a:gd name="connsiteX3" fmla="*/ 10458 w 20915"/>
                <a:gd name="connsiteY3" fmla="*/ 21009 h 21008"/>
                <a:gd name="connsiteX4" fmla="*/ 0 w 20915"/>
                <a:gd name="connsiteY4" fmla="*/ 10458 h 21008"/>
                <a:gd name="connsiteX5" fmla="*/ 0 w 20915"/>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458"/>
                  </a:moveTo>
                  <a:cubicBezTo>
                    <a:pt x="0" y="4669"/>
                    <a:pt x="4669" y="0"/>
                    <a:pt x="10458" y="0"/>
                  </a:cubicBezTo>
                  <a:cubicBezTo>
                    <a:pt x="16247" y="0"/>
                    <a:pt x="20916" y="4669"/>
                    <a:pt x="20916" y="10458"/>
                  </a:cubicBezTo>
                  <a:cubicBezTo>
                    <a:pt x="20916" y="16247"/>
                    <a:pt x="16247" y="21009"/>
                    <a:pt x="10458"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89" name="Freeform: Shape 2688">
              <a:extLst>
                <a:ext uri="{FF2B5EF4-FFF2-40B4-BE49-F238E27FC236}">
                  <a16:creationId xmlns:a16="http://schemas.microsoft.com/office/drawing/2014/main" id="{5F227C80-11A0-4B26-92EA-E6C794AE3E28}"/>
                </a:ext>
              </a:extLst>
            </p:cNvPr>
            <p:cNvSpPr/>
            <p:nvPr/>
          </p:nvSpPr>
          <p:spPr>
            <a:xfrm>
              <a:off x="6517955" y="2328928"/>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458" y="0"/>
                  </a:cubicBezTo>
                  <a:cubicBezTo>
                    <a:pt x="16247" y="0"/>
                    <a:pt x="21009" y="4669"/>
                    <a:pt x="21009" y="10551"/>
                  </a:cubicBezTo>
                  <a:cubicBezTo>
                    <a:pt x="21009"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90" name="Freeform: Shape 2689">
              <a:extLst>
                <a:ext uri="{FF2B5EF4-FFF2-40B4-BE49-F238E27FC236}">
                  <a16:creationId xmlns:a16="http://schemas.microsoft.com/office/drawing/2014/main" id="{494F1905-8091-4203-A662-A8FA593520CE}"/>
                </a:ext>
              </a:extLst>
            </p:cNvPr>
            <p:cNvSpPr/>
            <p:nvPr/>
          </p:nvSpPr>
          <p:spPr>
            <a:xfrm>
              <a:off x="6570617" y="2436587"/>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669" y="0"/>
                    <a:pt x="10458" y="0"/>
                  </a:cubicBezTo>
                  <a:cubicBezTo>
                    <a:pt x="16247" y="0"/>
                    <a:pt x="21009" y="4669"/>
                    <a:pt x="21009" y="10458"/>
                  </a:cubicBezTo>
                  <a:cubicBezTo>
                    <a:pt x="21009" y="16247"/>
                    <a:pt x="16340" y="21009"/>
                    <a:pt x="10458" y="21009"/>
                  </a:cubicBezTo>
                  <a:cubicBezTo>
                    <a:pt x="4575"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91" name="Freeform: Shape 2690">
              <a:extLst>
                <a:ext uri="{FF2B5EF4-FFF2-40B4-BE49-F238E27FC236}">
                  <a16:creationId xmlns:a16="http://schemas.microsoft.com/office/drawing/2014/main" id="{D590498B-D52B-43E0-AEBA-6E2A188DC059}"/>
                </a:ext>
              </a:extLst>
            </p:cNvPr>
            <p:cNvSpPr/>
            <p:nvPr/>
          </p:nvSpPr>
          <p:spPr>
            <a:xfrm>
              <a:off x="6603079" y="2554237"/>
              <a:ext cx="49037" cy="49251"/>
            </a:xfrm>
            <a:custGeom>
              <a:avLst/>
              <a:gdLst>
                <a:gd name="connsiteX0" fmla="*/ 0 w 20916"/>
                <a:gd name="connsiteY0" fmla="*/ 10551 h 21008"/>
                <a:gd name="connsiteX1" fmla="*/ 10458 w 20916"/>
                <a:gd name="connsiteY1" fmla="*/ 0 h 21008"/>
                <a:gd name="connsiteX2" fmla="*/ 20916 w 20916"/>
                <a:gd name="connsiteY2" fmla="*/ 10551 h 21008"/>
                <a:gd name="connsiteX3" fmla="*/ 10458 w 20916"/>
                <a:gd name="connsiteY3" fmla="*/ 21009 h 21008"/>
                <a:gd name="connsiteX4" fmla="*/ 0 w 20916"/>
                <a:gd name="connsiteY4" fmla="*/ 10551 h 21008"/>
                <a:gd name="connsiteX5" fmla="*/ 0 w 20916"/>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6"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92" name="Freeform: Shape 2691">
              <a:extLst>
                <a:ext uri="{FF2B5EF4-FFF2-40B4-BE49-F238E27FC236}">
                  <a16:creationId xmlns:a16="http://schemas.microsoft.com/office/drawing/2014/main" id="{BEBC4F13-1A5F-439E-B47F-EA628260633D}"/>
                </a:ext>
              </a:extLst>
            </p:cNvPr>
            <p:cNvSpPr/>
            <p:nvPr/>
          </p:nvSpPr>
          <p:spPr>
            <a:xfrm>
              <a:off x="6621659" y="2525572"/>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247"/>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93" name="Freeform: Shape 2692">
              <a:extLst>
                <a:ext uri="{FF2B5EF4-FFF2-40B4-BE49-F238E27FC236}">
                  <a16:creationId xmlns:a16="http://schemas.microsoft.com/office/drawing/2014/main" id="{0480534E-0CDA-449E-A9A5-73C0E81FDB6D}"/>
                </a:ext>
              </a:extLst>
            </p:cNvPr>
            <p:cNvSpPr/>
            <p:nvPr/>
          </p:nvSpPr>
          <p:spPr>
            <a:xfrm>
              <a:off x="6588138" y="2505310"/>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247"/>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94" name="Freeform: Shape 2693">
              <a:extLst>
                <a:ext uri="{FF2B5EF4-FFF2-40B4-BE49-F238E27FC236}">
                  <a16:creationId xmlns:a16="http://schemas.microsoft.com/office/drawing/2014/main" id="{73F8A774-7036-4CD6-941B-0FAEF7B4651D}"/>
                </a:ext>
              </a:extLst>
            </p:cNvPr>
            <p:cNvSpPr/>
            <p:nvPr/>
          </p:nvSpPr>
          <p:spPr>
            <a:xfrm>
              <a:off x="6637066" y="2497747"/>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695" name="Freeform: Shape 2694">
              <a:extLst>
                <a:ext uri="{FF2B5EF4-FFF2-40B4-BE49-F238E27FC236}">
                  <a16:creationId xmlns:a16="http://schemas.microsoft.com/office/drawing/2014/main" id="{ADCCF35A-0E23-49CE-8F22-08A29979CF4C}"/>
                </a:ext>
              </a:extLst>
            </p:cNvPr>
            <p:cNvSpPr/>
            <p:nvPr/>
          </p:nvSpPr>
          <p:spPr>
            <a:xfrm>
              <a:off x="6541078" y="2577081"/>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96" name="Freeform: Shape 2695">
              <a:extLst>
                <a:ext uri="{FF2B5EF4-FFF2-40B4-BE49-F238E27FC236}">
                  <a16:creationId xmlns:a16="http://schemas.microsoft.com/office/drawing/2014/main" id="{0FEEABAE-6F66-4F62-8126-0C76A2FDAB01}"/>
                </a:ext>
              </a:extLst>
            </p:cNvPr>
            <p:cNvSpPr/>
            <p:nvPr/>
          </p:nvSpPr>
          <p:spPr>
            <a:xfrm>
              <a:off x="6517768" y="2570202"/>
              <a:ext cx="49251" cy="49255"/>
            </a:xfrm>
            <a:custGeom>
              <a:avLst/>
              <a:gdLst>
                <a:gd name="connsiteX0" fmla="*/ 0 w 21008"/>
                <a:gd name="connsiteY0" fmla="*/ 10458 h 21009"/>
                <a:gd name="connsiteX1" fmla="*/ 10458 w 21008"/>
                <a:gd name="connsiteY1" fmla="*/ 0 h 21009"/>
                <a:gd name="connsiteX2" fmla="*/ 21009 w 21008"/>
                <a:gd name="connsiteY2" fmla="*/ 10458 h 21009"/>
                <a:gd name="connsiteX3" fmla="*/ 10458 w 21008"/>
                <a:gd name="connsiteY3" fmla="*/ 21009 h 21009"/>
                <a:gd name="connsiteX4" fmla="*/ 0 w 21008"/>
                <a:gd name="connsiteY4" fmla="*/ 10458 h 21009"/>
                <a:gd name="connsiteX5" fmla="*/ 0 w 21008"/>
                <a:gd name="connsiteY5" fmla="*/ 10458 h 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9">
                  <a:moveTo>
                    <a:pt x="0" y="10458"/>
                  </a:moveTo>
                  <a:cubicBezTo>
                    <a:pt x="0" y="4669"/>
                    <a:pt x="4669" y="0"/>
                    <a:pt x="10458" y="0"/>
                  </a:cubicBezTo>
                  <a:cubicBezTo>
                    <a:pt x="16247" y="0"/>
                    <a:pt x="21009" y="4762"/>
                    <a:pt x="21009" y="10458"/>
                  </a:cubicBezTo>
                  <a:cubicBezTo>
                    <a:pt x="21009" y="16154"/>
                    <a:pt x="16340" y="21009"/>
                    <a:pt x="10458" y="21009"/>
                  </a:cubicBezTo>
                  <a:cubicBezTo>
                    <a:pt x="4576"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97" name="Freeform: Shape 2696">
              <a:extLst>
                <a:ext uri="{FF2B5EF4-FFF2-40B4-BE49-F238E27FC236}">
                  <a16:creationId xmlns:a16="http://schemas.microsoft.com/office/drawing/2014/main" id="{4D2B3939-F126-4351-958E-27D12A86CCFF}"/>
                </a:ext>
              </a:extLst>
            </p:cNvPr>
            <p:cNvSpPr/>
            <p:nvPr/>
          </p:nvSpPr>
          <p:spPr>
            <a:xfrm>
              <a:off x="6499373" y="2583090"/>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669" y="0"/>
                    <a:pt x="10458" y="0"/>
                  </a:cubicBezTo>
                  <a:cubicBezTo>
                    <a:pt x="16247" y="0"/>
                    <a:pt x="21009" y="4762"/>
                    <a:pt x="21009" y="10458"/>
                  </a:cubicBezTo>
                  <a:cubicBezTo>
                    <a:pt x="21009" y="16154"/>
                    <a:pt x="16340" y="21009"/>
                    <a:pt x="10458" y="21009"/>
                  </a:cubicBezTo>
                  <a:cubicBezTo>
                    <a:pt x="4575"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98" name="Freeform: Shape 2697">
              <a:extLst>
                <a:ext uri="{FF2B5EF4-FFF2-40B4-BE49-F238E27FC236}">
                  <a16:creationId xmlns:a16="http://schemas.microsoft.com/office/drawing/2014/main" id="{CD1B1D37-E06D-44D2-9806-5BAE6C42908C}"/>
                </a:ext>
              </a:extLst>
            </p:cNvPr>
            <p:cNvSpPr/>
            <p:nvPr/>
          </p:nvSpPr>
          <p:spPr>
            <a:xfrm>
              <a:off x="6486208" y="2559653"/>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669" y="0"/>
                    <a:pt x="10458" y="0"/>
                  </a:cubicBezTo>
                  <a:cubicBezTo>
                    <a:pt x="16247" y="0"/>
                    <a:pt x="21009" y="4762"/>
                    <a:pt x="21009" y="10458"/>
                  </a:cubicBezTo>
                  <a:cubicBezTo>
                    <a:pt x="21009" y="16154"/>
                    <a:pt x="16340" y="21009"/>
                    <a:pt x="10458" y="21009"/>
                  </a:cubicBezTo>
                  <a:cubicBezTo>
                    <a:pt x="4575"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699" name="Freeform: Shape 2698">
              <a:extLst>
                <a:ext uri="{FF2B5EF4-FFF2-40B4-BE49-F238E27FC236}">
                  <a16:creationId xmlns:a16="http://schemas.microsoft.com/office/drawing/2014/main" id="{7A82D7C1-6511-4B96-9F8A-48719D6ED084}"/>
                </a:ext>
              </a:extLst>
            </p:cNvPr>
            <p:cNvSpPr/>
            <p:nvPr/>
          </p:nvSpPr>
          <p:spPr>
            <a:xfrm>
              <a:off x="6496666" y="2547795"/>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669" y="0"/>
                    <a:pt x="10458" y="0"/>
                  </a:cubicBezTo>
                  <a:cubicBezTo>
                    <a:pt x="16247" y="0"/>
                    <a:pt x="21009" y="4762"/>
                    <a:pt x="21009" y="10458"/>
                  </a:cubicBezTo>
                  <a:cubicBezTo>
                    <a:pt x="21009" y="16154"/>
                    <a:pt x="16340" y="21009"/>
                    <a:pt x="10458" y="21009"/>
                  </a:cubicBezTo>
                  <a:cubicBezTo>
                    <a:pt x="4575"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00" name="Freeform: Shape 2699">
              <a:extLst>
                <a:ext uri="{FF2B5EF4-FFF2-40B4-BE49-F238E27FC236}">
                  <a16:creationId xmlns:a16="http://schemas.microsoft.com/office/drawing/2014/main" id="{A39A4BE1-7B3F-4A65-9AC7-95423881FB32}"/>
                </a:ext>
              </a:extLst>
            </p:cNvPr>
            <p:cNvSpPr/>
            <p:nvPr/>
          </p:nvSpPr>
          <p:spPr>
            <a:xfrm>
              <a:off x="6467407" y="2540011"/>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762" y="0"/>
                    <a:pt x="10458" y="0"/>
                  </a:cubicBezTo>
                  <a:cubicBezTo>
                    <a:pt x="16153" y="0"/>
                    <a:pt x="20916" y="4669"/>
                    <a:pt x="20916" y="10458"/>
                  </a:cubicBezTo>
                  <a:cubicBezTo>
                    <a:pt x="20916" y="16247"/>
                    <a:pt x="16247" y="20916"/>
                    <a:pt x="10458" y="20916"/>
                  </a:cubicBezTo>
                  <a:cubicBezTo>
                    <a:pt x="4669"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01" name="Freeform: Shape 2700">
              <a:extLst>
                <a:ext uri="{FF2B5EF4-FFF2-40B4-BE49-F238E27FC236}">
                  <a16:creationId xmlns:a16="http://schemas.microsoft.com/office/drawing/2014/main" id="{FA4B5AA7-D8BF-4EC5-9BC4-4BF3E562D06C}"/>
                </a:ext>
              </a:extLst>
            </p:cNvPr>
            <p:cNvSpPr/>
            <p:nvPr/>
          </p:nvSpPr>
          <p:spPr>
            <a:xfrm>
              <a:off x="6452560" y="2505277"/>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762" y="0"/>
                    <a:pt x="10458" y="0"/>
                  </a:cubicBezTo>
                  <a:cubicBezTo>
                    <a:pt x="16154" y="0"/>
                    <a:pt x="20916" y="4669"/>
                    <a:pt x="20916" y="10458"/>
                  </a:cubicBezTo>
                  <a:cubicBezTo>
                    <a:pt x="20916" y="16247"/>
                    <a:pt x="16247" y="20916"/>
                    <a:pt x="10458" y="20916"/>
                  </a:cubicBezTo>
                  <a:cubicBezTo>
                    <a:pt x="4669"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02" name="Freeform: Shape 2701">
              <a:extLst>
                <a:ext uri="{FF2B5EF4-FFF2-40B4-BE49-F238E27FC236}">
                  <a16:creationId xmlns:a16="http://schemas.microsoft.com/office/drawing/2014/main" id="{3CFDFC61-148D-45E8-8FD4-D8BCB9197191}"/>
                </a:ext>
              </a:extLst>
            </p:cNvPr>
            <p:cNvSpPr/>
            <p:nvPr/>
          </p:nvSpPr>
          <p:spPr>
            <a:xfrm>
              <a:off x="6581355" y="2534909"/>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458" y="0"/>
                  </a:cubicBezTo>
                  <a:cubicBezTo>
                    <a:pt x="16247" y="0"/>
                    <a:pt x="21009" y="4762"/>
                    <a:pt x="21009" y="10551"/>
                  </a:cubicBezTo>
                  <a:cubicBezTo>
                    <a:pt x="21009" y="16340"/>
                    <a:pt x="16340" y="21009"/>
                    <a:pt x="10458" y="21009"/>
                  </a:cubicBezTo>
                  <a:cubicBezTo>
                    <a:pt x="4575"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03" name="Freeform: Shape 2702">
              <a:extLst>
                <a:ext uri="{FF2B5EF4-FFF2-40B4-BE49-F238E27FC236}">
                  <a16:creationId xmlns:a16="http://schemas.microsoft.com/office/drawing/2014/main" id="{0BA2AF05-A601-4128-9C13-5D02C1B4D47E}"/>
                </a:ext>
              </a:extLst>
            </p:cNvPr>
            <p:cNvSpPr/>
            <p:nvPr/>
          </p:nvSpPr>
          <p:spPr>
            <a:xfrm>
              <a:off x="6586210" y="2479819"/>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4" y="0"/>
                    <a:pt x="21009" y="4669"/>
                    <a:pt x="21009" y="10458"/>
                  </a:cubicBezTo>
                  <a:cubicBezTo>
                    <a:pt x="21009" y="16247"/>
                    <a:pt x="16340" y="21009"/>
                    <a:pt x="10458" y="21009"/>
                  </a:cubicBezTo>
                  <a:cubicBezTo>
                    <a:pt x="4575"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04" name="Freeform: Shape 2703">
              <a:extLst>
                <a:ext uri="{FF2B5EF4-FFF2-40B4-BE49-F238E27FC236}">
                  <a16:creationId xmlns:a16="http://schemas.microsoft.com/office/drawing/2014/main" id="{76AFD053-A16B-4053-B7DA-8BDE08A3F619}"/>
                </a:ext>
              </a:extLst>
            </p:cNvPr>
            <p:cNvSpPr/>
            <p:nvPr/>
          </p:nvSpPr>
          <p:spPr>
            <a:xfrm>
              <a:off x="6526172" y="2500828"/>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458" y="0"/>
                  </a:cubicBezTo>
                  <a:cubicBezTo>
                    <a:pt x="16153" y="0"/>
                    <a:pt x="21009" y="4669"/>
                    <a:pt x="21009" y="10458"/>
                  </a:cubicBezTo>
                  <a:cubicBezTo>
                    <a:pt x="21009" y="16247"/>
                    <a:pt x="16340" y="21009"/>
                    <a:pt x="10458" y="21009"/>
                  </a:cubicBezTo>
                  <a:cubicBezTo>
                    <a:pt x="4575"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05" name="Freeform: Shape 2704">
              <a:extLst>
                <a:ext uri="{FF2B5EF4-FFF2-40B4-BE49-F238E27FC236}">
                  <a16:creationId xmlns:a16="http://schemas.microsoft.com/office/drawing/2014/main" id="{13118570-D9FE-415B-A24E-774F1639825E}"/>
                </a:ext>
              </a:extLst>
            </p:cNvPr>
            <p:cNvSpPr/>
            <p:nvPr/>
          </p:nvSpPr>
          <p:spPr>
            <a:xfrm>
              <a:off x="6515774" y="2405120"/>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669"/>
                    <a:pt x="20916" y="10551"/>
                  </a:cubicBezTo>
                  <a:cubicBezTo>
                    <a:pt x="20916"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06" name="Freeform: Shape 2705">
              <a:extLst>
                <a:ext uri="{FF2B5EF4-FFF2-40B4-BE49-F238E27FC236}">
                  <a16:creationId xmlns:a16="http://schemas.microsoft.com/office/drawing/2014/main" id="{83F7C40B-8B66-4C71-8321-B483A40519D6}"/>
                </a:ext>
              </a:extLst>
            </p:cNvPr>
            <p:cNvSpPr/>
            <p:nvPr/>
          </p:nvSpPr>
          <p:spPr>
            <a:xfrm>
              <a:off x="5751548" y="2736969"/>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669" y="0"/>
                    <a:pt x="10458" y="0"/>
                  </a:cubicBezTo>
                  <a:cubicBezTo>
                    <a:pt x="16247" y="0"/>
                    <a:pt x="21009" y="4669"/>
                    <a:pt x="21009" y="10458"/>
                  </a:cubicBezTo>
                  <a:cubicBezTo>
                    <a:pt x="21009" y="16247"/>
                    <a:pt x="16340" y="21009"/>
                    <a:pt x="10458" y="21009"/>
                  </a:cubicBezTo>
                  <a:cubicBezTo>
                    <a:pt x="4575"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07" name="Freeform: Shape 2706">
              <a:extLst>
                <a:ext uri="{FF2B5EF4-FFF2-40B4-BE49-F238E27FC236}">
                  <a16:creationId xmlns:a16="http://schemas.microsoft.com/office/drawing/2014/main" id="{BE2153C6-7E16-4CAA-BB60-98672033FB04}"/>
                </a:ext>
              </a:extLst>
            </p:cNvPr>
            <p:cNvSpPr/>
            <p:nvPr/>
          </p:nvSpPr>
          <p:spPr>
            <a:xfrm>
              <a:off x="5605138" y="2585051"/>
              <a:ext cx="49251" cy="49251"/>
            </a:xfrm>
            <a:custGeom>
              <a:avLst/>
              <a:gdLst>
                <a:gd name="connsiteX0" fmla="*/ 0 w 21008"/>
                <a:gd name="connsiteY0" fmla="*/ 10458 h 21008"/>
                <a:gd name="connsiteX1" fmla="*/ 10458 w 21008"/>
                <a:gd name="connsiteY1" fmla="*/ 0 h 21008"/>
                <a:gd name="connsiteX2" fmla="*/ 21009 w 21008"/>
                <a:gd name="connsiteY2" fmla="*/ 10458 h 21008"/>
                <a:gd name="connsiteX3" fmla="*/ 10458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669" y="0"/>
                    <a:pt x="10458" y="0"/>
                  </a:cubicBezTo>
                  <a:cubicBezTo>
                    <a:pt x="16247" y="0"/>
                    <a:pt x="21009" y="4669"/>
                    <a:pt x="21009" y="10458"/>
                  </a:cubicBezTo>
                  <a:cubicBezTo>
                    <a:pt x="21009" y="16247"/>
                    <a:pt x="16340" y="21009"/>
                    <a:pt x="10458" y="21009"/>
                  </a:cubicBezTo>
                  <a:cubicBezTo>
                    <a:pt x="4575"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08" name="Freeform: Shape 2707">
              <a:extLst>
                <a:ext uri="{FF2B5EF4-FFF2-40B4-BE49-F238E27FC236}">
                  <a16:creationId xmlns:a16="http://schemas.microsoft.com/office/drawing/2014/main" id="{6822D474-C7F0-499A-A1AB-7B7D72446AC3}"/>
                </a:ext>
              </a:extLst>
            </p:cNvPr>
            <p:cNvSpPr/>
            <p:nvPr/>
          </p:nvSpPr>
          <p:spPr>
            <a:xfrm>
              <a:off x="5727050" y="2791872"/>
              <a:ext cx="49036" cy="49251"/>
            </a:xfrm>
            <a:custGeom>
              <a:avLst/>
              <a:gdLst>
                <a:gd name="connsiteX0" fmla="*/ 0 w 20915"/>
                <a:gd name="connsiteY0" fmla="*/ 10551 h 21008"/>
                <a:gd name="connsiteX1" fmla="*/ 10458 w 20915"/>
                <a:gd name="connsiteY1" fmla="*/ 0 h 21008"/>
                <a:gd name="connsiteX2" fmla="*/ 20916 w 20915"/>
                <a:gd name="connsiteY2" fmla="*/ 10551 h 21008"/>
                <a:gd name="connsiteX3" fmla="*/ 10458 w 20915"/>
                <a:gd name="connsiteY3" fmla="*/ 21009 h 21008"/>
                <a:gd name="connsiteX4" fmla="*/ 0 w 20915"/>
                <a:gd name="connsiteY4" fmla="*/ 10551 h 21008"/>
                <a:gd name="connsiteX5" fmla="*/ 0 w 20915"/>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551"/>
                  </a:moveTo>
                  <a:cubicBezTo>
                    <a:pt x="0" y="4762"/>
                    <a:pt x="4669" y="0"/>
                    <a:pt x="10458" y="0"/>
                  </a:cubicBezTo>
                  <a:cubicBezTo>
                    <a:pt x="16247" y="0"/>
                    <a:pt x="20916" y="4762"/>
                    <a:pt x="20916" y="10551"/>
                  </a:cubicBezTo>
                  <a:cubicBezTo>
                    <a:pt x="20916" y="16340"/>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09" name="Freeform: Shape 2708">
              <a:extLst>
                <a:ext uri="{FF2B5EF4-FFF2-40B4-BE49-F238E27FC236}">
                  <a16:creationId xmlns:a16="http://schemas.microsoft.com/office/drawing/2014/main" id="{202C1165-FB32-49D9-83C5-D417BD4CC89C}"/>
                </a:ext>
              </a:extLst>
            </p:cNvPr>
            <p:cNvSpPr/>
            <p:nvPr/>
          </p:nvSpPr>
          <p:spPr>
            <a:xfrm>
              <a:off x="5703647" y="2794673"/>
              <a:ext cx="49251" cy="49251"/>
            </a:xfrm>
            <a:custGeom>
              <a:avLst/>
              <a:gdLst>
                <a:gd name="connsiteX0" fmla="*/ 0 w 21008"/>
                <a:gd name="connsiteY0" fmla="*/ 10551 h 21008"/>
                <a:gd name="connsiteX1" fmla="*/ 10365 w 21008"/>
                <a:gd name="connsiteY1" fmla="*/ 0 h 21008"/>
                <a:gd name="connsiteX2" fmla="*/ 21009 w 21008"/>
                <a:gd name="connsiteY2" fmla="*/ 10551 h 21008"/>
                <a:gd name="connsiteX3" fmla="*/ 10365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365" y="0"/>
                  </a:cubicBezTo>
                  <a:cubicBezTo>
                    <a:pt x="16060" y="0"/>
                    <a:pt x="21009" y="4762"/>
                    <a:pt x="21009" y="10551"/>
                  </a:cubicBezTo>
                  <a:cubicBezTo>
                    <a:pt x="21009" y="16340"/>
                    <a:pt x="16154" y="21009"/>
                    <a:pt x="10365" y="21009"/>
                  </a:cubicBezTo>
                  <a:cubicBezTo>
                    <a:pt x="4575"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10" name="Freeform: Shape 2709">
              <a:extLst>
                <a:ext uri="{FF2B5EF4-FFF2-40B4-BE49-F238E27FC236}">
                  <a16:creationId xmlns:a16="http://schemas.microsoft.com/office/drawing/2014/main" id="{CB5E7E33-00FB-448A-A18B-F1008558A46E}"/>
                </a:ext>
              </a:extLst>
            </p:cNvPr>
            <p:cNvSpPr/>
            <p:nvPr/>
          </p:nvSpPr>
          <p:spPr>
            <a:xfrm>
              <a:off x="5603364" y="2881324"/>
              <a:ext cx="49251" cy="49251"/>
            </a:xfrm>
            <a:custGeom>
              <a:avLst/>
              <a:gdLst>
                <a:gd name="connsiteX0" fmla="*/ 0 w 21008"/>
                <a:gd name="connsiteY0" fmla="*/ 10551 h 21008"/>
                <a:gd name="connsiteX1" fmla="*/ 10364 w 21008"/>
                <a:gd name="connsiteY1" fmla="*/ 0 h 21008"/>
                <a:gd name="connsiteX2" fmla="*/ 21009 w 21008"/>
                <a:gd name="connsiteY2" fmla="*/ 10551 h 21008"/>
                <a:gd name="connsiteX3" fmla="*/ 10364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364" y="0"/>
                  </a:cubicBezTo>
                  <a:cubicBezTo>
                    <a:pt x="16060" y="0"/>
                    <a:pt x="21009" y="4762"/>
                    <a:pt x="21009" y="10551"/>
                  </a:cubicBezTo>
                  <a:cubicBezTo>
                    <a:pt x="21009" y="16340"/>
                    <a:pt x="16153" y="21009"/>
                    <a:pt x="10364" y="21009"/>
                  </a:cubicBezTo>
                  <a:cubicBezTo>
                    <a:pt x="4575"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11" name="Freeform: Shape 2710">
              <a:extLst>
                <a:ext uri="{FF2B5EF4-FFF2-40B4-BE49-F238E27FC236}">
                  <a16:creationId xmlns:a16="http://schemas.microsoft.com/office/drawing/2014/main" id="{2DC6E47C-88CA-4F09-B2BA-4B9FC452F11D}"/>
                </a:ext>
              </a:extLst>
            </p:cNvPr>
            <p:cNvSpPr/>
            <p:nvPr/>
          </p:nvSpPr>
          <p:spPr>
            <a:xfrm>
              <a:off x="5737508" y="2896043"/>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12" name="Freeform: Shape 2711">
              <a:extLst>
                <a:ext uri="{FF2B5EF4-FFF2-40B4-BE49-F238E27FC236}">
                  <a16:creationId xmlns:a16="http://schemas.microsoft.com/office/drawing/2014/main" id="{704D09A3-A08C-499C-A213-4FA36B7E7863}"/>
                </a:ext>
              </a:extLst>
            </p:cNvPr>
            <p:cNvSpPr/>
            <p:nvPr/>
          </p:nvSpPr>
          <p:spPr>
            <a:xfrm>
              <a:off x="5751608" y="2881324"/>
              <a:ext cx="49036" cy="49251"/>
            </a:xfrm>
            <a:custGeom>
              <a:avLst/>
              <a:gdLst>
                <a:gd name="connsiteX0" fmla="*/ 0 w 20915"/>
                <a:gd name="connsiteY0" fmla="*/ 10458 h 21008"/>
                <a:gd name="connsiteX1" fmla="*/ 10458 w 20915"/>
                <a:gd name="connsiteY1" fmla="*/ 0 h 21008"/>
                <a:gd name="connsiteX2" fmla="*/ 20916 w 20915"/>
                <a:gd name="connsiteY2" fmla="*/ 10458 h 21008"/>
                <a:gd name="connsiteX3" fmla="*/ 10458 w 20915"/>
                <a:gd name="connsiteY3" fmla="*/ 21009 h 21008"/>
                <a:gd name="connsiteX4" fmla="*/ 0 w 20915"/>
                <a:gd name="connsiteY4" fmla="*/ 10458 h 21008"/>
                <a:gd name="connsiteX5" fmla="*/ 0 w 20915"/>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458"/>
                  </a:moveTo>
                  <a:cubicBezTo>
                    <a:pt x="0" y="4669"/>
                    <a:pt x="4669" y="0"/>
                    <a:pt x="10458" y="0"/>
                  </a:cubicBezTo>
                  <a:cubicBezTo>
                    <a:pt x="16247" y="0"/>
                    <a:pt x="20916" y="4669"/>
                    <a:pt x="20916" y="10458"/>
                  </a:cubicBezTo>
                  <a:cubicBezTo>
                    <a:pt x="20916" y="16247"/>
                    <a:pt x="16247" y="21009"/>
                    <a:pt x="10458"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13" name="Freeform: Shape 2712">
              <a:extLst>
                <a:ext uri="{FF2B5EF4-FFF2-40B4-BE49-F238E27FC236}">
                  <a16:creationId xmlns:a16="http://schemas.microsoft.com/office/drawing/2014/main" id="{824C9159-8DA3-43F9-A4C8-323ACC57CBE1}"/>
                </a:ext>
              </a:extLst>
            </p:cNvPr>
            <p:cNvSpPr/>
            <p:nvPr/>
          </p:nvSpPr>
          <p:spPr>
            <a:xfrm>
              <a:off x="5767294" y="2860315"/>
              <a:ext cx="49036" cy="49251"/>
            </a:xfrm>
            <a:custGeom>
              <a:avLst/>
              <a:gdLst>
                <a:gd name="connsiteX0" fmla="*/ 0 w 20915"/>
                <a:gd name="connsiteY0" fmla="*/ 10645 h 21008"/>
                <a:gd name="connsiteX1" fmla="*/ 10458 w 20915"/>
                <a:gd name="connsiteY1" fmla="*/ 0 h 21008"/>
                <a:gd name="connsiteX2" fmla="*/ 20916 w 20915"/>
                <a:gd name="connsiteY2" fmla="*/ 10645 h 21008"/>
                <a:gd name="connsiteX3" fmla="*/ 10458 w 20915"/>
                <a:gd name="connsiteY3" fmla="*/ 21009 h 21008"/>
                <a:gd name="connsiteX4" fmla="*/ 0 w 20915"/>
                <a:gd name="connsiteY4" fmla="*/ 10645 h 21008"/>
                <a:gd name="connsiteX5" fmla="*/ 0 w 20915"/>
                <a:gd name="connsiteY5" fmla="*/ 10645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645"/>
                  </a:moveTo>
                  <a:cubicBezTo>
                    <a:pt x="0" y="4855"/>
                    <a:pt x="4669" y="0"/>
                    <a:pt x="10458" y="0"/>
                  </a:cubicBezTo>
                  <a:cubicBezTo>
                    <a:pt x="16247" y="0"/>
                    <a:pt x="20916" y="4855"/>
                    <a:pt x="20916" y="10645"/>
                  </a:cubicBezTo>
                  <a:cubicBezTo>
                    <a:pt x="20916" y="16434"/>
                    <a:pt x="16247" y="21009"/>
                    <a:pt x="10458" y="21009"/>
                  </a:cubicBezTo>
                  <a:cubicBezTo>
                    <a:pt x="4669" y="21009"/>
                    <a:pt x="0" y="16340"/>
                    <a:pt x="0" y="10645"/>
                  </a:cubicBezTo>
                  <a:lnTo>
                    <a:pt x="0" y="10645"/>
                  </a:lnTo>
                  <a:close/>
                </a:path>
              </a:pathLst>
            </a:custGeom>
            <a:grpFill/>
            <a:ln w="3175" cap="flat">
              <a:solidFill>
                <a:schemeClr val="bg1"/>
              </a:solidFill>
              <a:prstDash val="solid"/>
              <a:miter/>
            </a:ln>
          </p:spPr>
          <p:txBody>
            <a:bodyPr rtlCol="0" anchor="ctr"/>
            <a:lstStyle/>
            <a:p>
              <a:endParaRPr lang="en-GB" dirty="0"/>
            </a:p>
          </p:txBody>
        </p:sp>
        <p:sp>
          <p:nvSpPr>
            <p:cNvPr id="2714" name="Freeform: Shape 2713">
              <a:extLst>
                <a:ext uri="{FF2B5EF4-FFF2-40B4-BE49-F238E27FC236}">
                  <a16:creationId xmlns:a16="http://schemas.microsoft.com/office/drawing/2014/main" id="{FA0D9530-9198-47B6-84CC-6C4679BF330A}"/>
                </a:ext>
              </a:extLst>
            </p:cNvPr>
            <p:cNvSpPr/>
            <p:nvPr/>
          </p:nvSpPr>
          <p:spPr>
            <a:xfrm>
              <a:off x="5767234" y="2812228"/>
              <a:ext cx="49251" cy="49251"/>
            </a:xfrm>
            <a:custGeom>
              <a:avLst/>
              <a:gdLst>
                <a:gd name="connsiteX0" fmla="*/ 0 w 21008"/>
                <a:gd name="connsiteY0" fmla="*/ 10458 h 21008"/>
                <a:gd name="connsiteX1" fmla="*/ 10551 w 21008"/>
                <a:gd name="connsiteY1" fmla="*/ 0 h 21008"/>
                <a:gd name="connsiteX2" fmla="*/ 21009 w 21008"/>
                <a:gd name="connsiteY2" fmla="*/ 10458 h 21008"/>
                <a:gd name="connsiteX3" fmla="*/ 10551 w 21008"/>
                <a:gd name="connsiteY3" fmla="*/ 21009 h 21008"/>
                <a:gd name="connsiteX4" fmla="*/ 0 w 21008"/>
                <a:gd name="connsiteY4" fmla="*/ 10458 h 21008"/>
                <a:gd name="connsiteX5" fmla="*/ 0 w 21008"/>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458"/>
                  </a:moveTo>
                  <a:cubicBezTo>
                    <a:pt x="0" y="4669"/>
                    <a:pt x="4762" y="0"/>
                    <a:pt x="10551" y="0"/>
                  </a:cubicBezTo>
                  <a:cubicBezTo>
                    <a:pt x="16340" y="0"/>
                    <a:pt x="21009" y="4669"/>
                    <a:pt x="21009" y="10458"/>
                  </a:cubicBezTo>
                  <a:cubicBezTo>
                    <a:pt x="21009" y="16247"/>
                    <a:pt x="16434" y="21009"/>
                    <a:pt x="10551" y="21009"/>
                  </a:cubicBezTo>
                  <a:cubicBezTo>
                    <a:pt x="4669" y="21009"/>
                    <a:pt x="0" y="1634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15" name="Freeform: Shape 2714">
              <a:extLst>
                <a:ext uri="{FF2B5EF4-FFF2-40B4-BE49-F238E27FC236}">
                  <a16:creationId xmlns:a16="http://schemas.microsoft.com/office/drawing/2014/main" id="{05EE840C-97BE-464F-AC4B-A96AC837B333}"/>
                </a:ext>
              </a:extLst>
            </p:cNvPr>
            <p:cNvSpPr/>
            <p:nvPr/>
          </p:nvSpPr>
          <p:spPr>
            <a:xfrm>
              <a:off x="5747999" y="2938281"/>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458" y="0"/>
                  </a:cubicBezTo>
                  <a:cubicBezTo>
                    <a:pt x="16247" y="0"/>
                    <a:pt x="21009" y="4762"/>
                    <a:pt x="21009" y="10551"/>
                  </a:cubicBezTo>
                  <a:cubicBezTo>
                    <a:pt x="21009" y="16340"/>
                    <a:pt x="16340" y="21009"/>
                    <a:pt x="10458" y="21009"/>
                  </a:cubicBezTo>
                  <a:cubicBezTo>
                    <a:pt x="4575" y="21009"/>
                    <a:pt x="0" y="16247"/>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16" name="Freeform: Shape 2715">
              <a:extLst>
                <a:ext uri="{FF2B5EF4-FFF2-40B4-BE49-F238E27FC236}">
                  <a16:creationId xmlns:a16="http://schemas.microsoft.com/office/drawing/2014/main" id="{3A9DF745-2CAE-4AD8-9FF2-9EECDC67ADB3}"/>
                </a:ext>
              </a:extLst>
            </p:cNvPr>
            <p:cNvSpPr/>
            <p:nvPr/>
          </p:nvSpPr>
          <p:spPr>
            <a:xfrm>
              <a:off x="5767234" y="2914751"/>
              <a:ext cx="49251" cy="49251"/>
            </a:xfrm>
            <a:custGeom>
              <a:avLst/>
              <a:gdLst>
                <a:gd name="connsiteX0" fmla="*/ 0 w 21008"/>
                <a:gd name="connsiteY0" fmla="*/ 10551 h 21008"/>
                <a:gd name="connsiteX1" fmla="*/ 10551 w 21008"/>
                <a:gd name="connsiteY1" fmla="*/ 0 h 21008"/>
                <a:gd name="connsiteX2" fmla="*/ 21009 w 21008"/>
                <a:gd name="connsiteY2" fmla="*/ 10551 h 21008"/>
                <a:gd name="connsiteX3" fmla="*/ 10551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551" y="0"/>
                  </a:cubicBezTo>
                  <a:cubicBezTo>
                    <a:pt x="16434" y="0"/>
                    <a:pt x="21009" y="4762"/>
                    <a:pt x="21009" y="10551"/>
                  </a:cubicBezTo>
                  <a:cubicBezTo>
                    <a:pt x="21009" y="16340"/>
                    <a:pt x="16340" y="21009"/>
                    <a:pt x="10551" y="21009"/>
                  </a:cubicBezTo>
                  <a:cubicBezTo>
                    <a:pt x="4762" y="21009"/>
                    <a:pt x="0" y="16247"/>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17" name="Freeform: Shape 2716">
              <a:extLst>
                <a:ext uri="{FF2B5EF4-FFF2-40B4-BE49-F238E27FC236}">
                  <a16:creationId xmlns:a16="http://schemas.microsoft.com/office/drawing/2014/main" id="{3F7A77A0-35D5-4992-8B64-DB3C3C5CE04C}"/>
                </a:ext>
              </a:extLst>
            </p:cNvPr>
            <p:cNvSpPr/>
            <p:nvPr/>
          </p:nvSpPr>
          <p:spPr>
            <a:xfrm>
              <a:off x="5816349" y="2949640"/>
              <a:ext cx="49251" cy="49036"/>
            </a:xfrm>
            <a:custGeom>
              <a:avLst/>
              <a:gdLst>
                <a:gd name="connsiteX0" fmla="*/ 0 w 21008"/>
                <a:gd name="connsiteY0" fmla="*/ 10458 h 20915"/>
                <a:gd name="connsiteX1" fmla="*/ 10458 w 21008"/>
                <a:gd name="connsiteY1" fmla="*/ 0 h 20915"/>
                <a:gd name="connsiteX2" fmla="*/ 21009 w 21008"/>
                <a:gd name="connsiteY2" fmla="*/ 10458 h 20915"/>
                <a:gd name="connsiteX3" fmla="*/ 10458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575" y="0"/>
                    <a:pt x="10458" y="0"/>
                  </a:cubicBezTo>
                  <a:cubicBezTo>
                    <a:pt x="16340" y="0"/>
                    <a:pt x="21009" y="4669"/>
                    <a:pt x="21009" y="10458"/>
                  </a:cubicBezTo>
                  <a:cubicBezTo>
                    <a:pt x="21009"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18" name="Freeform: Shape 2717">
              <a:extLst>
                <a:ext uri="{FF2B5EF4-FFF2-40B4-BE49-F238E27FC236}">
                  <a16:creationId xmlns:a16="http://schemas.microsoft.com/office/drawing/2014/main" id="{2F05B0E2-A395-4120-8472-F2ADEE12B06E}"/>
                </a:ext>
              </a:extLst>
            </p:cNvPr>
            <p:cNvSpPr/>
            <p:nvPr/>
          </p:nvSpPr>
          <p:spPr>
            <a:xfrm>
              <a:off x="5785442" y="2970929"/>
              <a:ext cx="49251" cy="49036"/>
            </a:xfrm>
            <a:custGeom>
              <a:avLst/>
              <a:gdLst>
                <a:gd name="connsiteX0" fmla="*/ 0 w 21008"/>
                <a:gd name="connsiteY0" fmla="*/ 10458 h 20915"/>
                <a:gd name="connsiteX1" fmla="*/ 10551 w 21008"/>
                <a:gd name="connsiteY1" fmla="*/ 0 h 20915"/>
                <a:gd name="connsiteX2" fmla="*/ 21009 w 21008"/>
                <a:gd name="connsiteY2" fmla="*/ 10458 h 20915"/>
                <a:gd name="connsiteX3" fmla="*/ 10551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551" y="0"/>
                  </a:cubicBezTo>
                  <a:cubicBezTo>
                    <a:pt x="16433" y="0"/>
                    <a:pt x="21009" y="4669"/>
                    <a:pt x="21009" y="10458"/>
                  </a:cubicBezTo>
                  <a:cubicBezTo>
                    <a:pt x="21009" y="16247"/>
                    <a:pt x="16247" y="20916"/>
                    <a:pt x="10551" y="20916"/>
                  </a:cubicBezTo>
                  <a:cubicBezTo>
                    <a:pt x="4855"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19" name="Freeform: Shape 2718">
              <a:extLst>
                <a:ext uri="{FF2B5EF4-FFF2-40B4-BE49-F238E27FC236}">
                  <a16:creationId xmlns:a16="http://schemas.microsoft.com/office/drawing/2014/main" id="{883E712B-335D-4452-8518-C8FB485F8363}"/>
                </a:ext>
              </a:extLst>
            </p:cNvPr>
            <p:cNvSpPr/>
            <p:nvPr/>
          </p:nvSpPr>
          <p:spPr>
            <a:xfrm>
              <a:off x="5818930" y="2916679"/>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060"/>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20" name="Freeform: Shape 2719">
              <a:extLst>
                <a:ext uri="{FF2B5EF4-FFF2-40B4-BE49-F238E27FC236}">
                  <a16:creationId xmlns:a16="http://schemas.microsoft.com/office/drawing/2014/main" id="{D265ABC7-AF31-42F8-9159-1B2892CD481B}"/>
                </a:ext>
              </a:extLst>
            </p:cNvPr>
            <p:cNvSpPr/>
            <p:nvPr/>
          </p:nvSpPr>
          <p:spPr>
            <a:xfrm>
              <a:off x="6184239" y="2917833"/>
              <a:ext cx="49251" cy="49251"/>
            </a:xfrm>
            <a:custGeom>
              <a:avLst/>
              <a:gdLst>
                <a:gd name="connsiteX0" fmla="*/ 0 w 21008"/>
                <a:gd name="connsiteY0" fmla="*/ 10551 h 21008"/>
                <a:gd name="connsiteX1" fmla="*/ 10551 w 21008"/>
                <a:gd name="connsiteY1" fmla="*/ 0 h 21008"/>
                <a:gd name="connsiteX2" fmla="*/ 21009 w 21008"/>
                <a:gd name="connsiteY2" fmla="*/ 10551 h 21008"/>
                <a:gd name="connsiteX3" fmla="*/ 10551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762" y="0"/>
                    <a:pt x="10551" y="0"/>
                  </a:cubicBezTo>
                  <a:cubicBezTo>
                    <a:pt x="16340" y="0"/>
                    <a:pt x="21009" y="4762"/>
                    <a:pt x="21009" y="10551"/>
                  </a:cubicBezTo>
                  <a:cubicBezTo>
                    <a:pt x="21009" y="16340"/>
                    <a:pt x="16434" y="21009"/>
                    <a:pt x="10551"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21" name="Freeform: Shape 2720">
              <a:extLst>
                <a:ext uri="{FF2B5EF4-FFF2-40B4-BE49-F238E27FC236}">
                  <a16:creationId xmlns:a16="http://schemas.microsoft.com/office/drawing/2014/main" id="{64572E67-9373-415D-AA27-2024A5D53AE6}"/>
                </a:ext>
              </a:extLst>
            </p:cNvPr>
            <p:cNvSpPr/>
            <p:nvPr/>
          </p:nvSpPr>
          <p:spPr>
            <a:xfrm>
              <a:off x="6173781" y="2914004"/>
              <a:ext cx="49251" cy="49251"/>
            </a:xfrm>
            <a:custGeom>
              <a:avLst/>
              <a:gdLst>
                <a:gd name="connsiteX0" fmla="*/ 0 w 21008"/>
                <a:gd name="connsiteY0" fmla="*/ 10551 h 21008"/>
                <a:gd name="connsiteX1" fmla="*/ 10551 w 21008"/>
                <a:gd name="connsiteY1" fmla="*/ 0 h 21008"/>
                <a:gd name="connsiteX2" fmla="*/ 21009 w 21008"/>
                <a:gd name="connsiteY2" fmla="*/ 10551 h 21008"/>
                <a:gd name="connsiteX3" fmla="*/ 10551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762" y="0"/>
                    <a:pt x="10551" y="0"/>
                  </a:cubicBezTo>
                  <a:cubicBezTo>
                    <a:pt x="16340" y="0"/>
                    <a:pt x="21009" y="4762"/>
                    <a:pt x="21009" y="10551"/>
                  </a:cubicBezTo>
                  <a:cubicBezTo>
                    <a:pt x="21009" y="16340"/>
                    <a:pt x="16434" y="21009"/>
                    <a:pt x="10551"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22" name="Freeform: Shape 2721">
              <a:extLst>
                <a:ext uri="{FF2B5EF4-FFF2-40B4-BE49-F238E27FC236}">
                  <a16:creationId xmlns:a16="http://schemas.microsoft.com/office/drawing/2014/main" id="{25B40A82-3D7C-4248-833E-F34000F650A2}"/>
                </a:ext>
              </a:extLst>
            </p:cNvPr>
            <p:cNvSpPr/>
            <p:nvPr/>
          </p:nvSpPr>
          <p:spPr>
            <a:xfrm>
              <a:off x="6396756" y="2924462"/>
              <a:ext cx="49251" cy="49251"/>
            </a:xfrm>
            <a:custGeom>
              <a:avLst/>
              <a:gdLst>
                <a:gd name="connsiteX0" fmla="*/ 0 w 21008"/>
                <a:gd name="connsiteY0" fmla="*/ 10551 h 21008"/>
                <a:gd name="connsiteX1" fmla="*/ 10551 w 21008"/>
                <a:gd name="connsiteY1" fmla="*/ 0 h 21008"/>
                <a:gd name="connsiteX2" fmla="*/ 21009 w 21008"/>
                <a:gd name="connsiteY2" fmla="*/ 10551 h 21008"/>
                <a:gd name="connsiteX3" fmla="*/ 10551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551" y="0"/>
                  </a:cubicBezTo>
                  <a:cubicBezTo>
                    <a:pt x="16434" y="0"/>
                    <a:pt x="21009" y="4669"/>
                    <a:pt x="21009" y="10551"/>
                  </a:cubicBezTo>
                  <a:cubicBezTo>
                    <a:pt x="21009" y="16434"/>
                    <a:pt x="16247" y="21009"/>
                    <a:pt x="10551" y="21009"/>
                  </a:cubicBezTo>
                  <a:cubicBezTo>
                    <a:pt x="4856"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23" name="Freeform: Shape 2722">
              <a:extLst>
                <a:ext uri="{FF2B5EF4-FFF2-40B4-BE49-F238E27FC236}">
                  <a16:creationId xmlns:a16="http://schemas.microsoft.com/office/drawing/2014/main" id="{ABAA5CCD-6E58-44E3-91C6-6A2BC6CCAE6A}"/>
                </a:ext>
              </a:extLst>
            </p:cNvPr>
            <p:cNvSpPr/>
            <p:nvPr/>
          </p:nvSpPr>
          <p:spPr>
            <a:xfrm>
              <a:off x="6064255" y="3070091"/>
              <a:ext cx="49251" cy="49036"/>
            </a:xfrm>
            <a:custGeom>
              <a:avLst/>
              <a:gdLst>
                <a:gd name="connsiteX0" fmla="*/ 0 w 21008"/>
                <a:gd name="connsiteY0" fmla="*/ 10458 h 20915"/>
                <a:gd name="connsiteX1" fmla="*/ 10644 w 21008"/>
                <a:gd name="connsiteY1" fmla="*/ 0 h 20915"/>
                <a:gd name="connsiteX2" fmla="*/ 21009 w 21008"/>
                <a:gd name="connsiteY2" fmla="*/ 10458 h 20915"/>
                <a:gd name="connsiteX3" fmla="*/ 1064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855" y="0"/>
                    <a:pt x="10644" y="0"/>
                  </a:cubicBezTo>
                  <a:cubicBezTo>
                    <a:pt x="16433" y="0"/>
                    <a:pt x="21009" y="4669"/>
                    <a:pt x="21009" y="10458"/>
                  </a:cubicBezTo>
                  <a:cubicBezTo>
                    <a:pt x="21009" y="16247"/>
                    <a:pt x="16340" y="20916"/>
                    <a:pt x="10644" y="20916"/>
                  </a:cubicBezTo>
                  <a:cubicBezTo>
                    <a:pt x="4948"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24" name="Freeform: Shape 2723">
              <a:extLst>
                <a:ext uri="{FF2B5EF4-FFF2-40B4-BE49-F238E27FC236}">
                  <a16:creationId xmlns:a16="http://schemas.microsoft.com/office/drawing/2014/main" id="{C15C663F-F14E-402E-9377-7CD30193493E}"/>
                </a:ext>
              </a:extLst>
            </p:cNvPr>
            <p:cNvSpPr/>
            <p:nvPr/>
          </p:nvSpPr>
          <p:spPr>
            <a:xfrm>
              <a:off x="6137272" y="2870926"/>
              <a:ext cx="49251" cy="49036"/>
            </a:xfrm>
            <a:custGeom>
              <a:avLst/>
              <a:gdLst>
                <a:gd name="connsiteX0" fmla="*/ 0 w 21008"/>
                <a:gd name="connsiteY0" fmla="*/ 10458 h 20915"/>
                <a:gd name="connsiteX1" fmla="*/ 10645 w 21008"/>
                <a:gd name="connsiteY1" fmla="*/ 0 h 20915"/>
                <a:gd name="connsiteX2" fmla="*/ 21009 w 21008"/>
                <a:gd name="connsiteY2" fmla="*/ 10458 h 20915"/>
                <a:gd name="connsiteX3" fmla="*/ 1064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856" y="0"/>
                    <a:pt x="10645" y="0"/>
                  </a:cubicBezTo>
                  <a:cubicBezTo>
                    <a:pt x="16434" y="0"/>
                    <a:pt x="21009" y="4669"/>
                    <a:pt x="21009" y="10458"/>
                  </a:cubicBezTo>
                  <a:cubicBezTo>
                    <a:pt x="21009" y="16247"/>
                    <a:pt x="16340" y="20916"/>
                    <a:pt x="10645" y="20916"/>
                  </a:cubicBezTo>
                  <a:cubicBezTo>
                    <a:pt x="494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25" name="Freeform: Shape 2724">
              <a:extLst>
                <a:ext uri="{FF2B5EF4-FFF2-40B4-BE49-F238E27FC236}">
                  <a16:creationId xmlns:a16="http://schemas.microsoft.com/office/drawing/2014/main" id="{4CB9BA5E-9269-41C0-BC63-DC66FC697CFB}"/>
                </a:ext>
              </a:extLst>
            </p:cNvPr>
            <p:cNvSpPr/>
            <p:nvPr/>
          </p:nvSpPr>
          <p:spPr>
            <a:xfrm>
              <a:off x="6108140" y="2866444"/>
              <a:ext cx="49251" cy="49036"/>
            </a:xfrm>
            <a:custGeom>
              <a:avLst/>
              <a:gdLst>
                <a:gd name="connsiteX0" fmla="*/ 0 w 21008"/>
                <a:gd name="connsiteY0" fmla="*/ 10458 h 20915"/>
                <a:gd name="connsiteX1" fmla="*/ 10645 w 21008"/>
                <a:gd name="connsiteY1" fmla="*/ 0 h 20915"/>
                <a:gd name="connsiteX2" fmla="*/ 21009 w 21008"/>
                <a:gd name="connsiteY2" fmla="*/ 10458 h 20915"/>
                <a:gd name="connsiteX3" fmla="*/ 1064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856" y="0"/>
                    <a:pt x="10645" y="0"/>
                  </a:cubicBezTo>
                  <a:cubicBezTo>
                    <a:pt x="16434" y="0"/>
                    <a:pt x="21009" y="4669"/>
                    <a:pt x="21009" y="10458"/>
                  </a:cubicBezTo>
                  <a:cubicBezTo>
                    <a:pt x="21009" y="16247"/>
                    <a:pt x="16340" y="20916"/>
                    <a:pt x="10645" y="20916"/>
                  </a:cubicBezTo>
                  <a:cubicBezTo>
                    <a:pt x="494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26" name="Freeform: Shape 2725">
              <a:extLst>
                <a:ext uri="{FF2B5EF4-FFF2-40B4-BE49-F238E27FC236}">
                  <a16:creationId xmlns:a16="http://schemas.microsoft.com/office/drawing/2014/main" id="{734C2AEC-FF49-47CF-8513-65C768371281}"/>
                </a:ext>
              </a:extLst>
            </p:cNvPr>
            <p:cNvSpPr/>
            <p:nvPr/>
          </p:nvSpPr>
          <p:spPr>
            <a:xfrm>
              <a:off x="5669192" y="3452548"/>
              <a:ext cx="49251" cy="49036"/>
            </a:xfrm>
            <a:custGeom>
              <a:avLst/>
              <a:gdLst>
                <a:gd name="connsiteX0" fmla="*/ 0 w 21008"/>
                <a:gd name="connsiteY0" fmla="*/ 10458 h 20915"/>
                <a:gd name="connsiteX1" fmla="*/ 10645 w 21008"/>
                <a:gd name="connsiteY1" fmla="*/ 0 h 20915"/>
                <a:gd name="connsiteX2" fmla="*/ 21009 w 21008"/>
                <a:gd name="connsiteY2" fmla="*/ 10458 h 20915"/>
                <a:gd name="connsiteX3" fmla="*/ 1064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855" y="0"/>
                    <a:pt x="10645" y="0"/>
                  </a:cubicBezTo>
                  <a:cubicBezTo>
                    <a:pt x="16434" y="0"/>
                    <a:pt x="21009" y="4669"/>
                    <a:pt x="21009" y="10458"/>
                  </a:cubicBezTo>
                  <a:cubicBezTo>
                    <a:pt x="21009" y="16247"/>
                    <a:pt x="16340" y="20916"/>
                    <a:pt x="10645" y="20916"/>
                  </a:cubicBezTo>
                  <a:cubicBezTo>
                    <a:pt x="494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27" name="Freeform: Shape 2726">
              <a:extLst>
                <a:ext uri="{FF2B5EF4-FFF2-40B4-BE49-F238E27FC236}">
                  <a16:creationId xmlns:a16="http://schemas.microsoft.com/office/drawing/2014/main" id="{65C5AC83-2D92-46C4-8CFF-5A0AA272448A}"/>
                </a:ext>
              </a:extLst>
            </p:cNvPr>
            <p:cNvSpPr/>
            <p:nvPr/>
          </p:nvSpPr>
          <p:spPr>
            <a:xfrm>
              <a:off x="6715813" y="3512993"/>
              <a:ext cx="49251" cy="49251"/>
            </a:xfrm>
            <a:custGeom>
              <a:avLst/>
              <a:gdLst>
                <a:gd name="connsiteX0" fmla="*/ 0 w 21008"/>
                <a:gd name="connsiteY0" fmla="*/ 10645 h 21008"/>
                <a:gd name="connsiteX1" fmla="*/ 10458 w 21008"/>
                <a:gd name="connsiteY1" fmla="*/ 0 h 21008"/>
                <a:gd name="connsiteX2" fmla="*/ 21009 w 21008"/>
                <a:gd name="connsiteY2" fmla="*/ 10645 h 21008"/>
                <a:gd name="connsiteX3" fmla="*/ 10458 w 21008"/>
                <a:gd name="connsiteY3" fmla="*/ 21009 h 21008"/>
                <a:gd name="connsiteX4" fmla="*/ 0 w 21008"/>
                <a:gd name="connsiteY4" fmla="*/ 10645 h 21008"/>
                <a:gd name="connsiteX5" fmla="*/ 0 w 21008"/>
                <a:gd name="connsiteY5" fmla="*/ 10645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645"/>
                  </a:moveTo>
                  <a:cubicBezTo>
                    <a:pt x="0" y="4855"/>
                    <a:pt x="4669" y="0"/>
                    <a:pt x="10458" y="0"/>
                  </a:cubicBezTo>
                  <a:cubicBezTo>
                    <a:pt x="16247" y="0"/>
                    <a:pt x="21009" y="4855"/>
                    <a:pt x="21009" y="10645"/>
                  </a:cubicBezTo>
                  <a:cubicBezTo>
                    <a:pt x="21009" y="16434"/>
                    <a:pt x="16247" y="21009"/>
                    <a:pt x="10458" y="21009"/>
                  </a:cubicBezTo>
                  <a:cubicBezTo>
                    <a:pt x="4669" y="21009"/>
                    <a:pt x="0" y="16340"/>
                    <a:pt x="0" y="10645"/>
                  </a:cubicBezTo>
                  <a:lnTo>
                    <a:pt x="0" y="10645"/>
                  </a:lnTo>
                  <a:close/>
                </a:path>
              </a:pathLst>
            </a:custGeom>
            <a:grpFill/>
            <a:ln w="3175" cap="flat">
              <a:solidFill>
                <a:schemeClr val="bg1"/>
              </a:solidFill>
              <a:prstDash val="solid"/>
              <a:miter/>
            </a:ln>
          </p:spPr>
          <p:txBody>
            <a:bodyPr rtlCol="0" anchor="ctr"/>
            <a:lstStyle/>
            <a:p>
              <a:endParaRPr lang="en-GB" dirty="0"/>
            </a:p>
          </p:txBody>
        </p:sp>
        <p:sp>
          <p:nvSpPr>
            <p:cNvPr id="2728" name="Freeform: Shape 2727">
              <a:extLst>
                <a:ext uri="{FF2B5EF4-FFF2-40B4-BE49-F238E27FC236}">
                  <a16:creationId xmlns:a16="http://schemas.microsoft.com/office/drawing/2014/main" id="{BF25556C-BF76-410B-A9CE-F90A24400F91}"/>
                </a:ext>
              </a:extLst>
            </p:cNvPr>
            <p:cNvSpPr/>
            <p:nvPr/>
          </p:nvSpPr>
          <p:spPr>
            <a:xfrm>
              <a:off x="7307672" y="3826134"/>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762" y="0"/>
                    <a:pt x="10458" y="0"/>
                  </a:cubicBezTo>
                  <a:cubicBezTo>
                    <a:pt x="16153"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29" name="Freeform: Shape 2728">
              <a:extLst>
                <a:ext uri="{FF2B5EF4-FFF2-40B4-BE49-F238E27FC236}">
                  <a16:creationId xmlns:a16="http://schemas.microsoft.com/office/drawing/2014/main" id="{CF868D2F-AAEC-411C-93BB-DE479295681E}"/>
                </a:ext>
              </a:extLst>
            </p:cNvPr>
            <p:cNvSpPr/>
            <p:nvPr/>
          </p:nvSpPr>
          <p:spPr>
            <a:xfrm>
              <a:off x="6253335" y="1737502"/>
              <a:ext cx="49251" cy="49251"/>
            </a:xfrm>
            <a:custGeom>
              <a:avLst/>
              <a:gdLst>
                <a:gd name="connsiteX0" fmla="*/ 0 w 21008"/>
                <a:gd name="connsiteY0" fmla="*/ 10551 h 21008"/>
                <a:gd name="connsiteX1" fmla="*/ 10458 w 21008"/>
                <a:gd name="connsiteY1" fmla="*/ 0 h 21008"/>
                <a:gd name="connsiteX2" fmla="*/ 21009 w 21008"/>
                <a:gd name="connsiteY2" fmla="*/ 10551 h 21008"/>
                <a:gd name="connsiteX3" fmla="*/ 10458 w 21008"/>
                <a:gd name="connsiteY3" fmla="*/ 21009 h 21008"/>
                <a:gd name="connsiteX4" fmla="*/ 0 w 21008"/>
                <a:gd name="connsiteY4" fmla="*/ 10551 h 21008"/>
                <a:gd name="connsiteX5" fmla="*/ 0 w 21008"/>
                <a:gd name="connsiteY5" fmla="*/ 10551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1008">
                  <a:moveTo>
                    <a:pt x="0" y="10551"/>
                  </a:moveTo>
                  <a:cubicBezTo>
                    <a:pt x="0" y="4762"/>
                    <a:pt x="4669" y="0"/>
                    <a:pt x="10458" y="0"/>
                  </a:cubicBezTo>
                  <a:cubicBezTo>
                    <a:pt x="16247" y="0"/>
                    <a:pt x="21009" y="4669"/>
                    <a:pt x="21009" y="10551"/>
                  </a:cubicBezTo>
                  <a:cubicBezTo>
                    <a:pt x="21009" y="16434"/>
                    <a:pt x="16247" y="21009"/>
                    <a:pt x="10458" y="21009"/>
                  </a:cubicBezTo>
                  <a:cubicBezTo>
                    <a:pt x="4669" y="21009"/>
                    <a:pt x="0" y="16340"/>
                    <a:pt x="0" y="10551"/>
                  </a:cubicBezTo>
                  <a:lnTo>
                    <a:pt x="0" y="10551"/>
                  </a:lnTo>
                  <a:close/>
                </a:path>
              </a:pathLst>
            </a:custGeom>
            <a:grpFill/>
            <a:ln w="3175" cap="flat">
              <a:solidFill>
                <a:schemeClr val="bg1"/>
              </a:solidFill>
              <a:prstDash val="solid"/>
              <a:miter/>
            </a:ln>
          </p:spPr>
          <p:txBody>
            <a:bodyPr rtlCol="0" anchor="ctr"/>
            <a:lstStyle/>
            <a:p>
              <a:endParaRPr lang="en-GB" dirty="0"/>
            </a:p>
          </p:txBody>
        </p:sp>
        <p:sp>
          <p:nvSpPr>
            <p:cNvPr id="2731" name="Freeform: Shape 2730">
              <a:extLst>
                <a:ext uri="{FF2B5EF4-FFF2-40B4-BE49-F238E27FC236}">
                  <a16:creationId xmlns:a16="http://schemas.microsoft.com/office/drawing/2014/main" id="{3CE87343-F9FB-4EDC-B74F-715C20B62824}"/>
                </a:ext>
              </a:extLst>
            </p:cNvPr>
            <p:cNvSpPr/>
            <p:nvPr/>
          </p:nvSpPr>
          <p:spPr>
            <a:xfrm>
              <a:off x="6086908" y="2876526"/>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620"/>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32" name="Freeform: Shape 2731">
              <a:extLst>
                <a:ext uri="{FF2B5EF4-FFF2-40B4-BE49-F238E27FC236}">
                  <a16:creationId xmlns:a16="http://schemas.microsoft.com/office/drawing/2014/main" id="{05C300D9-FA76-40D0-8456-3FF7D2C1BF89}"/>
                </a:ext>
              </a:extLst>
            </p:cNvPr>
            <p:cNvSpPr/>
            <p:nvPr/>
          </p:nvSpPr>
          <p:spPr>
            <a:xfrm>
              <a:off x="6018652" y="2982504"/>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620"/>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33" name="Freeform: Shape 2732">
              <a:extLst>
                <a:ext uri="{FF2B5EF4-FFF2-40B4-BE49-F238E27FC236}">
                  <a16:creationId xmlns:a16="http://schemas.microsoft.com/office/drawing/2014/main" id="{370743A2-A6D4-4D14-A9EF-7A4F704DA155}"/>
                </a:ext>
              </a:extLst>
            </p:cNvPr>
            <p:cNvSpPr/>
            <p:nvPr/>
          </p:nvSpPr>
          <p:spPr>
            <a:xfrm>
              <a:off x="6002499" y="2962803"/>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621"/>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34" name="Freeform: Shape 2733">
              <a:extLst>
                <a:ext uri="{FF2B5EF4-FFF2-40B4-BE49-F238E27FC236}">
                  <a16:creationId xmlns:a16="http://schemas.microsoft.com/office/drawing/2014/main" id="{491CEBB1-9674-41BF-B240-521AA4DDC7A7}"/>
                </a:ext>
              </a:extLst>
            </p:cNvPr>
            <p:cNvSpPr/>
            <p:nvPr/>
          </p:nvSpPr>
          <p:spPr>
            <a:xfrm>
              <a:off x="6040502" y="3100248"/>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855"/>
                    <a:pt x="4855" y="0"/>
                    <a:pt x="10738" y="0"/>
                  </a:cubicBezTo>
                  <a:cubicBezTo>
                    <a:pt x="16620" y="0"/>
                    <a:pt x="21476" y="4855"/>
                    <a:pt x="21476" y="10738"/>
                  </a:cubicBezTo>
                  <a:cubicBezTo>
                    <a:pt x="21476" y="16620"/>
                    <a:pt x="16714" y="21476"/>
                    <a:pt x="10738" y="21476"/>
                  </a:cubicBezTo>
                  <a:cubicBezTo>
                    <a:pt x="4762" y="21476"/>
                    <a:pt x="0" y="16620"/>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35" name="Freeform: Shape 2734">
              <a:extLst>
                <a:ext uri="{FF2B5EF4-FFF2-40B4-BE49-F238E27FC236}">
                  <a16:creationId xmlns:a16="http://schemas.microsoft.com/office/drawing/2014/main" id="{396FA2CA-4536-44CB-B0B4-99D8D80B9DF4}"/>
                </a:ext>
              </a:extLst>
            </p:cNvPr>
            <p:cNvSpPr/>
            <p:nvPr/>
          </p:nvSpPr>
          <p:spPr>
            <a:xfrm>
              <a:off x="6533512" y="3184471"/>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855"/>
                    <a:pt x="4856" y="0"/>
                    <a:pt x="10738" y="0"/>
                  </a:cubicBezTo>
                  <a:cubicBezTo>
                    <a:pt x="16620" y="0"/>
                    <a:pt x="21476" y="4855"/>
                    <a:pt x="21476" y="10738"/>
                  </a:cubicBezTo>
                  <a:cubicBezTo>
                    <a:pt x="21476" y="16620"/>
                    <a:pt x="16714" y="21476"/>
                    <a:pt x="10738" y="21476"/>
                  </a:cubicBezTo>
                  <a:cubicBezTo>
                    <a:pt x="4762"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36" name="Freeform: Shape 2735">
              <a:extLst>
                <a:ext uri="{FF2B5EF4-FFF2-40B4-BE49-F238E27FC236}">
                  <a16:creationId xmlns:a16="http://schemas.microsoft.com/office/drawing/2014/main" id="{8791E072-E383-4BCA-ACE2-203026660A85}"/>
                </a:ext>
              </a:extLst>
            </p:cNvPr>
            <p:cNvSpPr/>
            <p:nvPr/>
          </p:nvSpPr>
          <p:spPr>
            <a:xfrm>
              <a:off x="6316046" y="2649722"/>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37" name="Freeform: Shape 2736">
              <a:extLst>
                <a:ext uri="{FF2B5EF4-FFF2-40B4-BE49-F238E27FC236}">
                  <a16:creationId xmlns:a16="http://schemas.microsoft.com/office/drawing/2014/main" id="{4734E6A8-2404-4B79-8AEC-F3FF5CEC3E66}"/>
                </a:ext>
              </a:extLst>
            </p:cNvPr>
            <p:cNvSpPr/>
            <p:nvPr/>
          </p:nvSpPr>
          <p:spPr>
            <a:xfrm>
              <a:off x="6101007" y="2621057"/>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38" name="Freeform: Shape 2737">
              <a:extLst>
                <a:ext uri="{FF2B5EF4-FFF2-40B4-BE49-F238E27FC236}">
                  <a16:creationId xmlns:a16="http://schemas.microsoft.com/office/drawing/2014/main" id="{36861ECB-EB30-4636-BFA7-3949DCDB2FE9}"/>
                </a:ext>
              </a:extLst>
            </p:cNvPr>
            <p:cNvSpPr/>
            <p:nvPr/>
          </p:nvSpPr>
          <p:spPr>
            <a:xfrm>
              <a:off x="7115881" y="3818942"/>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855"/>
                    <a:pt x="4762" y="0"/>
                    <a:pt x="10738" y="0"/>
                  </a:cubicBezTo>
                  <a:cubicBezTo>
                    <a:pt x="16714" y="0"/>
                    <a:pt x="21476" y="4762"/>
                    <a:pt x="21476" y="10738"/>
                  </a:cubicBezTo>
                  <a:cubicBezTo>
                    <a:pt x="21476" y="16714"/>
                    <a:pt x="16714" y="21476"/>
                    <a:pt x="10738" y="21476"/>
                  </a:cubicBezTo>
                  <a:cubicBezTo>
                    <a:pt x="4762"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39" name="Freeform: Shape 2738">
              <a:extLst>
                <a:ext uri="{FF2B5EF4-FFF2-40B4-BE49-F238E27FC236}">
                  <a16:creationId xmlns:a16="http://schemas.microsoft.com/office/drawing/2014/main" id="{CF06AEF5-AB79-40F2-9B1B-6B548277EC77}"/>
                </a:ext>
              </a:extLst>
            </p:cNvPr>
            <p:cNvSpPr/>
            <p:nvPr/>
          </p:nvSpPr>
          <p:spPr>
            <a:xfrm>
              <a:off x="7224474" y="3801948"/>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855"/>
                    <a:pt x="4762" y="0"/>
                    <a:pt x="10738" y="0"/>
                  </a:cubicBezTo>
                  <a:cubicBezTo>
                    <a:pt x="16714" y="0"/>
                    <a:pt x="21476" y="4855"/>
                    <a:pt x="21476" y="10738"/>
                  </a:cubicBezTo>
                  <a:cubicBezTo>
                    <a:pt x="21476" y="16620"/>
                    <a:pt x="16714" y="21476"/>
                    <a:pt x="10738" y="21476"/>
                  </a:cubicBezTo>
                  <a:cubicBezTo>
                    <a:pt x="4762" y="21476"/>
                    <a:pt x="0" y="16620"/>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40" name="Freeform: Shape 2739">
              <a:extLst>
                <a:ext uri="{FF2B5EF4-FFF2-40B4-BE49-F238E27FC236}">
                  <a16:creationId xmlns:a16="http://schemas.microsoft.com/office/drawing/2014/main" id="{3D1F3A79-3066-4A8D-9004-1F7BB0E27F27}"/>
                </a:ext>
              </a:extLst>
            </p:cNvPr>
            <p:cNvSpPr/>
            <p:nvPr/>
          </p:nvSpPr>
          <p:spPr>
            <a:xfrm>
              <a:off x="7336522" y="3799053"/>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620" y="21476"/>
                    <a:pt x="10738" y="21476"/>
                  </a:cubicBezTo>
                  <a:cubicBezTo>
                    <a:pt x="4856"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41" name="Freeform: Shape 2740">
              <a:extLst>
                <a:ext uri="{FF2B5EF4-FFF2-40B4-BE49-F238E27FC236}">
                  <a16:creationId xmlns:a16="http://schemas.microsoft.com/office/drawing/2014/main" id="{4BDF77CC-34C3-4ADD-A5E8-6D4F1CC3443E}"/>
                </a:ext>
              </a:extLst>
            </p:cNvPr>
            <p:cNvSpPr/>
            <p:nvPr/>
          </p:nvSpPr>
          <p:spPr>
            <a:xfrm>
              <a:off x="9032459" y="3361693"/>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855"/>
                    <a:pt x="4762" y="0"/>
                    <a:pt x="10738" y="0"/>
                  </a:cubicBezTo>
                  <a:cubicBezTo>
                    <a:pt x="16714" y="0"/>
                    <a:pt x="21476" y="4855"/>
                    <a:pt x="21476" y="10738"/>
                  </a:cubicBezTo>
                  <a:cubicBezTo>
                    <a:pt x="21476" y="16620"/>
                    <a:pt x="16714" y="21476"/>
                    <a:pt x="10738" y="21476"/>
                  </a:cubicBezTo>
                  <a:cubicBezTo>
                    <a:pt x="4762" y="21476"/>
                    <a:pt x="0" y="16620"/>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42" name="Freeform: Shape 2741">
              <a:extLst>
                <a:ext uri="{FF2B5EF4-FFF2-40B4-BE49-F238E27FC236}">
                  <a16:creationId xmlns:a16="http://schemas.microsoft.com/office/drawing/2014/main" id="{0D645F52-8057-4281-B339-B0A947BC9996}"/>
                </a:ext>
              </a:extLst>
            </p:cNvPr>
            <p:cNvSpPr/>
            <p:nvPr/>
          </p:nvSpPr>
          <p:spPr>
            <a:xfrm>
              <a:off x="6041564" y="3031715"/>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6"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43" name="Freeform: Shape 2742">
              <a:extLst>
                <a:ext uri="{FF2B5EF4-FFF2-40B4-BE49-F238E27FC236}">
                  <a16:creationId xmlns:a16="http://schemas.microsoft.com/office/drawing/2014/main" id="{5B5D6D3E-B006-4CA5-A0E8-2BCA33686B3A}"/>
                </a:ext>
              </a:extLst>
            </p:cNvPr>
            <p:cNvSpPr/>
            <p:nvPr/>
          </p:nvSpPr>
          <p:spPr>
            <a:xfrm>
              <a:off x="6048941" y="299800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44" name="Freeform: Shape 2743">
              <a:extLst>
                <a:ext uri="{FF2B5EF4-FFF2-40B4-BE49-F238E27FC236}">
                  <a16:creationId xmlns:a16="http://schemas.microsoft.com/office/drawing/2014/main" id="{D98433B5-75C3-4A62-9FA6-B7878381C4E4}"/>
                </a:ext>
              </a:extLst>
            </p:cNvPr>
            <p:cNvSpPr/>
            <p:nvPr/>
          </p:nvSpPr>
          <p:spPr>
            <a:xfrm>
              <a:off x="6081809" y="2944691"/>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45" name="Freeform: Shape 2744">
              <a:extLst>
                <a:ext uri="{FF2B5EF4-FFF2-40B4-BE49-F238E27FC236}">
                  <a16:creationId xmlns:a16="http://schemas.microsoft.com/office/drawing/2014/main" id="{3531DB8E-73DD-49DA-BE60-72DFF39ED6E7}"/>
                </a:ext>
              </a:extLst>
            </p:cNvPr>
            <p:cNvSpPr/>
            <p:nvPr/>
          </p:nvSpPr>
          <p:spPr>
            <a:xfrm>
              <a:off x="6094041" y="2910983"/>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46" name="Freeform: Shape 2745">
              <a:extLst>
                <a:ext uri="{FF2B5EF4-FFF2-40B4-BE49-F238E27FC236}">
                  <a16:creationId xmlns:a16="http://schemas.microsoft.com/office/drawing/2014/main" id="{AC86E650-242D-43E1-851F-4F1FF7350047}"/>
                </a:ext>
              </a:extLst>
            </p:cNvPr>
            <p:cNvSpPr/>
            <p:nvPr/>
          </p:nvSpPr>
          <p:spPr>
            <a:xfrm>
              <a:off x="6059492" y="2896884"/>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47" name="Freeform: Shape 2746">
              <a:extLst>
                <a:ext uri="{FF2B5EF4-FFF2-40B4-BE49-F238E27FC236}">
                  <a16:creationId xmlns:a16="http://schemas.microsoft.com/office/drawing/2014/main" id="{7DE88BD7-53EC-4FDE-BACC-76DD97E2A9A8}"/>
                </a:ext>
              </a:extLst>
            </p:cNvPr>
            <p:cNvSpPr/>
            <p:nvPr/>
          </p:nvSpPr>
          <p:spPr>
            <a:xfrm>
              <a:off x="8655081" y="445369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3"/>
                    <a:pt x="16153" y="20916"/>
                    <a:pt x="10364" y="20916"/>
                  </a:cubicBezTo>
                  <a:cubicBezTo>
                    <a:pt x="4575" y="20916"/>
                    <a:pt x="0" y="16153"/>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48" name="Freeform: Shape 2747">
              <a:extLst>
                <a:ext uri="{FF2B5EF4-FFF2-40B4-BE49-F238E27FC236}">
                  <a16:creationId xmlns:a16="http://schemas.microsoft.com/office/drawing/2014/main" id="{FE3CAE8B-9744-4851-8CA0-D14E0B0AAD9E}"/>
                </a:ext>
              </a:extLst>
            </p:cNvPr>
            <p:cNvSpPr/>
            <p:nvPr/>
          </p:nvSpPr>
          <p:spPr>
            <a:xfrm>
              <a:off x="8665259" y="445388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49" name="Freeform: Shape 2748">
              <a:extLst>
                <a:ext uri="{FF2B5EF4-FFF2-40B4-BE49-F238E27FC236}">
                  <a16:creationId xmlns:a16="http://schemas.microsoft.com/office/drawing/2014/main" id="{C5298628-A245-4DBD-8A08-FA4B3F695CA4}"/>
                </a:ext>
              </a:extLst>
            </p:cNvPr>
            <p:cNvSpPr/>
            <p:nvPr/>
          </p:nvSpPr>
          <p:spPr>
            <a:xfrm>
              <a:off x="6612262" y="520992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0" name="Freeform: Shape 2749">
              <a:extLst>
                <a:ext uri="{FF2B5EF4-FFF2-40B4-BE49-F238E27FC236}">
                  <a16:creationId xmlns:a16="http://schemas.microsoft.com/office/drawing/2014/main" id="{16B7BAA1-DB00-498F-80C7-4A1A5C7E993D}"/>
                </a:ext>
              </a:extLst>
            </p:cNvPr>
            <p:cNvSpPr/>
            <p:nvPr/>
          </p:nvSpPr>
          <p:spPr>
            <a:xfrm>
              <a:off x="6711424" y="520992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1" name="Freeform: Shape 2750">
              <a:extLst>
                <a:ext uri="{FF2B5EF4-FFF2-40B4-BE49-F238E27FC236}">
                  <a16:creationId xmlns:a16="http://schemas.microsoft.com/office/drawing/2014/main" id="{F57D4F71-D78F-42A7-9985-A43B57D10593}"/>
                </a:ext>
              </a:extLst>
            </p:cNvPr>
            <p:cNvSpPr/>
            <p:nvPr/>
          </p:nvSpPr>
          <p:spPr>
            <a:xfrm>
              <a:off x="9944845" y="546063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3"/>
                    <a:pt x="16153" y="20916"/>
                    <a:pt x="10364" y="20916"/>
                  </a:cubicBezTo>
                  <a:cubicBezTo>
                    <a:pt x="4575" y="20916"/>
                    <a:pt x="0" y="16153"/>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2" name="Freeform: Shape 2751">
              <a:extLst>
                <a:ext uri="{FF2B5EF4-FFF2-40B4-BE49-F238E27FC236}">
                  <a16:creationId xmlns:a16="http://schemas.microsoft.com/office/drawing/2014/main" id="{A779230F-04CB-4C96-A852-5C1D766AC670}"/>
                </a:ext>
              </a:extLst>
            </p:cNvPr>
            <p:cNvSpPr/>
            <p:nvPr/>
          </p:nvSpPr>
          <p:spPr>
            <a:xfrm>
              <a:off x="5726990" y="3341994"/>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3" name="Freeform: Shape 2752">
              <a:extLst>
                <a:ext uri="{FF2B5EF4-FFF2-40B4-BE49-F238E27FC236}">
                  <a16:creationId xmlns:a16="http://schemas.microsoft.com/office/drawing/2014/main" id="{CDC3AC5F-4986-46E1-80F6-76F4220C1B31}"/>
                </a:ext>
              </a:extLst>
            </p:cNvPr>
            <p:cNvSpPr/>
            <p:nvPr/>
          </p:nvSpPr>
          <p:spPr>
            <a:xfrm>
              <a:off x="6171540" y="3287090"/>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4" name="Freeform: Shape 2753">
              <a:extLst>
                <a:ext uri="{FF2B5EF4-FFF2-40B4-BE49-F238E27FC236}">
                  <a16:creationId xmlns:a16="http://schemas.microsoft.com/office/drawing/2014/main" id="{A8C3DF03-28C2-47DA-88EB-6CEB77DFB5FD}"/>
                </a:ext>
              </a:extLst>
            </p:cNvPr>
            <p:cNvSpPr/>
            <p:nvPr/>
          </p:nvSpPr>
          <p:spPr>
            <a:xfrm>
              <a:off x="5876107" y="3042266"/>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5" name="Freeform: Shape 2754">
              <a:extLst>
                <a:ext uri="{FF2B5EF4-FFF2-40B4-BE49-F238E27FC236}">
                  <a16:creationId xmlns:a16="http://schemas.microsoft.com/office/drawing/2014/main" id="{80601356-5B95-456A-AC3B-594A31885A68}"/>
                </a:ext>
              </a:extLst>
            </p:cNvPr>
            <p:cNvSpPr/>
            <p:nvPr/>
          </p:nvSpPr>
          <p:spPr>
            <a:xfrm>
              <a:off x="5942122" y="297260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6" name="Freeform: Shape 2755">
              <a:extLst>
                <a:ext uri="{FF2B5EF4-FFF2-40B4-BE49-F238E27FC236}">
                  <a16:creationId xmlns:a16="http://schemas.microsoft.com/office/drawing/2014/main" id="{15BEDD75-386F-4F1D-9137-54AFD6950246}"/>
                </a:ext>
              </a:extLst>
            </p:cNvPr>
            <p:cNvSpPr/>
            <p:nvPr/>
          </p:nvSpPr>
          <p:spPr>
            <a:xfrm>
              <a:off x="5976390" y="2980453"/>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7" name="Freeform: Shape 2756">
              <a:extLst>
                <a:ext uri="{FF2B5EF4-FFF2-40B4-BE49-F238E27FC236}">
                  <a16:creationId xmlns:a16="http://schemas.microsoft.com/office/drawing/2014/main" id="{CD2351F0-961E-48BD-A28B-DECF6A2EE90E}"/>
                </a:ext>
              </a:extLst>
            </p:cNvPr>
            <p:cNvSpPr/>
            <p:nvPr/>
          </p:nvSpPr>
          <p:spPr>
            <a:xfrm>
              <a:off x="5952580" y="2927230"/>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8" name="Freeform: Shape 2757">
              <a:extLst>
                <a:ext uri="{FF2B5EF4-FFF2-40B4-BE49-F238E27FC236}">
                  <a16:creationId xmlns:a16="http://schemas.microsoft.com/office/drawing/2014/main" id="{FCECA2BD-A92A-4665-BE54-34E0CDEB29AA}"/>
                </a:ext>
              </a:extLst>
            </p:cNvPr>
            <p:cNvSpPr/>
            <p:nvPr/>
          </p:nvSpPr>
          <p:spPr>
            <a:xfrm>
              <a:off x="5970321" y="2945905"/>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59" name="Freeform: Shape 2758">
              <a:extLst>
                <a:ext uri="{FF2B5EF4-FFF2-40B4-BE49-F238E27FC236}">
                  <a16:creationId xmlns:a16="http://schemas.microsoft.com/office/drawing/2014/main" id="{32C4C8E4-2324-4C2E-BF32-8624C38ED546}"/>
                </a:ext>
              </a:extLst>
            </p:cNvPr>
            <p:cNvSpPr/>
            <p:nvPr/>
          </p:nvSpPr>
          <p:spPr>
            <a:xfrm>
              <a:off x="7813288" y="3940983"/>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60" name="Freeform: Shape 2759">
              <a:extLst>
                <a:ext uri="{FF2B5EF4-FFF2-40B4-BE49-F238E27FC236}">
                  <a16:creationId xmlns:a16="http://schemas.microsoft.com/office/drawing/2014/main" id="{CEAD0A34-05DC-456F-81DD-D72237D4D781}"/>
                </a:ext>
              </a:extLst>
            </p:cNvPr>
            <p:cNvSpPr/>
            <p:nvPr/>
          </p:nvSpPr>
          <p:spPr>
            <a:xfrm>
              <a:off x="7802737" y="3820718"/>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61" name="Freeform: Shape 2760">
              <a:extLst>
                <a:ext uri="{FF2B5EF4-FFF2-40B4-BE49-F238E27FC236}">
                  <a16:creationId xmlns:a16="http://schemas.microsoft.com/office/drawing/2014/main" id="{6416D4BD-A4D7-436F-8C63-EB61D222C92A}"/>
                </a:ext>
              </a:extLst>
            </p:cNvPr>
            <p:cNvSpPr/>
            <p:nvPr/>
          </p:nvSpPr>
          <p:spPr>
            <a:xfrm>
              <a:off x="7986402" y="4154901"/>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62" name="Freeform: Shape 2761">
              <a:extLst>
                <a:ext uri="{FF2B5EF4-FFF2-40B4-BE49-F238E27FC236}">
                  <a16:creationId xmlns:a16="http://schemas.microsoft.com/office/drawing/2014/main" id="{771298C7-B598-45B8-8706-70D92B13837C}"/>
                </a:ext>
              </a:extLst>
            </p:cNvPr>
            <p:cNvSpPr/>
            <p:nvPr/>
          </p:nvSpPr>
          <p:spPr>
            <a:xfrm>
              <a:off x="7995833" y="4123061"/>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63" name="Freeform: Shape 2762">
              <a:extLst>
                <a:ext uri="{FF2B5EF4-FFF2-40B4-BE49-F238E27FC236}">
                  <a16:creationId xmlns:a16="http://schemas.microsoft.com/office/drawing/2014/main" id="{5B7520B7-0714-4526-A18E-E874B9A8774C}"/>
                </a:ext>
              </a:extLst>
            </p:cNvPr>
            <p:cNvSpPr/>
            <p:nvPr/>
          </p:nvSpPr>
          <p:spPr>
            <a:xfrm>
              <a:off x="7928604" y="4119045"/>
              <a:ext cx="49036" cy="49036"/>
            </a:xfrm>
            <a:custGeom>
              <a:avLst/>
              <a:gdLst>
                <a:gd name="connsiteX0" fmla="*/ 0 w 20915"/>
                <a:gd name="connsiteY0" fmla="*/ 10458 h 20915"/>
                <a:gd name="connsiteX1" fmla="*/ 10458 w 20915"/>
                <a:gd name="connsiteY1" fmla="*/ 0 h 20915"/>
                <a:gd name="connsiteX2" fmla="*/ 20916 w 20915"/>
                <a:gd name="connsiteY2" fmla="*/ 10458 h 20915"/>
                <a:gd name="connsiteX3" fmla="*/ 10458 w 20915"/>
                <a:gd name="connsiteY3" fmla="*/ 20916 h 20915"/>
                <a:gd name="connsiteX4" fmla="*/ 0 w 20915"/>
                <a:gd name="connsiteY4" fmla="*/ 10458 h 20915"/>
                <a:gd name="connsiteX5" fmla="*/ 0 w 20915"/>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0915">
                  <a:moveTo>
                    <a:pt x="0" y="10458"/>
                  </a:moveTo>
                  <a:cubicBezTo>
                    <a:pt x="0" y="4669"/>
                    <a:pt x="4669" y="0"/>
                    <a:pt x="10458" y="0"/>
                  </a:cubicBezTo>
                  <a:cubicBezTo>
                    <a:pt x="16247" y="0"/>
                    <a:pt x="20916" y="4669"/>
                    <a:pt x="20916" y="10458"/>
                  </a:cubicBezTo>
                  <a:cubicBezTo>
                    <a:pt x="20916" y="16247"/>
                    <a:pt x="16247" y="20916"/>
                    <a:pt x="10458" y="20916"/>
                  </a:cubicBezTo>
                  <a:cubicBezTo>
                    <a:pt x="4669"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64" name="Freeform: Shape 2763">
              <a:extLst>
                <a:ext uri="{FF2B5EF4-FFF2-40B4-BE49-F238E27FC236}">
                  <a16:creationId xmlns:a16="http://schemas.microsoft.com/office/drawing/2014/main" id="{A7D2A6C0-452C-428D-861C-937B03E23170}"/>
                </a:ext>
              </a:extLst>
            </p:cNvPr>
            <p:cNvSpPr/>
            <p:nvPr/>
          </p:nvSpPr>
          <p:spPr>
            <a:xfrm>
              <a:off x="7966734" y="4004850"/>
              <a:ext cx="49251" cy="49036"/>
            </a:xfrm>
            <a:custGeom>
              <a:avLst/>
              <a:gdLst>
                <a:gd name="connsiteX0" fmla="*/ 0 w 21008"/>
                <a:gd name="connsiteY0" fmla="*/ 10458 h 20915"/>
                <a:gd name="connsiteX1" fmla="*/ 10551 w 21008"/>
                <a:gd name="connsiteY1" fmla="*/ 0 h 20915"/>
                <a:gd name="connsiteX2" fmla="*/ 21009 w 21008"/>
                <a:gd name="connsiteY2" fmla="*/ 10458 h 20915"/>
                <a:gd name="connsiteX3" fmla="*/ 10551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762" y="0"/>
                    <a:pt x="10551" y="0"/>
                  </a:cubicBezTo>
                  <a:cubicBezTo>
                    <a:pt x="16340" y="0"/>
                    <a:pt x="21009" y="4669"/>
                    <a:pt x="21009" y="10458"/>
                  </a:cubicBezTo>
                  <a:cubicBezTo>
                    <a:pt x="21009" y="16247"/>
                    <a:pt x="16247" y="20916"/>
                    <a:pt x="10551" y="20916"/>
                  </a:cubicBezTo>
                  <a:cubicBezTo>
                    <a:pt x="4855" y="20916"/>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65" name="Freeform: Shape 2764">
              <a:extLst>
                <a:ext uri="{FF2B5EF4-FFF2-40B4-BE49-F238E27FC236}">
                  <a16:creationId xmlns:a16="http://schemas.microsoft.com/office/drawing/2014/main" id="{0E77BAEC-5C60-48A5-A1A8-2EAC4BB93A14}"/>
                </a:ext>
              </a:extLst>
            </p:cNvPr>
            <p:cNvSpPr/>
            <p:nvPr/>
          </p:nvSpPr>
          <p:spPr>
            <a:xfrm>
              <a:off x="7928042" y="3687285"/>
              <a:ext cx="50349" cy="50348"/>
            </a:xfrm>
            <a:custGeom>
              <a:avLst/>
              <a:gdLst>
                <a:gd name="connsiteX0" fmla="*/ 0 w 21476"/>
                <a:gd name="connsiteY0" fmla="*/ 10738 h 21475"/>
                <a:gd name="connsiteX1" fmla="*/ 10738 w 21476"/>
                <a:gd name="connsiteY1" fmla="*/ 0 h 21475"/>
                <a:gd name="connsiteX2" fmla="*/ 21476 w 21476"/>
                <a:gd name="connsiteY2" fmla="*/ 10738 h 21475"/>
                <a:gd name="connsiteX3" fmla="*/ 10738 w 21476"/>
                <a:gd name="connsiteY3" fmla="*/ 21476 h 21475"/>
                <a:gd name="connsiteX4" fmla="*/ 0 w 21476"/>
                <a:gd name="connsiteY4" fmla="*/ 10738 h 21475"/>
                <a:gd name="connsiteX5" fmla="*/ 0 w 21476"/>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6"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66" name="Freeform: Shape 2765">
              <a:extLst>
                <a:ext uri="{FF2B5EF4-FFF2-40B4-BE49-F238E27FC236}">
                  <a16:creationId xmlns:a16="http://schemas.microsoft.com/office/drawing/2014/main" id="{A64B4E30-6C88-46C3-B25A-69524079928B}"/>
                </a:ext>
              </a:extLst>
            </p:cNvPr>
            <p:cNvSpPr/>
            <p:nvPr/>
          </p:nvSpPr>
          <p:spPr>
            <a:xfrm>
              <a:off x="7938779" y="3699050"/>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67" name="Freeform: Shape 2766">
              <a:extLst>
                <a:ext uri="{FF2B5EF4-FFF2-40B4-BE49-F238E27FC236}">
                  <a16:creationId xmlns:a16="http://schemas.microsoft.com/office/drawing/2014/main" id="{944D7ACE-93FC-4437-B196-084A1B71E2AA}"/>
                </a:ext>
              </a:extLst>
            </p:cNvPr>
            <p:cNvSpPr/>
            <p:nvPr/>
          </p:nvSpPr>
          <p:spPr>
            <a:xfrm>
              <a:off x="7906565" y="3699050"/>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68" name="Freeform: Shape 2767">
              <a:extLst>
                <a:ext uri="{FF2B5EF4-FFF2-40B4-BE49-F238E27FC236}">
                  <a16:creationId xmlns:a16="http://schemas.microsoft.com/office/drawing/2014/main" id="{02B8C9B5-9CB1-41C2-92CC-29F33B303067}"/>
                </a:ext>
              </a:extLst>
            </p:cNvPr>
            <p:cNvSpPr/>
            <p:nvPr/>
          </p:nvSpPr>
          <p:spPr>
            <a:xfrm>
              <a:off x="7874725" y="3743776"/>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69" name="Freeform: Shape 2768">
              <a:extLst>
                <a:ext uri="{FF2B5EF4-FFF2-40B4-BE49-F238E27FC236}">
                  <a16:creationId xmlns:a16="http://schemas.microsoft.com/office/drawing/2014/main" id="{D0EC37C9-4312-4222-B6D6-9A351C55DDA0}"/>
                </a:ext>
              </a:extLst>
            </p:cNvPr>
            <p:cNvSpPr/>
            <p:nvPr/>
          </p:nvSpPr>
          <p:spPr>
            <a:xfrm>
              <a:off x="8048306" y="3749659"/>
              <a:ext cx="50348" cy="50348"/>
            </a:xfrm>
            <a:custGeom>
              <a:avLst/>
              <a:gdLst>
                <a:gd name="connsiteX0" fmla="*/ 0 w 21475"/>
                <a:gd name="connsiteY0" fmla="*/ 10738 h 21475"/>
                <a:gd name="connsiteX1" fmla="*/ 10738 w 21475"/>
                <a:gd name="connsiteY1" fmla="*/ 0 h 21475"/>
                <a:gd name="connsiteX2" fmla="*/ 21476 w 21475"/>
                <a:gd name="connsiteY2" fmla="*/ 10738 h 21475"/>
                <a:gd name="connsiteX3" fmla="*/ 10738 w 21475"/>
                <a:gd name="connsiteY3" fmla="*/ 21476 h 21475"/>
                <a:gd name="connsiteX4" fmla="*/ 0 w 21475"/>
                <a:gd name="connsiteY4" fmla="*/ 10738 h 21475"/>
                <a:gd name="connsiteX5" fmla="*/ 0 w 21475"/>
                <a:gd name="connsiteY5" fmla="*/ 10738 h 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75" h="21475">
                  <a:moveTo>
                    <a:pt x="0" y="10738"/>
                  </a:moveTo>
                  <a:cubicBezTo>
                    <a:pt x="0" y="4762"/>
                    <a:pt x="4762" y="0"/>
                    <a:pt x="10738" y="0"/>
                  </a:cubicBezTo>
                  <a:cubicBezTo>
                    <a:pt x="16714" y="0"/>
                    <a:pt x="21476" y="4762"/>
                    <a:pt x="21476" y="10738"/>
                  </a:cubicBezTo>
                  <a:cubicBezTo>
                    <a:pt x="21476" y="16714"/>
                    <a:pt x="16714" y="21476"/>
                    <a:pt x="10738" y="21476"/>
                  </a:cubicBezTo>
                  <a:cubicBezTo>
                    <a:pt x="4762" y="21476"/>
                    <a:pt x="0" y="16714"/>
                    <a:pt x="0" y="10738"/>
                  </a:cubicBezTo>
                  <a:lnTo>
                    <a:pt x="0" y="10738"/>
                  </a:lnTo>
                  <a:close/>
                </a:path>
              </a:pathLst>
            </a:custGeom>
            <a:grpFill/>
            <a:ln w="3175" cap="flat">
              <a:solidFill>
                <a:schemeClr val="bg1"/>
              </a:solidFill>
              <a:prstDash val="solid"/>
              <a:miter/>
            </a:ln>
          </p:spPr>
          <p:txBody>
            <a:bodyPr rtlCol="0" anchor="ctr"/>
            <a:lstStyle/>
            <a:p>
              <a:endParaRPr lang="en-GB" dirty="0"/>
            </a:p>
          </p:txBody>
        </p:sp>
        <p:sp>
          <p:nvSpPr>
            <p:cNvPr id="2770" name="Freeform: Shape 2769">
              <a:extLst>
                <a:ext uri="{FF2B5EF4-FFF2-40B4-BE49-F238E27FC236}">
                  <a16:creationId xmlns:a16="http://schemas.microsoft.com/office/drawing/2014/main" id="{88F586EA-9F98-45A8-ADAF-10E0E898C9A7}"/>
                </a:ext>
              </a:extLst>
            </p:cNvPr>
            <p:cNvSpPr/>
            <p:nvPr/>
          </p:nvSpPr>
          <p:spPr>
            <a:xfrm>
              <a:off x="4525838" y="511477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71" name="Freeform: Shape 2770">
              <a:extLst>
                <a:ext uri="{FF2B5EF4-FFF2-40B4-BE49-F238E27FC236}">
                  <a16:creationId xmlns:a16="http://schemas.microsoft.com/office/drawing/2014/main" id="{72DCAB9E-2776-45F8-96AB-339135834F86}"/>
                </a:ext>
              </a:extLst>
            </p:cNvPr>
            <p:cNvSpPr/>
            <p:nvPr/>
          </p:nvSpPr>
          <p:spPr>
            <a:xfrm>
              <a:off x="4358233" y="2335431"/>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669"/>
                    <a:pt x="21009" y="10458"/>
                  </a:cubicBezTo>
                  <a:cubicBezTo>
                    <a:pt x="21009" y="16247"/>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72" name="Freeform: Shape 2771">
              <a:extLst>
                <a:ext uri="{FF2B5EF4-FFF2-40B4-BE49-F238E27FC236}">
                  <a16:creationId xmlns:a16="http://schemas.microsoft.com/office/drawing/2014/main" id="{AC9552F5-5043-4538-89E4-7C728F760804}"/>
                </a:ext>
              </a:extLst>
            </p:cNvPr>
            <p:cNvSpPr/>
            <p:nvPr/>
          </p:nvSpPr>
          <p:spPr>
            <a:xfrm>
              <a:off x="3639072" y="320146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73" name="Freeform: Shape 2772">
              <a:extLst>
                <a:ext uri="{FF2B5EF4-FFF2-40B4-BE49-F238E27FC236}">
                  <a16:creationId xmlns:a16="http://schemas.microsoft.com/office/drawing/2014/main" id="{39D0E238-2D10-4BCA-98E7-4221DF6D4D53}"/>
                </a:ext>
              </a:extLst>
            </p:cNvPr>
            <p:cNvSpPr/>
            <p:nvPr/>
          </p:nvSpPr>
          <p:spPr>
            <a:xfrm>
              <a:off x="3614889" y="3219488"/>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74" name="Freeform: Shape 2773">
              <a:extLst>
                <a:ext uri="{FF2B5EF4-FFF2-40B4-BE49-F238E27FC236}">
                  <a16:creationId xmlns:a16="http://schemas.microsoft.com/office/drawing/2014/main" id="{EA8EECCA-2CFE-4A87-B393-2CC9D6EA771D}"/>
                </a:ext>
              </a:extLst>
            </p:cNvPr>
            <p:cNvSpPr/>
            <p:nvPr/>
          </p:nvSpPr>
          <p:spPr>
            <a:xfrm>
              <a:off x="4556090" y="5155208"/>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75" name="Freeform: Shape 2774">
              <a:extLst>
                <a:ext uri="{FF2B5EF4-FFF2-40B4-BE49-F238E27FC236}">
                  <a16:creationId xmlns:a16="http://schemas.microsoft.com/office/drawing/2014/main" id="{A30A8361-C428-4CCC-9608-EAFE96A3C66E}"/>
                </a:ext>
              </a:extLst>
            </p:cNvPr>
            <p:cNvSpPr/>
            <p:nvPr/>
          </p:nvSpPr>
          <p:spPr>
            <a:xfrm>
              <a:off x="4449552" y="2515734"/>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669"/>
                    <a:pt x="21009" y="10458"/>
                  </a:cubicBezTo>
                  <a:cubicBezTo>
                    <a:pt x="21009" y="16247"/>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76" name="Freeform: Shape 2775">
              <a:extLst>
                <a:ext uri="{FF2B5EF4-FFF2-40B4-BE49-F238E27FC236}">
                  <a16:creationId xmlns:a16="http://schemas.microsoft.com/office/drawing/2014/main" id="{6A060FAC-7831-4B5C-B172-58D74FAE872A}"/>
                </a:ext>
              </a:extLst>
            </p:cNvPr>
            <p:cNvSpPr/>
            <p:nvPr/>
          </p:nvSpPr>
          <p:spPr>
            <a:xfrm>
              <a:off x="4440588" y="242488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669"/>
                    <a:pt x="21009" y="10458"/>
                  </a:cubicBezTo>
                  <a:cubicBezTo>
                    <a:pt x="21009" y="16247"/>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77" name="Freeform: Shape 2776">
              <a:extLst>
                <a:ext uri="{FF2B5EF4-FFF2-40B4-BE49-F238E27FC236}">
                  <a16:creationId xmlns:a16="http://schemas.microsoft.com/office/drawing/2014/main" id="{F10FBADE-6C2B-4EA3-8A6A-95AF7048E7CC}"/>
                </a:ext>
              </a:extLst>
            </p:cNvPr>
            <p:cNvSpPr/>
            <p:nvPr/>
          </p:nvSpPr>
          <p:spPr>
            <a:xfrm>
              <a:off x="4614449" y="5044934"/>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78" name="Freeform: Shape 2777">
              <a:extLst>
                <a:ext uri="{FF2B5EF4-FFF2-40B4-BE49-F238E27FC236}">
                  <a16:creationId xmlns:a16="http://schemas.microsoft.com/office/drawing/2014/main" id="{EFFDBDB7-2903-4457-B198-F4473F88D05C}"/>
                </a:ext>
              </a:extLst>
            </p:cNvPr>
            <p:cNvSpPr/>
            <p:nvPr/>
          </p:nvSpPr>
          <p:spPr>
            <a:xfrm>
              <a:off x="4625000" y="5131024"/>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79" name="Freeform: Shape 2778">
              <a:extLst>
                <a:ext uri="{FF2B5EF4-FFF2-40B4-BE49-F238E27FC236}">
                  <a16:creationId xmlns:a16="http://schemas.microsoft.com/office/drawing/2014/main" id="{ADFB5712-899C-4472-AEFD-31AE63A393AD}"/>
                </a:ext>
              </a:extLst>
            </p:cNvPr>
            <p:cNvSpPr/>
            <p:nvPr/>
          </p:nvSpPr>
          <p:spPr>
            <a:xfrm>
              <a:off x="4582142" y="511010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80" name="Freeform: Shape 2779">
              <a:extLst>
                <a:ext uri="{FF2B5EF4-FFF2-40B4-BE49-F238E27FC236}">
                  <a16:creationId xmlns:a16="http://schemas.microsoft.com/office/drawing/2014/main" id="{B6670240-8D3B-4910-9F61-8135D722F52E}"/>
                </a:ext>
              </a:extLst>
            </p:cNvPr>
            <p:cNvSpPr/>
            <p:nvPr/>
          </p:nvSpPr>
          <p:spPr>
            <a:xfrm>
              <a:off x="2459047" y="3094036"/>
              <a:ext cx="49304" cy="49310"/>
            </a:xfrm>
            <a:custGeom>
              <a:avLst/>
              <a:gdLst>
                <a:gd name="connsiteX0" fmla="*/ 145 w 21031"/>
                <a:gd name="connsiteY0" fmla="*/ 9404 h 21033"/>
                <a:gd name="connsiteX1" fmla="*/ 11537 w 21031"/>
                <a:gd name="connsiteY1" fmla="*/ 67 h 21033"/>
                <a:gd name="connsiteX2" fmla="*/ 20968 w 21031"/>
                <a:gd name="connsiteY2" fmla="*/ 11645 h 21033"/>
                <a:gd name="connsiteX3" fmla="*/ 9296 w 21031"/>
                <a:gd name="connsiteY3" fmla="*/ 20983 h 21033"/>
                <a:gd name="connsiteX4" fmla="*/ 52 w 21031"/>
                <a:gd name="connsiteY4" fmla="*/ 9404 h 21033"/>
                <a:gd name="connsiteX5" fmla="*/ 52 w 21031"/>
                <a:gd name="connsiteY5" fmla="*/ 9404 h 2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 h="21033">
                  <a:moveTo>
                    <a:pt x="145" y="9404"/>
                  </a:moveTo>
                  <a:cubicBezTo>
                    <a:pt x="799" y="3615"/>
                    <a:pt x="5935" y="-587"/>
                    <a:pt x="11537" y="67"/>
                  </a:cubicBezTo>
                  <a:cubicBezTo>
                    <a:pt x="17139" y="721"/>
                    <a:pt x="21621" y="5856"/>
                    <a:pt x="20968" y="11645"/>
                  </a:cubicBezTo>
                  <a:cubicBezTo>
                    <a:pt x="20314" y="17434"/>
                    <a:pt x="15085" y="21543"/>
                    <a:pt x="9296" y="20983"/>
                  </a:cubicBezTo>
                  <a:cubicBezTo>
                    <a:pt x="3507" y="20422"/>
                    <a:pt x="-508" y="15193"/>
                    <a:pt x="52" y="9404"/>
                  </a:cubicBezTo>
                  <a:lnTo>
                    <a:pt x="52" y="9404"/>
                  </a:lnTo>
                  <a:close/>
                </a:path>
              </a:pathLst>
            </a:custGeom>
            <a:grpFill/>
            <a:ln w="3175" cap="flat">
              <a:solidFill>
                <a:schemeClr val="bg1"/>
              </a:solidFill>
              <a:prstDash val="solid"/>
              <a:miter/>
            </a:ln>
          </p:spPr>
          <p:txBody>
            <a:bodyPr rtlCol="0" anchor="ctr"/>
            <a:lstStyle/>
            <a:p>
              <a:endParaRPr lang="en-GB" dirty="0"/>
            </a:p>
          </p:txBody>
        </p:sp>
        <p:sp>
          <p:nvSpPr>
            <p:cNvPr id="2781" name="Freeform: Shape 2780">
              <a:extLst>
                <a:ext uri="{FF2B5EF4-FFF2-40B4-BE49-F238E27FC236}">
                  <a16:creationId xmlns:a16="http://schemas.microsoft.com/office/drawing/2014/main" id="{29BF72ED-DBCE-4060-90EA-3281E3DA3092}"/>
                </a:ext>
              </a:extLst>
            </p:cNvPr>
            <p:cNvSpPr/>
            <p:nvPr/>
          </p:nvSpPr>
          <p:spPr>
            <a:xfrm>
              <a:off x="2449217" y="3394936"/>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82" name="Freeform: Shape 2781">
              <a:extLst>
                <a:ext uri="{FF2B5EF4-FFF2-40B4-BE49-F238E27FC236}">
                  <a16:creationId xmlns:a16="http://schemas.microsoft.com/office/drawing/2014/main" id="{4B538354-BA03-47E6-A412-C78802F98D27}"/>
                </a:ext>
              </a:extLst>
            </p:cNvPr>
            <p:cNvSpPr/>
            <p:nvPr/>
          </p:nvSpPr>
          <p:spPr>
            <a:xfrm>
              <a:off x="2594599" y="352976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669"/>
                    <a:pt x="21009" y="10458"/>
                  </a:cubicBezTo>
                  <a:cubicBezTo>
                    <a:pt x="21009" y="16247"/>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83" name="Freeform: Shape 2782">
              <a:extLst>
                <a:ext uri="{FF2B5EF4-FFF2-40B4-BE49-F238E27FC236}">
                  <a16:creationId xmlns:a16="http://schemas.microsoft.com/office/drawing/2014/main" id="{9A2387E1-D64F-4BB0-8072-C8CF813EE2D1}"/>
                </a:ext>
              </a:extLst>
            </p:cNvPr>
            <p:cNvSpPr/>
            <p:nvPr/>
          </p:nvSpPr>
          <p:spPr>
            <a:xfrm>
              <a:off x="2754548" y="354031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84" name="Freeform: Shape 2783">
              <a:extLst>
                <a:ext uri="{FF2B5EF4-FFF2-40B4-BE49-F238E27FC236}">
                  <a16:creationId xmlns:a16="http://schemas.microsoft.com/office/drawing/2014/main" id="{2B3ECBC1-B109-440B-8455-34DBCDAB578D}"/>
                </a:ext>
              </a:extLst>
            </p:cNvPr>
            <p:cNvSpPr/>
            <p:nvPr/>
          </p:nvSpPr>
          <p:spPr>
            <a:xfrm>
              <a:off x="3346721" y="365824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85" name="Freeform: Shape 2784">
              <a:extLst>
                <a:ext uri="{FF2B5EF4-FFF2-40B4-BE49-F238E27FC236}">
                  <a16:creationId xmlns:a16="http://schemas.microsoft.com/office/drawing/2014/main" id="{53774DEA-74E4-4456-9B29-8F2674E7BEE7}"/>
                </a:ext>
              </a:extLst>
            </p:cNvPr>
            <p:cNvSpPr/>
            <p:nvPr/>
          </p:nvSpPr>
          <p:spPr>
            <a:xfrm>
              <a:off x="3558024" y="370558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86" name="Freeform: Shape 2785">
              <a:extLst>
                <a:ext uri="{FF2B5EF4-FFF2-40B4-BE49-F238E27FC236}">
                  <a16:creationId xmlns:a16="http://schemas.microsoft.com/office/drawing/2014/main" id="{7EB06432-D178-43C8-A524-AFB5F5C13A2E}"/>
                </a:ext>
              </a:extLst>
            </p:cNvPr>
            <p:cNvSpPr/>
            <p:nvPr/>
          </p:nvSpPr>
          <p:spPr>
            <a:xfrm>
              <a:off x="3568575" y="3301190"/>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87" name="Freeform: Shape 2786">
              <a:extLst>
                <a:ext uri="{FF2B5EF4-FFF2-40B4-BE49-F238E27FC236}">
                  <a16:creationId xmlns:a16="http://schemas.microsoft.com/office/drawing/2014/main" id="{CA28DDC4-D3CC-474E-9B35-A057DF0C4DF0}"/>
                </a:ext>
              </a:extLst>
            </p:cNvPr>
            <p:cNvSpPr/>
            <p:nvPr/>
          </p:nvSpPr>
          <p:spPr>
            <a:xfrm>
              <a:off x="3887352" y="3209030"/>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88" name="Freeform: Shape 2787">
              <a:extLst>
                <a:ext uri="{FF2B5EF4-FFF2-40B4-BE49-F238E27FC236}">
                  <a16:creationId xmlns:a16="http://schemas.microsoft.com/office/drawing/2014/main" id="{9E87D738-40BA-43FE-BBFB-9505AA2A1DEB}"/>
                </a:ext>
              </a:extLst>
            </p:cNvPr>
            <p:cNvSpPr/>
            <p:nvPr/>
          </p:nvSpPr>
          <p:spPr>
            <a:xfrm>
              <a:off x="3870918" y="3238536"/>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89" name="Freeform: Shape 2788">
              <a:extLst>
                <a:ext uri="{FF2B5EF4-FFF2-40B4-BE49-F238E27FC236}">
                  <a16:creationId xmlns:a16="http://schemas.microsoft.com/office/drawing/2014/main" id="{605CED1A-7EA9-40DD-A063-808E106A6EF3}"/>
                </a:ext>
              </a:extLst>
            </p:cNvPr>
            <p:cNvSpPr/>
            <p:nvPr/>
          </p:nvSpPr>
          <p:spPr>
            <a:xfrm>
              <a:off x="3782027" y="3257304"/>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0" name="Freeform: Shape 2789">
              <a:extLst>
                <a:ext uri="{FF2B5EF4-FFF2-40B4-BE49-F238E27FC236}">
                  <a16:creationId xmlns:a16="http://schemas.microsoft.com/office/drawing/2014/main" id="{33AAC871-B802-4909-9306-B848D4805B3C}"/>
                </a:ext>
              </a:extLst>
            </p:cNvPr>
            <p:cNvSpPr/>
            <p:nvPr/>
          </p:nvSpPr>
          <p:spPr>
            <a:xfrm>
              <a:off x="3838424" y="3240217"/>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1" name="Freeform: Shape 2790">
              <a:extLst>
                <a:ext uri="{FF2B5EF4-FFF2-40B4-BE49-F238E27FC236}">
                  <a16:creationId xmlns:a16="http://schemas.microsoft.com/office/drawing/2014/main" id="{CA378BB5-4BE8-438D-AAFB-8F8089D730CD}"/>
                </a:ext>
              </a:extLst>
            </p:cNvPr>
            <p:cNvSpPr/>
            <p:nvPr/>
          </p:nvSpPr>
          <p:spPr>
            <a:xfrm>
              <a:off x="3754575" y="323704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2" name="Freeform: Shape 2791">
              <a:extLst>
                <a:ext uri="{FF2B5EF4-FFF2-40B4-BE49-F238E27FC236}">
                  <a16:creationId xmlns:a16="http://schemas.microsoft.com/office/drawing/2014/main" id="{C7B8910F-0A80-48ED-AB95-665810EDB85B}"/>
                </a:ext>
              </a:extLst>
            </p:cNvPr>
            <p:cNvSpPr/>
            <p:nvPr/>
          </p:nvSpPr>
          <p:spPr>
            <a:xfrm>
              <a:off x="3775117" y="3291852"/>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3" name="Freeform: Shape 2792">
              <a:extLst>
                <a:ext uri="{FF2B5EF4-FFF2-40B4-BE49-F238E27FC236}">
                  <a16:creationId xmlns:a16="http://schemas.microsoft.com/office/drawing/2014/main" id="{F09388C4-7C07-4620-9D45-3028F1C21A16}"/>
                </a:ext>
              </a:extLst>
            </p:cNvPr>
            <p:cNvSpPr/>
            <p:nvPr/>
          </p:nvSpPr>
          <p:spPr>
            <a:xfrm>
              <a:off x="3800608" y="330333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4" name="Freeform: Shape 2793">
              <a:extLst>
                <a:ext uri="{FF2B5EF4-FFF2-40B4-BE49-F238E27FC236}">
                  <a16:creationId xmlns:a16="http://schemas.microsoft.com/office/drawing/2014/main" id="{2D480C55-4CD8-4BC7-8540-981FEFF9232F}"/>
                </a:ext>
              </a:extLst>
            </p:cNvPr>
            <p:cNvSpPr/>
            <p:nvPr/>
          </p:nvSpPr>
          <p:spPr>
            <a:xfrm>
              <a:off x="3736180" y="3281301"/>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5" name="Freeform: Shape 2794">
              <a:extLst>
                <a:ext uri="{FF2B5EF4-FFF2-40B4-BE49-F238E27FC236}">
                  <a16:creationId xmlns:a16="http://schemas.microsoft.com/office/drawing/2014/main" id="{9088F25A-86FB-48B4-B2C8-32F0A1776F39}"/>
                </a:ext>
              </a:extLst>
            </p:cNvPr>
            <p:cNvSpPr/>
            <p:nvPr/>
          </p:nvSpPr>
          <p:spPr>
            <a:xfrm>
              <a:off x="3725909" y="324395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6" name="Freeform: Shape 2795">
              <a:extLst>
                <a:ext uri="{FF2B5EF4-FFF2-40B4-BE49-F238E27FC236}">
                  <a16:creationId xmlns:a16="http://schemas.microsoft.com/office/drawing/2014/main" id="{09D81A01-FE06-4C98-9EB7-96A66F0BD490}"/>
                </a:ext>
              </a:extLst>
            </p:cNvPr>
            <p:cNvSpPr/>
            <p:nvPr/>
          </p:nvSpPr>
          <p:spPr>
            <a:xfrm>
              <a:off x="3720680" y="325235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7" name="Freeform: Shape 2796">
              <a:extLst>
                <a:ext uri="{FF2B5EF4-FFF2-40B4-BE49-F238E27FC236}">
                  <a16:creationId xmlns:a16="http://schemas.microsoft.com/office/drawing/2014/main" id="{D3D81859-D291-4332-B52E-F25842C00C7A}"/>
                </a:ext>
              </a:extLst>
            </p:cNvPr>
            <p:cNvSpPr/>
            <p:nvPr/>
          </p:nvSpPr>
          <p:spPr>
            <a:xfrm>
              <a:off x="3701352" y="3238630"/>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8" name="Freeform: Shape 2797">
              <a:extLst>
                <a:ext uri="{FF2B5EF4-FFF2-40B4-BE49-F238E27FC236}">
                  <a16:creationId xmlns:a16="http://schemas.microsoft.com/office/drawing/2014/main" id="{90A65ACF-512B-4A5B-87CD-DF7E32FE400E}"/>
                </a:ext>
              </a:extLst>
            </p:cNvPr>
            <p:cNvSpPr/>
            <p:nvPr/>
          </p:nvSpPr>
          <p:spPr>
            <a:xfrm>
              <a:off x="3612741" y="348746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799" name="Freeform: Shape 2798">
              <a:extLst>
                <a:ext uri="{FF2B5EF4-FFF2-40B4-BE49-F238E27FC236}">
                  <a16:creationId xmlns:a16="http://schemas.microsoft.com/office/drawing/2014/main" id="{9D55309D-A9C3-4D4B-BC84-408B2DB96B8B}"/>
                </a:ext>
              </a:extLst>
            </p:cNvPr>
            <p:cNvSpPr/>
            <p:nvPr/>
          </p:nvSpPr>
          <p:spPr>
            <a:xfrm>
              <a:off x="3631882" y="3454695"/>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0" name="Freeform: Shape 2799">
              <a:extLst>
                <a:ext uri="{FF2B5EF4-FFF2-40B4-BE49-F238E27FC236}">
                  <a16:creationId xmlns:a16="http://schemas.microsoft.com/office/drawing/2014/main" id="{A30077F8-8358-43AA-8516-E27336C0FBDE}"/>
                </a:ext>
              </a:extLst>
            </p:cNvPr>
            <p:cNvSpPr/>
            <p:nvPr/>
          </p:nvSpPr>
          <p:spPr>
            <a:xfrm>
              <a:off x="3673994" y="345945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1" name="Freeform: Shape 2800">
              <a:extLst>
                <a:ext uri="{FF2B5EF4-FFF2-40B4-BE49-F238E27FC236}">
                  <a16:creationId xmlns:a16="http://schemas.microsoft.com/office/drawing/2014/main" id="{D3477454-7FD6-419F-A8D8-AA2F901A8DBD}"/>
                </a:ext>
              </a:extLst>
            </p:cNvPr>
            <p:cNvSpPr/>
            <p:nvPr/>
          </p:nvSpPr>
          <p:spPr>
            <a:xfrm>
              <a:off x="3723388" y="345469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2" name="Freeform: Shape 2801">
              <a:extLst>
                <a:ext uri="{FF2B5EF4-FFF2-40B4-BE49-F238E27FC236}">
                  <a16:creationId xmlns:a16="http://schemas.microsoft.com/office/drawing/2014/main" id="{7A7A30BC-E00F-48EA-9254-B8D06EBA5FEE}"/>
                </a:ext>
              </a:extLst>
            </p:cNvPr>
            <p:cNvSpPr/>
            <p:nvPr/>
          </p:nvSpPr>
          <p:spPr>
            <a:xfrm>
              <a:off x="3685385" y="3418000"/>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3" name="Freeform: Shape 2802">
              <a:extLst>
                <a:ext uri="{FF2B5EF4-FFF2-40B4-BE49-F238E27FC236}">
                  <a16:creationId xmlns:a16="http://schemas.microsoft.com/office/drawing/2014/main" id="{631A0601-4935-41A9-8AAF-AFF8A8BE7617}"/>
                </a:ext>
              </a:extLst>
            </p:cNvPr>
            <p:cNvSpPr/>
            <p:nvPr/>
          </p:nvSpPr>
          <p:spPr>
            <a:xfrm>
              <a:off x="3623290" y="3402033"/>
              <a:ext cx="49255" cy="49036"/>
            </a:xfrm>
            <a:custGeom>
              <a:avLst/>
              <a:gdLst>
                <a:gd name="connsiteX0" fmla="*/ 0 w 21009"/>
                <a:gd name="connsiteY0" fmla="*/ 10458 h 20915"/>
                <a:gd name="connsiteX1" fmla="*/ 10364 w 21009"/>
                <a:gd name="connsiteY1" fmla="*/ 0 h 20915"/>
                <a:gd name="connsiteX2" fmla="*/ 21009 w 21009"/>
                <a:gd name="connsiteY2" fmla="*/ 10458 h 20915"/>
                <a:gd name="connsiteX3" fmla="*/ 10364 w 21009"/>
                <a:gd name="connsiteY3" fmla="*/ 20916 h 20915"/>
                <a:gd name="connsiteX4" fmla="*/ 0 w 21009"/>
                <a:gd name="connsiteY4" fmla="*/ 10458 h 20915"/>
                <a:gd name="connsiteX5" fmla="*/ 0 w 21009"/>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9"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4" name="Freeform: Shape 2803">
              <a:extLst>
                <a:ext uri="{FF2B5EF4-FFF2-40B4-BE49-F238E27FC236}">
                  <a16:creationId xmlns:a16="http://schemas.microsoft.com/office/drawing/2014/main" id="{75297CD1-31FA-4DD5-A5E4-A33A89C85F64}"/>
                </a:ext>
              </a:extLst>
            </p:cNvPr>
            <p:cNvSpPr/>
            <p:nvPr/>
          </p:nvSpPr>
          <p:spPr>
            <a:xfrm>
              <a:off x="3695750" y="3384665"/>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5" name="Freeform: Shape 2804">
              <a:extLst>
                <a:ext uri="{FF2B5EF4-FFF2-40B4-BE49-F238E27FC236}">
                  <a16:creationId xmlns:a16="http://schemas.microsoft.com/office/drawing/2014/main" id="{044089D9-5096-419F-8994-9954B0EE8C29}"/>
                </a:ext>
              </a:extLst>
            </p:cNvPr>
            <p:cNvSpPr/>
            <p:nvPr/>
          </p:nvSpPr>
          <p:spPr>
            <a:xfrm>
              <a:off x="3706301" y="3374394"/>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6" name="Freeform: Shape 2805">
              <a:extLst>
                <a:ext uri="{FF2B5EF4-FFF2-40B4-BE49-F238E27FC236}">
                  <a16:creationId xmlns:a16="http://schemas.microsoft.com/office/drawing/2014/main" id="{09AD0FDE-3687-4C32-AB63-81B9E64ADACE}"/>
                </a:ext>
              </a:extLst>
            </p:cNvPr>
            <p:cNvSpPr/>
            <p:nvPr/>
          </p:nvSpPr>
          <p:spPr>
            <a:xfrm>
              <a:off x="3698831" y="3349931"/>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7" name="Freeform: Shape 2806">
              <a:extLst>
                <a:ext uri="{FF2B5EF4-FFF2-40B4-BE49-F238E27FC236}">
                  <a16:creationId xmlns:a16="http://schemas.microsoft.com/office/drawing/2014/main" id="{5626071D-4F74-45A7-B68E-D6D6E4288840}"/>
                </a:ext>
              </a:extLst>
            </p:cNvPr>
            <p:cNvSpPr/>
            <p:nvPr/>
          </p:nvSpPr>
          <p:spPr>
            <a:xfrm>
              <a:off x="3636925" y="3319584"/>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8" name="Freeform: Shape 2807">
              <a:extLst>
                <a:ext uri="{FF2B5EF4-FFF2-40B4-BE49-F238E27FC236}">
                  <a16:creationId xmlns:a16="http://schemas.microsoft.com/office/drawing/2014/main" id="{8AFD3680-D48C-46B8-8500-9A023EBE618D}"/>
                </a:ext>
              </a:extLst>
            </p:cNvPr>
            <p:cNvSpPr/>
            <p:nvPr/>
          </p:nvSpPr>
          <p:spPr>
            <a:xfrm>
              <a:off x="3747665" y="3349931"/>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09" name="Freeform: Shape 2808">
              <a:extLst>
                <a:ext uri="{FF2B5EF4-FFF2-40B4-BE49-F238E27FC236}">
                  <a16:creationId xmlns:a16="http://schemas.microsoft.com/office/drawing/2014/main" id="{E5629D6B-5E28-42E0-BC3B-45657B99236C}"/>
                </a:ext>
              </a:extLst>
            </p:cNvPr>
            <p:cNvSpPr/>
            <p:nvPr/>
          </p:nvSpPr>
          <p:spPr>
            <a:xfrm>
              <a:off x="3746638" y="3335458"/>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0" name="Freeform: Shape 2809">
              <a:extLst>
                <a:ext uri="{FF2B5EF4-FFF2-40B4-BE49-F238E27FC236}">
                  <a16:creationId xmlns:a16="http://schemas.microsoft.com/office/drawing/2014/main" id="{C44676D5-78F0-40E6-8622-EB687E08C10C}"/>
                </a:ext>
              </a:extLst>
            </p:cNvPr>
            <p:cNvSpPr/>
            <p:nvPr/>
          </p:nvSpPr>
          <p:spPr>
            <a:xfrm>
              <a:off x="3831794" y="3270096"/>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1" name="Freeform: Shape 2810">
              <a:extLst>
                <a:ext uri="{FF2B5EF4-FFF2-40B4-BE49-F238E27FC236}">
                  <a16:creationId xmlns:a16="http://schemas.microsoft.com/office/drawing/2014/main" id="{3A23D34C-A749-41F2-A43C-F3AF9455B257}"/>
                </a:ext>
              </a:extLst>
            </p:cNvPr>
            <p:cNvSpPr/>
            <p:nvPr/>
          </p:nvSpPr>
          <p:spPr>
            <a:xfrm>
              <a:off x="3739542" y="3343581"/>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2" name="Freeform: Shape 2811">
              <a:extLst>
                <a:ext uri="{FF2B5EF4-FFF2-40B4-BE49-F238E27FC236}">
                  <a16:creationId xmlns:a16="http://schemas.microsoft.com/office/drawing/2014/main" id="{F487469B-D1C4-4544-BC15-B78448E39967}"/>
                </a:ext>
              </a:extLst>
            </p:cNvPr>
            <p:cNvSpPr/>
            <p:nvPr/>
          </p:nvSpPr>
          <p:spPr>
            <a:xfrm>
              <a:off x="3776798" y="333433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3" name="Freeform: Shape 2812">
              <a:extLst>
                <a:ext uri="{FF2B5EF4-FFF2-40B4-BE49-F238E27FC236}">
                  <a16:creationId xmlns:a16="http://schemas.microsoft.com/office/drawing/2014/main" id="{58ECA74B-C5A1-42C7-BEC8-5DF81A30A902}"/>
                </a:ext>
              </a:extLst>
            </p:cNvPr>
            <p:cNvSpPr/>
            <p:nvPr/>
          </p:nvSpPr>
          <p:spPr>
            <a:xfrm>
              <a:off x="3723388" y="331024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4" name="Freeform: Shape 2813">
              <a:extLst>
                <a:ext uri="{FF2B5EF4-FFF2-40B4-BE49-F238E27FC236}">
                  <a16:creationId xmlns:a16="http://schemas.microsoft.com/office/drawing/2014/main" id="{462244E0-FAB5-4FC1-A3B0-8A1E45E4FA00}"/>
                </a:ext>
              </a:extLst>
            </p:cNvPr>
            <p:cNvSpPr/>
            <p:nvPr/>
          </p:nvSpPr>
          <p:spPr>
            <a:xfrm>
              <a:off x="3860087" y="3226304"/>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5" name="Freeform: Shape 2814">
              <a:extLst>
                <a:ext uri="{FF2B5EF4-FFF2-40B4-BE49-F238E27FC236}">
                  <a16:creationId xmlns:a16="http://schemas.microsoft.com/office/drawing/2014/main" id="{06E8A2AF-C8EE-41AF-90DB-A9DD5B705EFB}"/>
                </a:ext>
              </a:extLst>
            </p:cNvPr>
            <p:cNvSpPr/>
            <p:nvPr/>
          </p:nvSpPr>
          <p:spPr>
            <a:xfrm>
              <a:off x="3309091" y="363163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6" name="Freeform: Shape 2815">
              <a:extLst>
                <a:ext uri="{FF2B5EF4-FFF2-40B4-BE49-F238E27FC236}">
                  <a16:creationId xmlns:a16="http://schemas.microsoft.com/office/drawing/2014/main" id="{24B936E4-B2C4-4855-AB37-32FFB478B90C}"/>
                </a:ext>
              </a:extLst>
            </p:cNvPr>
            <p:cNvSpPr/>
            <p:nvPr/>
          </p:nvSpPr>
          <p:spPr>
            <a:xfrm>
              <a:off x="3297046" y="356422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7" name="Freeform: Shape 2816">
              <a:extLst>
                <a:ext uri="{FF2B5EF4-FFF2-40B4-BE49-F238E27FC236}">
                  <a16:creationId xmlns:a16="http://schemas.microsoft.com/office/drawing/2014/main" id="{DDC51D8D-F435-43E2-99A7-361ED1C7F5DC}"/>
                </a:ext>
              </a:extLst>
            </p:cNvPr>
            <p:cNvSpPr/>
            <p:nvPr/>
          </p:nvSpPr>
          <p:spPr>
            <a:xfrm>
              <a:off x="3288269" y="348746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8" name="Freeform: Shape 2817">
              <a:extLst>
                <a:ext uri="{FF2B5EF4-FFF2-40B4-BE49-F238E27FC236}">
                  <a16:creationId xmlns:a16="http://schemas.microsoft.com/office/drawing/2014/main" id="{CCDADAD4-DD09-4C63-9DB3-2B82EAEF7D45}"/>
                </a:ext>
              </a:extLst>
            </p:cNvPr>
            <p:cNvSpPr/>
            <p:nvPr/>
          </p:nvSpPr>
          <p:spPr>
            <a:xfrm>
              <a:off x="3144754" y="3621180"/>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19" name="Freeform: Shape 2818">
              <a:extLst>
                <a:ext uri="{FF2B5EF4-FFF2-40B4-BE49-F238E27FC236}">
                  <a16:creationId xmlns:a16="http://schemas.microsoft.com/office/drawing/2014/main" id="{753C52F2-FAA8-43E6-A6B5-ECA70EC1CDCC}"/>
                </a:ext>
              </a:extLst>
            </p:cNvPr>
            <p:cNvSpPr/>
            <p:nvPr/>
          </p:nvSpPr>
          <p:spPr>
            <a:xfrm>
              <a:off x="2853337" y="3402033"/>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0" name="Freeform: Shape 2819">
              <a:extLst>
                <a:ext uri="{FF2B5EF4-FFF2-40B4-BE49-F238E27FC236}">
                  <a16:creationId xmlns:a16="http://schemas.microsoft.com/office/drawing/2014/main" id="{CE49B50E-0860-4084-858C-F4A0F163F678}"/>
                </a:ext>
              </a:extLst>
            </p:cNvPr>
            <p:cNvSpPr/>
            <p:nvPr/>
          </p:nvSpPr>
          <p:spPr>
            <a:xfrm>
              <a:off x="2914496" y="3351144"/>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1" name="Freeform: Shape 2820">
              <a:extLst>
                <a:ext uri="{FF2B5EF4-FFF2-40B4-BE49-F238E27FC236}">
                  <a16:creationId xmlns:a16="http://schemas.microsoft.com/office/drawing/2014/main" id="{DA1A00B2-9FDD-48C6-8797-DFCD38B20C42}"/>
                </a:ext>
              </a:extLst>
            </p:cNvPr>
            <p:cNvSpPr/>
            <p:nvPr/>
          </p:nvSpPr>
          <p:spPr>
            <a:xfrm>
              <a:off x="2727470" y="328167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2" name="Freeform: Shape 2821">
              <a:extLst>
                <a:ext uri="{FF2B5EF4-FFF2-40B4-BE49-F238E27FC236}">
                  <a16:creationId xmlns:a16="http://schemas.microsoft.com/office/drawing/2014/main" id="{302924DB-3015-4C74-A744-7C1B9C11DD8D}"/>
                </a:ext>
              </a:extLst>
            </p:cNvPr>
            <p:cNvSpPr/>
            <p:nvPr/>
          </p:nvSpPr>
          <p:spPr>
            <a:xfrm>
              <a:off x="3222347" y="336589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3" name="Freeform: Shape 2822">
              <a:extLst>
                <a:ext uri="{FF2B5EF4-FFF2-40B4-BE49-F238E27FC236}">
                  <a16:creationId xmlns:a16="http://schemas.microsoft.com/office/drawing/2014/main" id="{8364B1FD-15F8-4865-ACCE-E994C954EE05}"/>
                </a:ext>
              </a:extLst>
            </p:cNvPr>
            <p:cNvSpPr/>
            <p:nvPr/>
          </p:nvSpPr>
          <p:spPr>
            <a:xfrm>
              <a:off x="3367730" y="339269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4" name="Freeform: Shape 2823">
              <a:extLst>
                <a:ext uri="{FF2B5EF4-FFF2-40B4-BE49-F238E27FC236}">
                  <a16:creationId xmlns:a16="http://schemas.microsoft.com/office/drawing/2014/main" id="{B292756B-474D-423F-888F-3F76B94EA469}"/>
                </a:ext>
              </a:extLst>
            </p:cNvPr>
            <p:cNvSpPr/>
            <p:nvPr/>
          </p:nvSpPr>
          <p:spPr>
            <a:xfrm>
              <a:off x="3448217" y="334591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5" name="Freeform: Shape 2824">
              <a:extLst>
                <a:ext uri="{FF2B5EF4-FFF2-40B4-BE49-F238E27FC236}">
                  <a16:creationId xmlns:a16="http://schemas.microsoft.com/office/drawing/2014/main" id="{3E4A53D6-DB41-4E18-A2CB-1A2107D7BAE5}"/>
                </a:ext>
              </a:extLst>
            </p:cNvPr>
            <p:cNvSpPr/>
            <p:nvPr/>
          </p:nvSpPr>
          <p:spPr>
            <a:xfrm>
              <a:off x="3518527" y="339148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6" name="Freeform: Shape 2825">
              <a:extLst>
                <a:ext uri="{FF2B5EF4-FFF2-40B4-BE49-F238E27FC236}">
                  <a16:creationId xmlns:a16="http://schemas.microsoft.com/office/drawing/2014/main" id="{583DB202-5231-4FC5-A087-32C575673DE1}"/>
                </a:ext>
              </a:extLst>
            </p:cNvPr>
            <p:cNvSpPr/>
            <p:nvPr/>
          </p:nvSpPr>
          <p:spPr>
            <a:xfrm>
              <a:off x="3399757" y="328167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7" name="Freeform: Shape 2826">
              <a:extLst>
                <a:ext uri="{FF2B5EF4-FFF2-40B4-BE49-F238E27FC236}">
                  <a16:creationId xmlns:a16="http://schemas.microsoft.com/office/drawing/2014/main" id="{8CCA8C29-9F16-48F4-93C2-3180D0BCC531}"/>
                </a:ext>
              </a:extLst>
            </p:cNvPr>
            <p:cNvSpPr/>
            <p:nvPr/>
          </p:nvSpPr>
          <p:spPr>
            <a:xfrm>
              <a:off x="3518527" y="325543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8" name="Freeform: Shape 2827">
              <a:extLst>
                <a:ext uri="{FF2B5EF4-FFF2-40B4-BE49-F238E27FC236}">
                  <a16:creationId xmlns:a16="http://schemas.microsoft.com/office/drawing/2014/main" id="{2C641A89-3BDE-42F9-9260-FD4263385677}"/>
                </a:ext>
              </a:extLst>
            </p:cNvPr>
            <p:cNvSpPr/>
            <p:nvPr/>
          </p:nvSpPr>
          <p:spPr>
            <a:xfrm>
              <a:off x="3125986" y="348625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29" name="Freeform: Shape 2828">
              <a:extLst>
                <a:ext uri="{FF2B5EF4-FFF2-40B4-BE49-F238E27FC236}">
                  <a16:creationId xmlns:a16="http://schemas.microsoft.com/office/drawing/2014/main" id="{34342C47-E87E-4740-BB32-E0ECA15FAF6C}"/>
                </a:ext>
              </a:extLst>
            </p:cNvPr>
            <p:cNvSpPr/>
            <p:nvPr/>
          </p:nvSpPr>
          <p:spPr>
            <a:xfrm>
              <a:off x="2922713" y="331454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0" name="Freeform: Shape 2829">
              <a:extLst>
                <a:ext uri="{FF2B5EF4-FFF2-40B4-BE49-F238E27FC236}">
                  <a16:creationId xmlns:a16="http://schemas.microsoft.com/office/drawing/2014/main" id="{D3A0BB91-DC33-416D-B05D-9507DA738425}"/>
                </a:ext>
              </a:extLst>
            </p:cNvPr>
            <p:cNvSpPr/>
            <p:nvPr/>
          </p:nvSpPr>
          <p:spPr>
            <a:xfrm>
              <a:off x="2563133" y="3518936"/>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1" name="Freeform: Shape 2830">
              <a:extLst>
                <a:ext uri="{FF2B5EF4-FFF2-40B4-BE49-F238E27FC236}">
                  <a16:creationId xmlns:a16="http://schemas.microsoft.com/office/drawing/2014/main" id="{BD193A9D-39FD-4A6D-9614-4DD1924423D2}"/>
                </a:ext>
              </a:extLst>
            </p:cNvPr>
            <p:cNvSpPr/>
            <p:nvPr/>
          </p:nvSpPr>
          <p:spPr>
            <a:xfrm>
              <a:off x="2463130" y="3071118"/>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669"/>
                    <a:pt x="21009" y="10458"/>
                  </a:cubicBezTo>
                  <a:cubicBezTo>
                    <a:pt x="21009" y="16247"/>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2" name="Freeform: Shape 2831">
              <a:extLst>
                <a:ext uri="{FF2B5EF4-FFF2-40B4-BE49-F238E27FC236}">
                  <a16:creationId xmlns:a16="http://schemas.microsoft.com/office/drawing/2014/main" id="{1FE1A74F-EE3E-40EE-B5DA-43BDC117B881}"/>
                </a:ext>
              </a:extLst>
            </p:cNvPr>
            <p:cNvSpPr/>
            <p:nvPr/>
          </p:nvSpPr>
          <p:spPr>
            <a:xfrm>
              <a:off x="2459829" y="3176943"/>
              <a:ext cx="49036" cy="49251"/>
            </a:xfrm>
            <a:custGeom>
              <a:avLst/>
              <a:gdLst>
                <a:gd name="connsiteX0" fmla="*/ 0 w 20915"/>
                <a:gd name="connsiteY0" fmla="*/ 10458 h 21008"/>
                <a:gd name="connsiteX1" fmla="*/ 10458 w 20915"/>
                <a:gd name="connsiteY1" fmla="*/ 0 h 21008"/>
                <a:gd name="connsiteX2" fmla="*/ 20916 w 20915"/>
                <a:gd name="connsiteY2" fmla="*/ 10458 h 21008"/>
                <a:gd name="connsiteX3" fmla="*/ 10458 w 20915"/>
                <a:gd name="connsiteY3" fmla="*/ 21009 h 21008"/>
                <a:gd name="connsiteX4" fmla="*/ 0 w 20915"/>
                <a:gd name="connsiteY4" fmla="*/ 10458 h 21008"/>
                <a:gd name="connsiteX5" fmla="*/ 0 w 20915"/>
                <a:gd name="connsiteY5" fmla="*/ 10458 h 2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15" h="21008">
                  <a:moveTo>
                    <a:pt x="0" y="10458"/>
                  </a:moveTo>
                  <a:cubicBezTo>
                    <a:pt x="0" y="4669"/>
                    <a:pt x="4669" y="0"/>
                    <a:pt x="10458" y="0"/>
                  </a:cubicBezTo>
                  <a:cubicBezTo>
                    <a:pt x="16247" y="0"/>
                    <a:pt x="20916" y="4575"/>
                    <a:pt x="20916" y="10458"/>
                  </a:cubicBezTo>
                  <a:cubicBezTo>
                    <a:pt x="20916" y="16340"/>
                    <a:pt x="16247" y="21009"/>
                    <a:pt x="10458" y="21009"/>
                  </a:cubicBezTo>
                  <a:cubicBezTo>
                    <a:pt x="4669" y="21009"/>
                    <a:pt x="0" y="16247"/>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3" name="Freeform: Shape 2832">
              <a:extLst>
                <a:ext uri="{FF2B5EF4-FFF2-40B4-BE49-F238E27FC236}">
                  <a16:creationId xmlns:a16="http://schemas.microsoft.com/office/drawing/2014/main" id="{84BBC993-90AB-4F2D-AE82-DE03842E3B99}"/>
                </a:ext>
              </a:extLst>
            </p:cNvPr>
            <p:cNvSpPr/>
            <p:nvPr/>
          </p:nvSpPr>
          <p:spPr>
            <a:xfrm>
              <a:off x="3198631" y="365488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4" name="Freeform: Shape 2833">
              <a:extLst>
                <a:ext uri="{FF2B5EF4-FFF2-40B4-BE49-F238E27FC236}">
                  <a16:creationId xmlns:a16="http://schemas.microsoft.com/office/drawing/2014/main" id="{39C99C16-CFC9-44B7-96E0-83E10D3B3BA7}"/>
                </a:ext>
              </a:extLst>
            </p:cNvPr>
            <p:cNvSpPr/>
            <p:nvPr/>
          </p:nvSpPr>
          <p:spPr>
            <a:xfrm>
              <a:off x="3173140" y="3547228"/>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5" name="Freeform: Shape 2834">
              <a:extLst>
                <a:ext uri="{FF2B5EF4-FFF2-40B4-BE49-F238E27FC236}">
                  <a16:creationId xmlns:a16="http://schemas.microsoft.com/office/drawing/2014/main" id="{B7B61F0B-2DE1-424F-A0EF-EECEC3D36276}"/>
                </a:ext>
              </a:extLst>
            </p:cNvPr>
            <p:cNvSpPr/>
            <p:nvPr/>
          </p:nvSpPr>
          <p:spPr>
            <a:xfrm>
              <a:off x="3545045" y="334628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6" name="Freeform: Shape 2835">
              <a:extLst>
                <a:ext uri="{FF2B5EF4-FFF2-40B4-BE49-F238E27FC236}">
                  <a16:creationId xmlns:a16="http://schemas.microsoft.com/office/drawing/2014/main" id="{E1C6C02E-28AF-4747-B99F-B1DD3319D20B}"/>
                </a:ext>
              </a:extLst>
            </p:cNvPr>
            <p:cNvSpPr/>
            <p:nvPr/>
          </p:nvSpPr>
          <p:spPr>
            <a:xfrm>
              <a:off x="2468172" y="342369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7" name="Freeform: Shape 2836">
              <a:extLst>
                <a:ext uri="{FF2B5EF4-FFF2-40B4-BE49-F238E27FC236}">
                  <a16:creationId xmlns:a16="http://schemas.microsoft.com/office/drawing/2014/main" id="{C2545D8A-BBAB-4C69-BA3F-12D111861AB3}"/>
                </a:ext>
              </a:extLst>
            </p:cNvPr>
            <p:cNvSpPr/>
            <p:nvPr/>
          </p:nvSpPr>
          <p:spPr>
            <a:xfrm>
              <a:off x="5806358" y="3176350"/>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8" name="Freeform: Shape 2837">
              <a:extLst>
                <a:ext uri="{FF2B5EF4-FFF2-40B4-BE49-F238E27FC236}">
                  <a16:creationId xmlns:a16="http://schemas.microsoft.com/office/drawing/2014/main" id="{855F0EC6-C52D-4769-A35F-6E2EBE1D246D}"/>
                </a:ext>
              </a:extLst>
            </p:cNvPr>
            <p:cNvSpPr/>
            <p:nvPr/>
          </p:nvSpPr>
          <p:spPr>
            <a:xfrm>
              <a:off x="3066881" y="3780941"/>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39" name="Freeform: Shape 2838">
              <a:extLst>
                <a:ext uri="{FF2B5EF4-FFF2-40B4-BE49-F238E27FC236}">
                  <a16:creationId xmlns:a16="http://schemas.microsoft.com/office/drawing/2014/main" id="{1054E98D-77CA-49AC-8577-D3C6162594D7}"/>
                </a:ext>
              </a:extLst>
            </p:cNvPr>
            <p:cNvSpPr/>
            <p:nvPr/>
          </p:nvSpPr>
          <p:spPr>
            <a:xfrm>
              <a:off x="3094146" y="3940516"/>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0" name="Freeform: Shape 2839">
              <a:extLst>
                <a:ext uri="{FF2B5EF4-FFF2-40B4-BE49-F238E27FC236}">
                  <a16:creationId xmlns:a16="http://schemas.microsoft.com/office/drawing/2014/main" id="{AFA7F068-908D-4E3D-8F36-EE3A7F34090B}"/>
                </a:ext>
              </a:extLst>
            </p:cNvPr>
            <p:cNvSpPr/>
            <p:nvPr/>
          </p:nvSpPr>
          <p:spPr>
            <a:xfrm>
              <a:off x="3279399" y="318325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1" name="Freeform: Shape 2840">
              <a:extLst>
                <a:ext uri="{FF2B5EF4-FFF2-40B4-BE49-F238E27FC236}">
                  <a16:creationId xmlns:a16="http://schemas.microsoft.com/office/drawing/2014/main" id="{F8C15D30-9F28-4684-B321-85401102888C}"/>
                </a:ext>
              </a:extLst>
            </p:cNvPr>
            <p:cNvSpPr/>
            <p:nvPr/>
          </p:nvSpPr>
          <p:spPr>
            <a:xfrm>
              <a:off x="2461543" y="3049175"/>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669"/>
                    <a:pt x="21009" y="10458"/>
                  </a:cubicBezTo>
                  <a:cubicBezTo>
                    <a:pt x="21009" y="16247"/>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2" name="Freeform: Shape 2841">
              <a:extLst>
                <a:ext uri="{FF2B5EF4-FFF2-40B4-BE49-F238E27FC236}">
                  <a16:creationId xmlns:a16="http://schemas.microsoft.com/office/drawing/2014/main" id="{4C8423F6-D51A-4834-A66B-D5118C77276B}"/>
                </a:ext>
              </a:extLst>
            </p:cNvPr>
            <p:cNvSpPr/>
            <p:nvPr/>
          </p:nvSpPr>
          <p:spPr>
            <a:xfrm>
              <a:off x="3584262" y="358859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3" name="Freeform: Shape 2842">
              <a:extLst>
                <a:ext uri="{FF2B5EF4-FFF2-40B4-BE49-F238E27FC236}">
                  <a16:creationId xmlns:a16="http://schemas.microsoft.com/office/drawing/2014/main" id="{E7422DC6-E872-4873-B7E2-DC527331921C}"/>
                </a:ext>
              </a:extLst>
            </p:cNvPr>
            <p:cNvSpPr/>
            <p:nvPr/>
          </p:nvSpPr>
          <p:spPr>
            <a:xfrm>
              <a:off x="3496771" y="3536770"/>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4" name="Freeform: Shape 2843">
              <a:extLst>
                <a:ext uri="{FF2B5EF4-FFF2-40B4-BE49-F238E27FC236}">
                  <a16:creationId xmlns:a16="http://schemas.microsoft.com/office/drawing/2014/main" id="{03C60387-6E55-40CB-9236-4D853F8B97C3}"/>
                </a:ext>
              </a:extLst>
            </p:cNvPr>
            <p:cNvSpPr/>
            <p:nvPr/>
          </p:nvSpPr>
          <p:spPr>
            <a:xfrm>
              <a:off x="3397703" y="323564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5" name="Freeform: Shape 2844">
              <a:extLst>
                <a:ext uri="{FF2B5EF4-FFF2-40B4-BE49-F238E27FC236}">
                  <a16:creationId xmlns:a16="http://schemas.microsoft.com/office/drawing/2014/main" id="{298C9133-798F-4540-8115-E877020DEC2F}"/>
                </a:ext>
              </a:extLst>
            </p:cNvPr>
            <p:cNvSpPr/>
            <p:nvPr/>
          </p:nvSpPr>
          <p:spPr>
            <a:xfrm>
              <a:off x="3513112" y="3380277"/>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6" name="Freeform: Shape 2845">
              <a:extLst>
                <a:ext uri="{FF2B5EF4-FFF2-40B4-BE49-F238E27FC236}">
                  <a16:creationId xmlns:a16="http://schemas.microsoft.com/office/drawing/2014/main" id="{03BC31B1-1E3C-42F6-A6D4-9F0113EF18F6}"/>
                </a:ext>
              </a:extLst>
            </p:cNvPr>
            <p:cNvSpPr/>
            <p:nvPr/>
          </p:nvSpPr>
          <p:spPr>
            <a:xfrm>
              <a:off x="3443549" y="3458804"/>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4"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7" name="Freeform: Shape 2846">
              <a:extLst>
                <a:ext uri="{FF2B5EF4-FFF2-40B4-BE49-F238E27FC236}">
                  <a16:creationId xmlns:a16="http://schemas.microsoft.com/office/drawing/2014/main" id="{888A636E-6C46-4278-8B4C-E109C6EB31CF}"/>
                </a:ext>
              </a:extLst>
            </p:cNvPr>
            <p:cNvSpPr/>
            <p:nvPr/>
          </p:nvSpPr>
          <p:spPr>
            <a:xfrm>
              <a:off x="4685599" y="5083684"/>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3"/>
                    <a:pt x="16154" y="20916"/>
                    <a:pt x="10364" y="20916"/>
                  </a:cubicBezTo>
                  <a:cubicBezTo>
                    <a:pt x="4575" y="20916"/>
                    <a:pt x="0" y="16153"/>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8" name="Freeform: Shape 2847">
              <a:extLst>
                <a:ext uri="{FF2B5EF4-FFF2-40B4-BE49-F238E27FC236}">
                  <a16:creationId xmlns:a16="http://schemas.microsoft.com/office/drawing/2014/main" id="{5E7E5C1A-B075-4C48-8A51-58B02D27B4D8}"/>
                </a:ext>
              </a:extLst>
            </p:cNvPr>
            <p:cNvSpPr/>
            <p:nvPr/>
          </p:nvSpPr>
          <p:spPr>
            <a:xfrm>
              <a:off x="4715012" y="5006464"/>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49" name="Freeform: Shape 2848">
              <a:extLst>
                <a:ext uri="{FF2B5EF4-FFF2-40B4-BE49-F238E27FC236}">
                  <a16:creationId xmlns:a16="http://schemas.microsoft.com/office/drawing/2014/main" id="{A678D4DB-FAB4-460C-8CAC-41FC1F7128CC}"/>
                </a:ext>
              </a:extLst>
            </p:cNvPr>
            <p:cNvSpPr/>
            <p:nvPr/>
          </p:nvSpPr>
          <p:spPr>
            <a:xfrm>
              <a:off x="8608674" y="439991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50" name="Freeform: Shape 2849">
              <a:extLst>
                <a:ext uri="{FF2B5EF4-FFF2-40B4-BE49-F238E27FC236}">
                  <a16:creationId xmlns:a16="http://schemas.microsoft.com/office/drawing/2014/main" id="{4986ADB6-54E1-4DF8-8EC4-70568B90915F}"/>
                </a:ext>
              </a:extLst>
            </p:cNvPr>
            <p:cNvSpPr/>
            <p:nvPr/>
          </p:nvSpPr>
          <p:spPr>
            <a:xfrm>
              <a:off x="8601204" y="4403367"/>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6"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51" name="Freeform: Shape 2850">
              <a:extLst>
                <a:ext uri="{FF2B5EF4-FFF2-40B4-BE49-F238E27FC236}">
                  <a16:creationId xmlns:a16="http://schemas.microsoft.com/office/drawing/2014/main" id="{DDBD6F3C-D626-4544-A79E-B2602AFC33A3}"/>
                </a:ext>
              </a:extLst>
            </p:cNvPr>
            <p:cNvSpPr/>
            <p:nvPr/>
          </p:nvSpPr>
          <p:spPr>
            <a:xfrm>
              <a:off x="8571698" y="4360882"/>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3"/>
                    <a:pt x="16153" y="20916"/>
                    <a:pt x="10364" y="20916"/>
                  </a:cubicBezTo>
                  <a:cubicBezTo>
                    <a:pt x="4575" y="20916"/>
                    <a:pt x="0" y="16153"/>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52" name="Freeform: Shape 2851">
              <a:extLst>
                <a:ext uri="{FF2B5EF4-FFF2-40B4-BE49-F238E27FC236}">
                  <a16:creationId xmlns:a16="http://schemas.microsoft.com/office/drawing/2014/main" id="{8371D477-482C-4CBD-9BC1-D22A21B7B1BB}"/>
                </a:ext>
              </a:extLst>
            </p:cNvPr>
            <p:cNvSpPr/>
            <p:nvPr/>
          </p:nvSpPr>
          <p:spPr>
            <a:xfrm>
              <a:off x="8953875" y="3861989"/>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53" name="Freeform: Shape 2852">
              <a:extLst>
                <a:ext uri="{FF2B5EF4-FFF2-40B4-BE49-F238E27FC236}">
                  <a16:creationId xmlns:a16="http://schemas.microsoft.com/office/drawing/2014/main" id="{620A2C1E-D4AC-4A5D-A649-5B920603E8ED}"/>
                </a:ext>
              </a:extLst>
            </p:cNvPr>
            <p:cNvSpPr/>
            <p:nvPr/>
          </p:nvSpPr>
          <p:spPr>
            <a:xfrm>
              <a:off x="8961811" y="3862923"/>
              <a:ext cx="49251" cy="49036"/>
            </a:xfrm>
            <a:custGeom>
              <a:avLst/>
              <a:gdLst>
                <a:gd name="connsiteX0" fmla="*/ 0 w 21008"/>
                <a:gd name="connsiteY0" fmla="*/ 10458 h 20915"/>
                <a:gd name="connsiteX1" fmla="*/ 10365 w 21008"/>
                <a:gd name="connsiteY1" fmla="*/ 0 h 20915"/>
                <a:gd name="connsiteX2" fmla="*/ 21009 w 21008"/>
                <a:gd name="connsiteY2" fmla="*/ 10458 h 20915"/>
                <a:gd name="connsiteX3" fmla="*/ 10365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5" y="0"/>
                  </a:cubicBezTo>
                  <a:cubicBezTo>
                    <a:pt x="16060" y="0"/>
                    <a:pt x="21009" y="4762"/>
                    <a:pt x="21009" y="10458"/>
                  </a:cubicBezTo>
                  <a:cubicBezTo>
                    <a:pt x="21009" y="16154"/>
                    <a:pt x="16154" y="20916"/>
                    <a:pt x="10365" y="20916"/>
                  </a:cubicBezTo>
                  <a:cubicBezTo>
                    <a:pt x="4576"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sp>
          <p:nvSpPr>
            <p:cNvPr id="2854" name="Freeform: Shape 2853">
              <a:extLst>
                <a:ext uri="{FF2B5EF4-FFF2-40B4-BE49-F238E27FC236}">
                  <a16:creationId xmlns:a16="http://schemas.microsoft.com/office/drawing/2014/main" id="{B8F34EB9-FA16-40BB-8945-DCFF849E460A}"/>
                </a:ext>
              </a:extLst>
            </p:cNvPr>
            <p:cNvSpPr/>
            <p:nvPr/>
          </p:nvSpPr>
          <p:spPr>
            <a:xfrm>
              <a:off x="6255670" y="3070091"/>
              <a:ext cx="49251" cy="49036"/>
            </a:xfrm>
            <a:custGeom>
              <a:avLst/>
              <a:gdLst>
                <a:gd name="connsiteX0" fmla="*/ 0 w 21008"/>
                <a:gd name="connsiteY0" fmla="*/ 10458 h 20915"/>
                <a:gd name="connsiteX1" fmla="*/ 10364 w 21008"/>
                <a:gd name="connsiteY1" fmla="*/ 0 h 20915"/>
                <a:gd name="connsiteX2" fmla="*/ 21009 w 21008"/>
                <a:gd name="connsiteY2" fmla="*/ 10458 h 20915"/>
                <a:gd name="connsiteX3" fmla="*/ 10364 w 21008"/>
                <a:gd name="connsiteY3" fmla="*/ 20916 h 20915"/>
                <a:gd name="connsiteX4" fmla="*/ 0 w 21008"/>
                <a:gd name="connsiteY4" fmla="*/ 10458 h 20915"/>
                <a:gd name="connsiteX5" fmla="*/ 0 w 21008"/>
                <a:gd name="connsiteY5" fmla="*/ 10458 h 2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08" h="20915">
                  <a:moveTo>
                    <a:pt x="0" y="10458"/>
                  </a:moveTo>
                  <a:cubicBezTo>
                    <a:pt x="0" y="4669"/>
                    <a:pt x="4669" y="0"/>
                    <a:pt x="10364" y="0"/>
                  </a:cubicBezTo>
                  <a:cubicBezTo>
                    <a:pt x="16060" y="0"/>
                    <a:pt x="21009" y="4762"/>
                    <a:pt x="21009" y="10458"/>
                  </a:cubicBezTo>
                  <a:cubicBezTo>
                    <a:pt x="21009" y="16154"/>
                    <a:pt x="16153" y="20916"/>
                    <a:pt x="10364" y="20916"/>
                  </a:cubicBezTo>
                  <a:cubicBezTo>
                    <a:pt x="4575" y="20916"/>
                    <a:pt x="0" y="16154"/>
                    <a:pt x="0" y="10458"/>
                  </a:cubicBezTo>
                  <a:lnTo>
                    <a:pt x="0" y="10458"/>
                  </a:lnTo>
                  <a:close/>
                </a:path>
              </a:pathLst>
            </a:custGeom>
            <a:grpFill/>
            <a:ln w="3175" cap="flat">
              <a:solidFill>
                <a:schemeClr val="bg1"/>
              </a:solidFill>
              <a:prstDash val="solid"/>
              <a:miter/>
            </a:ln>
          </p:spPr>
          <p:txBody>
            <a:bodyPr rtlCol="0" anchor="ctr"/>
            <a:lstStyle/>
            <a:p>
              <a:endParaRPr lang="en-GB" dirty="0"/>
            </a:p>
          </p:txBody>
        </p:sp>
      </p:grpSp>
      <p:sp>
        <p:nvSpPr>
          <p:cNvPr id="930" name="Oval 929">
            <a:extLst>
              <a:ext uri="{FF2B5EF4-FFF2-40B4-BE49-F238E27FC236}">
                <a16:creationId xmlns:a16="http://schemas.microsoft.com/office/drawing/2014/main" id="{C20AE33A-5AA2-40DA-A122-52A799B4B8A4}"/>
              </a:ext>
            </a:extLst>
          </p:cNvPr>
          <p:cNvSpPr/>
          <p:nvPr/>
        </p:nvSpPr>
        <p:spPr>
          <a:xfrm>
            <a:off x="6091047" y="2522128"/>
            <a:ext cx="146793" cy="149743"/>
          </a:xfrm>
          <a:prstGeom prst="ellipse">
            <a:avLst/>
          </a:prstGeom>
          <a:solidFill>
            <a:srgbClr val="009D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dirty="0" err="1"/>
          </a:p>
        </p:txBody>
      </p:sp>
      <p:sp>
        <p:nvSpPr>
          <p:cNvPr id="934" name="Freeform: Shape 933">
            <a:extLst>
              <a:ext uri="{FF2B5EF4-FFF2-40B4-BE49-F238E27FC236}">
                <a16:creationId xmlns:a16="http://schemas.microsoft.com/office/drawing/2014/main" id="{C136C80E-E8CF-4E4A-87B0-E52FD27F9BF7}"/>
              </a:ext>
            </a:extLst>
          </p:cNvPr>
          <p:cNvSpPr/>
          <p:nvPr/>
        </p:nvSpPr>
        <p:spPr>
          <a:xfrm>
            <a:off x="6060855" y="2488438"/>
            <a:ext cx="217405" cy="320313"/>
          </a:xfrm>
          <a:custGeom>
            <a:avLst/>
            <a:gdLst>
              <a:gd name="connsiteX0" fmla="*/ 217405 w 217405"/>
              <a:gd name="connsiteY0" fmla="*/ 109762 h 320313"/>
              <a:gd name="connsiteX1" fmla="*/ 108676 w 217405"/>
              <a:gd name="connsiteY1" fmla="*/ 0 h 320313"/>
              <a:gd name="connsiteX2" fmla="*/ 0 w 217405"/>
              <a:gd name="connsiteY2" fmla="*/ 109762 h 320313"/>
              <a:gd name="connsiteX3" fmla="*/ 1679 w 217405"/>
              <a:gd name="connsiteY3" fmla="*/ 128859 h 320313"/>
              <a:gd name="connsiteX4" fmla="*/ 1679 w 217405"/>
              <a:gd name="connsiteY4" fmla="*/ 128859 h 320313"/>
              <a:gd name="connsiteX5" fmla="*/ 108513 w 217405"/>
              <a:gd name="connsiteY5" fmla="*/ 320314 h 320313"/>
              <a:gd name="connsiteX6" fmla="*/ 216051 w 217405"/>
              <a:gd name="connsiteY6" fmla="*/ 127163 h 320313"/>
              <a:gd name="connsiteX7" fmla="*/ 216051 w 217405"/>
              <a:gd name="connsiteY7" fmla="*/ 127163 h 320313"/>
              <a:gd name="connsiteX8" fmla="*/ 217405 w 217405"/>
              <a:gd name="connsiteY8" fmla="*/ 109762 h 320313"/>
              <a:gd name="connsiteX9" fmla="*/ 108730 w 217405"/>
              <a:gd name="connsiteY9" fmla="*/ 167981 h 320313"/>
              <a:gd name="connsiteX10" fmla="*/ 51087 w 217405"/>
              <a:gd name="connsiteY10" fmla="*/ 109762 h 320313"/>
              <a:gd name="connsiteX11" fmla="*/ 108730 w 217405"/>
              <a:gd name="connsiteY11" fmla="*/ 51544 h 320313"/>
              <a:gd name="connsiteX12" fmla="*/ 166372 w 217405"/>
              <a:gd name="connsiteY12" fmla="*/ 109762 h 320313"/>
              <a:gd name="connsiteX13" fmla="*/ 108730 w 217405"/>
              <a:gd name="connsiteY13" fmla="*/ 167981 h 32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7405" h="320313">
                <a:moveTo>
                  <a:pt x="217405" y="109762"/>
                </a:moveTo>
                <a:cubicBezTo>
                  <a:pt x="217405" y="49136"/>
                  <a:pt x="168702" y="0"/>
                  <a:pt x="108676" y="0"/>
                </a:cubicBezTo>
                <a:cubicBezTo>
                  <a:pt x="48649" y="0"/>
                  <a:pt x="0" y="49136"/>
                  <a:pt x="0" y="109762"/>
                </a:cubicBezTo>
                <a:cubicBezTo>
                  <a:pt x="0" y="116274"/>
                  <a:pt x="596" y="122676"/>
                  <a:pt x="1679" y="128859"/>
                </a:cubicBezTo>
                <a:lnTo>
                  <a:pt x="1679" y="128859"/>
                </a:lnTo>
                <a:cubicBezTo>
                  <a:pt x="1679" y="128859"/>
                  <a:pt x="4551" y="196708"/>
                  <a:pt x="108513" y="320314"/>
                </a:cubicBezTo>
                <a:cubicBezTo>
                  <a:pt x="212475" y="196763"/>
                  <a:pt x="216051" y="127163"/>
                  <a:pt x="216051" y="127163"/>
                </a:cubicBezTo>
                <a:lnTo>
                  <a:pt x="216051" y="127163"/>
                </a:lnTo>
                <a:cubicBezTo>
                  <a:pt x="216972" y="121472"/>
                  <a:pt x="217405" y="115672"/>
                  <a:pt x="217405" y="109762"/>
                </a:cubicBezTo>
                <a:close/>
                <a:moveTo>
                  <a:pt x="108730" y="167981"/>
                </a:moveTo>
                <a:cubicBezTo>
                  <a:pt x="76875" y="167981"/>
                  <a:pt x="51087" y="141881"/>
                  <a:pt x="51087" y="109762"/>
                </a:cubicBezTo>
                <a:cubicBezTo>
                  <a:pt x="51087" y="77644"/>
                  <a:pt x="76929" y="51544"/>
                  <a:pt x="108730" y="51544"/>
                </a:cubicBezTo>
                <a:cubicBezTo>
                  <a:pt x="140531" y="51544"/>
                  <a:pt x="166372" y="77644"/>
                  <a:pt x="166372" y="109762"/>
                </a:cubicBezTo>
                <a:cubicBezTo>
                  <a:pt x="166372" y="141881"/>
                  <a:pt x="140531" y="167981"/>
                  <a:pt x="108730" y="167981"/>
                </a:cubicBezTo>
                <a:close/>
              </a:path>
            </a:pathLst>
          </a:custGeom>
          <a:solidFill>
            <a:srgbClr val="009DF0"/>
          </a:solidFill>
          <a:ln w="9525" cap="flat">
            <a:solidFill>
              <a:schemeClr val="bg1"/>
            </a:solidFill>
            <a:prstDash val="solid"/>
            <a:miter/>
          </a:ln>
        </p:spPr>
        <p:txBody>
          <a:bodyPr rtlCol="0" anchor="ctr"/>
          <a:lstStyle/>
          <a:p>
            <a:endParaRPr lang="en-GB" dirty="0"/>
          </a:p>
        </p:txBody>
      </p:sp>
    </p:spTree>
    <p:custDataLst>
      <p:tags r:id="rId2"/>
    </p:custDataLst>
    <p:extLst>
      <p:ext uri="{BB962C8B-B14F-4D97-AF65-F5344CB8AC3E}">
        <p14:creationId xmlns:p14="http://schemas.microsoft.com/office/powerpoint/2010/main" val="25748061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856200-BFB5-4399-9599-DF4F212BE114}"/>
              </a:ext>
            </a:extLst>
          </p:cNvPr>
          <p:cNvSpPr>
            <a:spLocks noGrp="1"/>
          </p:cNvSpPr>
          <p:nvPr>
            <p:ph idx="1"/>
          </p:nvPr>
        </p:nvSpPr>
        <p:spPr/>
        <p:txBody>
          <a:bodyPr/>
          <a:lstStyle/>
          <a:p>
            <a:pPr>
              <a:spcAft>
                <a:spcPts val="1200"/>
              </a:spcAft>
            </a:pPr>
            <a:r>
              <a:rPr lang="en-GB" sz="1400" dirty="0"/>
              <a:t>Ramboll is the trusted partner for our clients, creating value by guiding them successfully through sustainable change, while understanding specific challenges and opportunities.</a:t>
            </a:r>
          </a:p>
          <a:p>
            <a:pPr>
              <a:spcAft>
                <a:spcPts val="1200"/>
              </a:spcAft>
            </a:pPr>
            <a:r>
              <a:rPr lang="en-GB" sz="1400" dirty="0"/>
              <a:t>Our strategy for 2022-25 – Partner for Sustainable Change - supports this ambition and focuses on four sustainability themes where the needs of clients, stakeholders and society intersect with our expertise:</a:t>
            </a:r>
          </a:p>
          <a:p>
            <a:pPr lvl="2">
              <a:spcAft>
                <a:spcPts val="1200"/>
              </a:spcAft>
            </a:pPr>
            <a:r>
              <a:rPr lang="en-GB" sz="1400" dirty="0"/>
              <a:t>Decarbonise for net-zero</a:t>
            </a:r>
          </a:p>
          <a:p>
            <a:pPr lvl="2">
              <a:spcAft>
                <a:spcPts val="1200"/>
              </a:spcAft>
            </a:pPr>
            <a:r>
              <a:rPr lang="en-GB" sz="1400" dirty="0"/>
              <a:t>Resilient societies and liveability</a:t>
            </a:r>
          </a:p>
          <a:p>
            <a:pPr lvl="2">
              <a:spcAft>
                <a:spcPts val="1200"/>
              </a:spcAft>
            </a:pPr>
            <a:r>
              <a:rPr lang="en-GB" sz="1400" dirty="0"/>
              <a:t>Resource management and circular economy</a:t>
            </a:r>
          </a:p>
          <a:p>
            <a:pPr lvl="2">
              <a:spcAft>
                <a:spcPts val="1200"/>
              </a:spcAft>
            </a:pPr>
            <a:r>
              <a:rPr lang="en-GB" sz="1400" dirty="0"/>
              <a:t>Biodiversity and ecosystems</a:t>
            </a:r>
          </a:p>
          <a:p>
            <a:pPr>
              <a:spcAft>
                <a:spcPts val="1200"/>
              </a:spcAft>
            </a:pPr>
            <a:endParaRPr lang="en-GB" sz="1400" dirty="0"/>
          </a:p>
        </p:txBody>
      </p:sp>
      <p:sp>
        <p:nvSpPr>
          <p:cNvPr id="4" name="Slide Number Placeholder 3">
            <a:extLst>
              <a:ext uri="{FF2B5EF4-FFF2-40B4-BE49-F238E27FC236}">
                <a16:creationId xmlns:a16="http://schemas.microsoft.com/office/drawing/2014/main" id="{6EAC83D0-BF69-4B02-A409-D3C4DE174531}"/>
              </a:ext>
            </a:extLst>
          </p:cNvPr>
          <p:cNvSpPr>
            <a:spLocks noGrp="1"/>
          </p:cNvSpPr>
          <p:nvPr>
            <p:ph type="sldNum" sz="quarter" idx="17"/>
          </p:nvPr>
        </p:nvSpPr>
        <p:spPr/>
        <p:txBody>
          <a:bodyPr/>
          <a:lstStyle/>
          <a:p>
            <a:fld id="{23AA811B-2EBD-4900-905E-5BE206449611}" type="slidenum">
              <a:rPr lang="en-GB" smtClean="0"/>
              <a:pPr/>
              <a:t>6</a:t>
            </a:fld>
            <a:endParaRPr lang="en-GB" dirty="0"/>
          </a:p>
        </p:txBody>
      </p:sp>
      <p:sp>
        <p:nvSpPr>
          <p:cNvPr id="5" name="Title 4">
            <a:extLst>
              <a:ext uri="{FF2B5EF4-FFF2-40B4-BE49-F238E27FC236}">
                <a16:creationId xmlns:a16="http://schemas.microsoft.com/office/drawing/2014/main" id="{81F744D2-0EF4-443E-92F8-756D28FEF515}"/>
              </a:ext>
            </a:extLst>
          </p:cNvPr>
          <p:cNvSpPr>
            <a:spLocks noGrp="1"/>
          </p:cNvSpPr>
          <p:nvPr>
            <p:ph type="title"/>
          </p:nvPr>
        </p:nvSpPr>
        <p:spPr/>
        <p:txBody>
          <a:bodyPr/>
          <a:lstStyle/>
          <a:p>
            <a:r>
              <a:rPr lang="en-GB" dirty="0"/>
              <a:t>All in on Sustainability</a:t>
            </a:r>
          </a:p>
        </p:txBody>
      </p:sp>
      <p:pic>
        <p:nvPicPr>
          <p:cNvPr id="8" name="Picture 7">
            <a:extLst>
              <a:ext uri="{FF2B5EF4-FFF2-40B4-BE49-F238E27FC236}">
                <a16:creationId xmlns:a16="http://schemas.microsoft.com/office/drawing/2014/main" id="{499A3EFB-1152-4B72-AEE6-EA6F815BA03B}"/>
              </a:ext>
            </a:extLst>
          </p:cNvPr>
          <p:cNvPicPr>
            <a:picLocks noChangeAspect="1"/>
          </p:cNvPicPr>
          <p:nvPr/>
        </p:nvPicPr>
        <p:blipFill>
          <a:blip r:embed="rId3"/>
          <a:stretch>
            <a:fillRect/>
          </a:stretch>
        </p:blipFill>
        <p:spPr>
          <a:xfrm>
            <a:off x="6350000" y="1377810"/>
            <a:ext cx="5289755" cy="4824990"/>
          </a:xfrm>
          <a:prstGeom prst="rect">
            <a:avLst/>
          </a:prstGeom>
        </p:spPr>
      </p:pic>
    </p:spTree>
    <p:custDataLst>
      <p:tags r:id="rId1"/>
    </p:custDataLst>
    <p:extLst>
      <p:ext uri="{BB962C8B-B14F-4D97-AF65-F5344CB8AC3E}">
        <p14:creationId xmlns:p14="http://schemas.microsoft.com/office/powerpoint/2010/main" val="3341388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A04173-CF48-4FEB-A624-FCA9BC2A8662}"/>
              </a:ext>
            </a:extLst>
          </p:cNvPr>
          <p:cNvSpPr>
            <a:spLocks noGrp="1"/>
          </p:cNvSpPr>
          <p:nvPr>
            <p:ph type="sldNum" sz="quarter" idx="17"/>
          </p:nvPr>
        </p:nvSpPr>
        <p:spPr/>
        <p:txBody>
          <a:bodyPr/>
          <a:lstStyle/>
          <a:p>
            <a:fld id="{23AA811B-2EBD-4900-905E-5BE206449611}" type="slidenum">
              <a:rPr lang="en-GB" smtClean="0"/>
              <a:pPr/>
              <a:t>7</a:t>
            </a:fld>
            <a:endParaRPr lang="en-GB" dirty="0"/>
          </a:p>
        </p:txBody>
      </p:sp>
      <p:pic>
        <p:nvPicPr>
          <p:cNvPr id="6" name="Picture Placeholder 2">
            <a:extLst>
              <a:ext uri="{FF2B5EF4-FFF2-40B4-BE49-F238E27FC236}">
                <a16:creationId xmlns:a16="http://schemas.microsoft.com/office/drawing/2014/main" id="{78BD8988-4285-4670-95A7-C12D464C5B06}"/>
              </a:ext>
            </a:extLst>
          </p:cNvPr>
          <p:cNvPicPr>
            <a:picLocks noGrp="1" noChangeAspect="1"/>
          </p:cNvPicPr>
          <p:nvPr>
            <p:ph type="pic" sz="quarter" idx="14"/>
            <p:custDataLst>
              <p:tags r:id="rId1"/>
            </p:custDataLst>
          </p:nvPr>
        </p:nvPicPr>
        <p:blipFill rotWithShape="1">
          <a:blip r:embed="rId3">
            <a:extLst>
              <a:ext uri="{28A0092B-C50C-407E-A947-70E740481C1C}">
                <a14:useLocalDpi xmlns:a14="http://schemas.microsoft.com/office/drawing/2010/main" val="0"/>
              </a:ext>
            </a:extLst>
          </a:blip>
          <a:srcRect b="15604"/>
          <a:stretch/>
        </p:blipFill>
        <p:spPr>
          <a:xfrm>
            <a:off x="0" y="0"/>
            <a:ext cx="12192000" cy="6858000"/>
          </a:xfrm>
        </p:spPr>
      </p:pic>
      <p:sp>
        <p:nvSpPr>
          <p:cNvPr id="7" name="Rectangle 6">
            <a:extLst>
              <a:ext uri="{FF2B5EF4-FFF2-40B4-BE49-F238E27FC236}">
                <a16:creationId xmlns:a16="http://schemas.microsoft.com/office/drawing/2014/main" id="{36C4B18A-0758-4DAD-B57B-E5A6BE206099}"/>
              </a:ext>
            </a:extLst>
          </p:cNvPr>
          <p:cNvSpPr/>
          <p:nvPr/>
        </p:nvSpPr>
        <p:spPr>
          <a:xfrm>
            <a:off x="5239657" y="910772"/>
            <a:ext cx="6952343" cy="13062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2800" noProof="0" dirty="0"/>
              <a:t>Sustainability in major projects</a:t>
            </a:r>
            <a:br>
              <a:rPr lang="en-GB" sz="2800" noProof="0" dirty="0"/>
            </a:br>
            <a:r>
              <a:rPr lang="en-GB" sz="2800" noProof="0" dirty="0"/>
              <a:t>- specific project examples</a:t>
            </a:r>
          </a:p>
        </p:txBody>
      </p:sp>
    </p:spTree>
    <p:extLst>
      <p:ext uri="{BB962C8B-B14F-4D97-AF65-F5344CB8AC3E}">
        <p14:creationId xmlns:p14="http://schemas.microsoft.com/office/powerpoint/2010/main" val="36922771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763EE-0553-49D7-AD06-2F72BA2E0850}"/>
              </a:ext>
            </a:extLst>
          </p:cNvPr>
          <p:cNvSpPr>
            <a:spLocks noGrp="1"/>
          </p:cNvSpPr>
          <p:nvPr>
            <p:ph type="title"/>
          </p:nvPr>
        </p:nvSpPr>
        <p:spPr>
          <a:xfrm>
            <a:off x="360000" y="655200"/>
            <a:ext cx="5503771" cy="936000"/>
          </a:xfrm>
        </p:spPr>
        <p:txBody>
          <a:bodyPr/>
          <a:lstStyle/>
          <a:p>
            <a:r>
              <a:rPr lang="en-GB" dirty="0"/>
              <a:t>Green is not always green and green can often be greener</a:t>
            </a:r>
          </a:p>
        </p:txBody>
      </p:sp>
      <p:sp>
        <p:nvSpPr>
          <p:cNvPr id="38" name="Content Placeholder 37">
            <a:extLst>
              <a:ext uri="{FF2B5EF4-FFF2-40B4-BE49-F238E27FC236}">
                <a16:creationId xmlns:a16="http://schemas.microsoft.com/office/drawing/2014/main" id="{31A0B557-2F7C-4B94-A5A2-F7A21780B114}"/>
              </a:ext>
            </a:extLst>
          </p:cNvPr>
          <p:cNvSpPr>
            <a:spLocks noGrp="1"/>
          </p:cNvSpPr>
          <p:nvPr>
            <p:ph idx="1"/>
          </p:nvPr>
        </p:nvSpPr>
        <p:spPr>
          <a:xfrm>
            <a:off x="360000" y="1828800"/>
            <a:ext cx="5736000" cy="4294800"/>
          </a:xfrm>
        </p:spPr>
        <p:txBody>
          <a:bodyPr/>
          <a:lstStyle/>
          <a:p>
            <a:pPr>
              <a:spcAft>
                <a:spcPts val="1200"/>
              </a:spcAft>
            </a:pPr>
            <a:r>
              <a:rPr lang="en-GB" sz="1400" b="1" dirty="0">
                <a:solidFill>
                  <a:schemeClr val="tx2"/>
                </a:solidFill>
              </a:rPr>
              <a:t>The focus on sustainability continues to intensify</a:t>
            </a:r>
            <a:r>
              <a:rPr lang="en-GB" sz="1400" dirty="0">
                <a:solidFill>
                  <a:schemeClr val="bg1">
                    <a:lumMod val="65000"/>
                  </a:schemeClr>
                </a:solidFill>
              </a:rPr>
              <a:t>, which is good, but it also raises question of what sustainability actually means and when we are sufficiently sustainable.</a:t>
            </a:r>
          </a:p>
          <a:p>
            <a:pPr>
              <a:spcAft>
                <a:spcPts val="1200"/>
              </a:spcAft>
            </a:pPr>
            <a:r>
              <a:rPr lang="en-GB" sz="1400" b="1" dirty="0">
                <a:solidFill>
                  <a:schemeClr val="tx2"/>
                </a:solidFill>
              </a:rPr>
              <a:t>There is still a tendency for sustainability to be an afterthought</a:t>
            </a:r>
            <a:r>
              <a:rPr lang="en-GB" sz="1400" dirty="0">
                <a:solidFill>
                  <a:schemeClr val="tx2"/>
                </a:solidFill>
              </a:rPr>
              <a:t>.</a:t>
            </a:r>
            <a:r>
              <a:rPr lang="en-GB" sz="1400" dirty="0"/>
              <a:t> </a:t>
            </a:r>
            <a:r>
              <a:rPr lang="en-GB" sz="1400" dirty="0">
                <a:solidFill>
                  <a:schemeClr val="bg1">
                    <a:lumMod val="65000"/>
                  </a:schemeClr>
                </a:solidFill>
              </a:rPr>
              <a:t>There is a need to consider more aspects of each project in a sustainability context in early stages:</a:t>
            </a:r>
          </a:p>
          <a:p>
            <a:pPr lvl="2">
              <a:spcAft>
                <a:spcPts val="1200"/>
              </a:spcAft>
            </a:pPr>
            <a:r>
              <a:rPr lang="en-GB" sz="1400" b="1" dirty="0">
                <a:solidFill>
                  <a:schemeClr val="tx2"/>
                </a:solidFill>
              </a:rPr>
              <a:t>Decommissioning</a:t>
            </a:r>
            <a:r>
              <a:rPr lang="en-GB" sz="1400" dirty="0"/>
              <a:t> </a:t>
            </a:r>
            <a:r>
              <a:rPr lang="en-GB" sz="1400" dirty="0">
                <a:solidFill>
                  <a:schemeClr val="bg1">
                    <a:lumMod val="65000"/>
                  </a:schemeClr>
                </a:solidFill>
              </a:rPr>
              <a:t>is often not considered in a sustainability perspective – e.g., for windfarms there is a challenge with current blades not being recyclable.</a:t>
            </a:r>
          </a:p>
          <a:p>
            <a:pPr lvl="2">
              <a:spcAft>
                <a:spcPts val="1200"/>
              </a:spcAft>
            </a:pPr>
            <a:r>
              <a:rPr lang="en-GB" sz="1400" b="1" dirty="0">
                <a:solidFill>
                  <a:schemeClr val="tx2"/>
                </a:solidFill>
              </a:rPr>
              <a:t>Embodied carbon </a:t>
            </a:r>
            <a:r>
              <a:rPr lang="en-GB" sz="1400" dirty="0">
                <a:solidFill>
                  <a:schemeClr val="bg1">
                    <a:lumMod val="65000"/>
                  </a:schemeClr>
                </a:solidFill>
              </a:rPr>
              <a:t>is not considered for the full supply chain of a project throughout its construction phase even though the majority of embodied emissions are releases before the projects are finished.</a:t>
            </a:r>
          </a:p>
          <a:p>
            <a:pPr lvl="2">
              <a:spcAft>
                <a:spcPts val="1200"/>
              </a:spcAft>
            </a:pPr>
            <a:r>
              <a:rPr lang="en-GB" sz="1400" b="1" dirty="0">
                <a:solidFill>
                  <a:schemeClr val="tx2"/>
                </a:solidFill>
              </a:rPr>
              <a:t>Secondary or tertiary uses</a:t>
            </a:r>
            <a:r>
              <a:rPr lang="en-GB" sz="1400" dirty="0">
                <a:solidFill>
                  <a:schemeClr val="bg1">
                    <a:lumMod val="65000"/>
                  </a:schemeClr>
                </a:solidFill>
              </a:rPr>
              <a:t>  - whatever is being built can potentially have secondary uses in a sustainability context alongside their main functions.</a:t>
            </a:r>
          </a:p>
        </p:txBody>
      </p:sp>
      <p:sp>
        <p:nvSpPr>
          <p:cNvPr id="5" name="TextBox 4">
            <a:extLst>
              <a:ext uri="{FF2B5EF4-FFF2-40B4-BE49-F238E27FC236}">
                <a16:creationId xmlns:a16="http://schemas.microsoft.com/office/drawing/2014/main" id="{E674344D-1568-4800-9521-8D7B693922CB}"/>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chemeClr val="accent1"/>
                </a:solidFill>
                <a:latin typeface="Verdana"/>
              </a:rPr>
              <a:t>Sustainability</a:t>
            </a:r>
            <a:r>
              <a:rPr lang="en-GB" sz="800" dirty="0">
                <a:solidFill>
                  <a:schemeClr val="bg1">
                    <a:lumMod val="65000"/>
                  </a:schemeClr>
                </a:solidFill>
                <a:latin typeface="Verdana"/>
              </a:rPr>
              <a:t> </a:t>
            </a:r>
            <a:r>
              <a:rPr lang="en-GB" sz="800" dirty="0">
                <a:solidFill>
                  <a:schemeClr val="accent1"/>
                </a:solidFill>
                <a:latin typeface="Verdana"/>
              </a:rPr>
              <a:t>│</a:t>
            </a:r>
            <a:r>
              <a:rPr lang="en-GB" sz="800" dirty="0">
                <a:solidFill>
                  <a:schemeClr val="bg1">
                    <a:lumMod val="65000"/>
                  </a:schemeClr>
                </a:solidFill>
                <a:latin typeface="Verdana"/>
              </a:rPr>
              <a:t> Procurement │ Contract Management │ How to do it</a:t>
            </a:r>
          </a:p>
        </p:txBody>
      </p:sp>
      <p:pic>
        <p:nvPicPr>
          <p:cNvPr id="40" name="Picture 39">
            <a:extLst>
              <a:ext uri="{FF2B5EF4-FFF2-40B4-BE49-F238E27FC236}">
                <a16:creationId xmlns:a16="http://schemas.microsoft.com/office/drawing/2014/main" id="{F71C8189-16BB-4E0D-8946-62EC13FCAAA0}"/>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r="43013"/>
          <a:stretch/>
        </p:blipFill>
        <p:spPr>
          <a:xfrm>
            <a:off x="6328231" y="0"/>
            <a:ext cx="5863769" cy="6858000"/>
          </a:xfrm>
          <a:prstGeom prst="rect">
            <a:avLst/>
          </a:prstGeom>
        </p:spPr>
      </p:pic>
      <p:pic>
        <p:nvPicPr>
          <p:cNvPr id="42" name="Picture 41">
            <a:extLst>
              <a:ext uri="{FF2B5EF4-FFF2-40B4-BE49-F238E27FC236}">
                <a16:creationId xmlns:a16="http://schemas.microsoft.com/office/drawing/2014/main" id="{9FE41966-A6AF-487E-BDFF-0AA70154D4B3}"/>
              </a:ext>
            </a:extLst>
          </p:cNvPr>
          <p:cNvPicPr>
            <a:picLocks noChangeAspect="1"/>
          </p:cNvPicPr>
          <p:nvPr/>
        </p:nvPicPr>
        <p:blipFill>
          <a:blip r:embed="rId4"/>
          <a:stretch>
            <a:fillRect/>
          </a:stretch>
        </p:blipFill>
        <p:spPr>
          <a:xfrm>
            <a:off x="6328230" y="0"/>
            <a:ext cx="224969" cy="141259"/>
          </a:xfrm>
          <a:prstGeom prst="rect">
            <a:avLst/>
          </a:prstGeom>
        </p:spPr>
      </p:pic>
      <p:sp>
        <p:nvSpPr>
          <p:cNvPr id="4" name="Slide Number Placeholder 3">
            <a:extLst>
              <a:ext uri="{FF2B5EF4-FFF2-40B4-BE49-F238E27FC236}">
                <a16:creationId xmlns:a16="http://schemas.microsoft.com/office/drawing/2014/main" id="{6A9A7116-CF6A-4877-9B16-6268A79AFDCD}"/>
              </a:ext>
            </a:extLst>
          </p:cNvPr>
          <p:cNvSpPr>
            <a:spLocks noGrp="1"/>
          </p:cNvSpPr>
          <p:nvPr>
            <p:ph type="sldNum" sz="quarter" idx="12"/>
          </p:nvPr>
        </p:nvSpPr>
        <p:spPr/>
        <p:txBody>
          <a:bodyPr/>
          <a:lstStyle/>
          <a:p>
            <a:fld id="{23AA811B-2EBD-4900-905E-5BE206449611}" type="slidenum">
              <a:rPr lang="en-GB" smtClean="0">
                <a:solidFill>
                  <a:schemeClr val="bg1"/>
                </a:solidFill>
              </a:rPr>
              <a:pPr/>
              <a:t>8</a:t>
            </a:fld>
            <a:endParaRPr lang="en-GB" dirty="0">
              <a:solidFill>
                <a:schemeClr val="bg1"/>
              </a:solidFill>
            </a:endParaRPr>
          </a:p>
        </p:txBody>
      </p:sp>
      <p:sp>
        <p:nvSpPr>
          <p:cNvPr id="49" name="TextBox 48">
            <a:extLst>
              <a:ext uri="{FF2B5EF4-FFF2-40B4-BE49-F238E27FC236}">
                <a16:creationId xmlns:a16="http://schemas.microsoft.com/office/drawing/2014/main" id="{C9F9DCA6-1BDB-4FD5-814D-7C8EBA84849E}"/>
              </a:ext>
            </a:extLst>
          </p:cNvPr>
          <p:cNvSpPr txBox="1"/>
          <p:nvPr/>
        </p:nvSpPr>
        <p:spPr>
          <a:xfrm>
            <a:off x="2093230" y="6491928"/>
            <a:ext cx="4068000" cy="76944"/>
          </a:xfrm>
          <a:prstGeom prst="rect">
            <a:avLst/>
          </a:prstGeom>
          <a:noFill/>
        </p:spPr>
        <p:txBody>
          <a:bodyPr wrap="square" lIns="0" tIns="0" rIns="0" bIns="0" rtlCol="0">
            <a:spAutoFit/>
          </a:bodyPr>
          <a:lstStyle/>
          <a:p>
            <a:pPr algn="r"/>
            <a:r>
              <a:rPr lang="en-GB" sz="500" dirty="0">
                <a:solidFill>
                  <a:schemeClr val="tx2"/>
                </a:solidFill>
              </a:rPr>
              <a:t>Source: https://ramboll.com/media/rgr/embodied-carbon-and-how-to-tackle-it</a:t>
            </a:r>
          </a:p>
        </p:txBody>
      </p:sp>
    </p:spTree>
    <p:extLst>
      <p:ext uri="{BB962C8B-B14F-4D97-AF65-F5344CB8AC3E}">
        <p14:creationId xmlns:p14="http://schemas.microsoft.com/office/powerpoint/2010/main" val="21557861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763EE-0553-49D7-AD06-2F72BA2E0850}"/>
              </a:ext>
            </a:extLst>
          </p:cNvPr>
          <p:cNvSpPr>
            <a:spLocks noGrp="1"/>
          </p:cNvSpPr>
          <p:nvPr>
            <p:ph type="title"/>
          </p:nvPr>
        </p:nvSpPr>
        <p:spPr>
          <a:xfrm>
            <a:off x="360000" y="655200"/>
            <a:ext cx="5503771" cy="936000"/>
          </a:xfrm>
        </p:spPr>
        <p:txBody>
          <a:bodyPr/>
          <a:lstStyle/>
          <a:p>
            <a:r>
              <a:rPr lang="en-GB" dirty="0"/>
              <a:t>Case example 1:</a:t>
            </a:r>
            <a:br>
              <a:rPr lang="en-GB" dirty="0"/>
            </a:br>
            <a:r>
              <a:rPr lang="en-GB" dirty="0" err="1"/>
              <a:t>CopenHill</a:t>
            </a:r>
            <a:endParaRPr lang="en-GB" dirty="0"/>
          </a:p>
        </p:txBody>
      </p:sp>
      <p:sp>
        <p:nvSpPr>
          <p:cNvPr id="38" name="Content Placeholder 37">
            <a:extLst>
              <a:ext uri="{FF2B5EF4-FFF2-40B4-BE49-F238E27FC236}">
                <a16:creationId xmlns:a16="http://schemas.microsoft.com/office/drawing/2014/main" id="{31A0B557-2F7C-4B94-A5A2-F7A21780B114}"/>
              </a:ext>
            </a:extLst>
          </p:cNvPr>
          <p:cNvSpPr>
            <a:spLocks noGrp="1"/>
          </p:cNvSpPr>
          <p:nvPr>
            <p:ph idx="1"/>
          </p:nvPr>
        </p:nvSpPr>
        <p:spPr>
          <a:xfrm>
            <a:off x="360000" y="1828800"/>
            <a:ext cx="4240575" cy="4294800"/>
          </a:xfrm>
        </p:spPr>
        <p:txBody>
          <a:bodyPr/>
          <a:lstStyle/>
          <a:p>
            <a:pPr>
              <a:spcAft>
                <a:spcPts val="1200"/>
              </a:spcAft>
            </a:pPr>
            <a:r>
              <a:rPr lang="en-GB" sz="1400" dirty="0">
                <a:solidFill>
                  <a:schemeClr val="bg1">
                    <a:lumMod val="65000"/>
                  </a:schemeClr>
                </a:solidFill>
              </a:rPr>
              <a:t>Combined heat and power </a:t>
            </a:r>
            <a:r>
              <a:rPr lang="en-GB" sz="1400" b="1" dirty="0">
                <a:solidFill>
                  <a:schemeClr val="tx2"/>
                </a:solidFill>
              </a:rPr>
              <a:t>waste-to-energy plant and recreational facility.</a:t>
            </a:r>
          </a:p>
          <a:p>
            <a:pPr>
              <a:spcAft>
                <a:spcPts val="1200"/>
              </a:spcAft>
            </a:pPr>
            <a:r>
              <a:rPr lang="en-GB" sz="1400" b="1" dirty="0">
                <a:solidFill>
                  <a:schemeClr val="tx2"/>
                </a:solidFill>
              </a:rPr>
              <a:t>560.000 tons waste per year </a:t>
            </a:r>
            <a:r>
              <a:rPr lang="en-GB" sz="1400" dirty="0">
                <a:solidFill>
                  <a:schemeClr val="bg1">
                    <a:lumMod val="65000"/>
                  </a:schemeClr>
                </a:solidFill>
              </a:rPr>
              <a:t>processing capacity.</a:t>
            </a:r>
          </a:p>
          <a:p>
            <a:pPr>
              <a:spcAft>
                <a:spcPts val="1200"/>
              </a:spcAft>
            </a:pPr>
            <a:r>
              <a:rPr lang="en-GB" sz="1400" dirty="0">
                <a:solidFill>
                  <a:schemeClr val="bg1">
                    <a:lumMod val="65000"/>
                  </a:schemeClr>
                </a:solidFill>
              </a:rPr>
              <a:t>Plant can change between operating modes, producing 0-63 MW electricity and 157-247 MW district heating.</a:t>
            </a:r>
          </a:p>
          <a:p>
            <a:pPr>
              <a:spcAft>
                <a:spcPts val="1200"/>
              </a:spcAft>
            </a:pPr>
            <a:r>
              <a:rPr lang="en-GB" sz="1400" dirty="0">
                <a:solidFill>
                  <a:schemeClr val="bg1">
                    <a:lumMod val="65000"/>
                  </a:schemeClr>
                </a:solidFill>
              </a:rPr>
              <a:t>The </a:t>
            </a:r>
            <a:r>
              <a:rPr lang="en-GB" sz="1400" b="1" dirty="0">
                <a:solidFill>
                  <a:schemeClr val="tx2"/>
                </a:solidFill>
              </a:rPr>
              <a:t>recreational components have an attendance estimated at 42-57 thousand visitors annually</a:t>
            </a:r>
            <a:r>
              <a:rPr lang="en-GB" sz="1400" dirty="0">
                <a:solidFill>
                  <a:schemeClr val="bg1">
                    <a:lumMod val="65000"/>
                  </a:schemeClr>
                </a:solidFill>
              </a:rPr>
              <a:t>.</a:t>
            </a:r>
          </a:p>
          <a:p>
            <a:pPr>
              <a:spcAft>
                <a:spcPts val="1200"/>
              </a:spcAft>
            </a:pPr>
            <a:r>
              <a:rPr lang="en-GB" sz="1400" dirty="0">
                <a:solidFill>
                  <a:schemeClr val="bg1">
                    <a:lumMod val="65000"/>
                  </a:schemeClr>
                </a:solidFill>
              </a:rPr>
              <a:t>Part of Copenhagen’s net zero 2025 plan.</a:t>
            </a:r>
          </a:p>
          <a:p>
            <a:pPr>
              <a:spcAft>
                <a:spcPts val="1200"/>
              </a:spcAft>
            </a:pPr>
            <a:r>
              <a:rPr lang="en-GB" sz="1400" dirty="0">
                <a:solidFill>
                  <a:schemeClr val="bg1">
                    <a:lumMod val="65000"/>
                  </a:schemeClr>
                </a:solidFill>
              </a:rPr>
              <a:t>Ramboll advised on various parts of the project.</a:t>
            </a:r>
          </a:p>
        </p:txBody>
      </p:sp>
      <p:sp>
        <p:nvSpPr>
          <p:cNvPr id="5" name="TextBox 4">
            <a:extLst>
              <a:ext uri="{FF2B5EF4-FFF2-40B4-BE49-F238E27FC236}">
                <a16:creationId xmlns:a16="http://schemas.microsoft.com/office/drawing/2014/main" id="{E674344D-1568-4800-9521-8D7B693922CB}"/>
              </a:ext>
            </a:extLst>
          </p:cNvPr>
          <p:cNvSpPr txBox="1"/>
          <p:nvPr/>
        </p:nvSpPr>
        <p:spPr>
          <a:xfrm>
            <a:off x="358775" y="126749"/>
            <a:ext cx="4241800" cy="123111"/>
          </a:xfrm>
          <a:prstGeom prst="rect">
            <a:avLst/>
          </a:prstGeom>
          <a:noFill/>
        </p:spPr>
        <p:txBody>
          <a:bodyPr wrap="square" lIns="0" tIns="0" rIns="0" bIns="0" rtlCol="0">
            <a:spAutoFit/>
          </a:bodyPr>
          <a:lstStyle/>
          <a:p>
            <a:r>
              <a:rPr lang="en-GB" sz="800" dirty="0">
                <a:solidFill>
                  <a:schemeClr val="accent1"/>
                </a:solidFill>
                <a:latin typeface="Verdana"/>
              </a:rPr>
              <a:t>Sustainability</a:t>
            </a:r>
            <a:r>
              <a:rPr lang="en-GB" sz="800" dirty="0">
                <a:solidFill>
                  <a:schemeClr val="bg1">
                    <a:lumMod val="65000"/>
                  </a:schemeClr>
                </a:solidFill>
                <a:latin typeface="Verdana"/>
              </a:rPr>
              <a:t> </a:t>
            </a:r>
            <a:r>
              <a:rPr lang="en-GB" sz="800" dirty="0">
                <a:solidFill>
                  <a:schemeClr val="accent1"/>
                </a:solidFill>
                <a:latin typeface="Verdana"/>
              </a:rPr>
              <a:t>│</a:t>
            </a:r>
            <a:r>
              <a:rPr lang="en-GB" sz="800" dirty="0">
                <a:solidFill>
                  <a:schemeClr val="bg1">
                    <a:lumMod val="65000"/>
                  </a:schemeClr>
                </a:solidFill>
                <a:latin typeface="Verdana"/>
              </a:rPr>
              <a:t> Procurement │ Contract Management │ How to do it</a:t>
            </a:r>
          </a:p>
        </p:txBody>
      </p:sp>
      <p:pic>
        <p:nvPicPr>
          <p:cNvPr id="1026" name="Picture 2">
            <a:extLst>
              <a:ext uri="{FF2B5EF4-FFF2-40B4-BE49-F238E27FC236}">
                <a16:creationId xmlns:a16="http://schemas.microsoft.com/office/drawing/2014/main" id="{3415BFBB-7313-4AE5-86B4-FA614A19301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138" r="8901"/>
          <a:stretch/>
        </p:blipFill>
        <p:spPr bwMode="auto">
          <a:xfrm>
            <a:off x="5095875" y="0"/>
            <a:ext cx="709612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6A9A7116-CF6A-4877-9B16-6268A79AFDCD}"/>
              </a:ext>
            </a:extLst>
          </p:cNvPr>
          <p:cNvSpPr>
            <a:spLocks noGrp="1"/>
          </p:cNvSpPr>
          <p:nvPr>
            <p:ph type="sldNum" sz="quarter" idx="12"/>
          </p:nvPr>
        </p:nvSpPr>
        <p:spPr/>
        <p:txBody>
          <a:bodyPr/>
          <a:lstStyle/>
          <a:p>
            <a:fld id="{23AA811B-2EBD-4900-905E-5BE206449611}" type="slidenum">
              <a:rPr lang="en-GB" smtClean="0">
                <a:solidFill>
                  <a:schemeClr val="bg1"/>
                </a:solidFill>
              </a:rPr>
              <a:pPr/>
              <a:t>9</a:t>
            </a:fld>
            <a:endParaRPr lang="en-GB" dirty="0">
              <a:solidFill>
                <a:schemeClr val="bg1"/>
              </a:solidFill>
            </a:endParaRPr>
          </a:p>
        </p:txBody>
      </p:sp>
      <p:sp>
        <p:nvSpPr>
          <p:cNvPr id="8" name="TextBox 7">
            <a:extLst>
              <a:ext uri="{FF2B5EF4-FFF2-40B4-BE49-F238E27FC236}">
                <a16:creationId xmlns:a16="http://schemas.microsoft.com/office/drawing/2014/main" id="{E56A51B6-C1A7-4838-B44D-05FE2DBA696B}"/>
              </a:ext>
            </a:extLst>
          </p:cNvPr>
          <p:cNvSpPr txBox="1"/>
          <p:nvPr/>
        </p:nvSpPr>
        <p:spPr>
          <a:xfrm>
            <a:off x="9978561" y="6476062"/>
            <a:ext cx="1728000" cy="76944"/>
          </a:xfrm>
          <a:prstGeom prst="rect">
            <a:avLst/>
          </a:prstGeom>
          <a:noFill/>
        </p:spPr>
        <p:txBody>
          <a:bodyPr wrap="square" lIns="0" tIns="0" rIns="0" bIns="0" rtlCol="0">
            <a:spAutoFit/>
          </a:bodyPr>
          <a:lstStyle/>
          <a:p>
            <a:r>
              <a:rPr lang="en-GB" sz="500" dirty="0">
                <a:solidFill>
                  <a:schemeClr val="bg1">
                    <a:lumMod val="85000"/>
                  </a:schemeClr>
                </a:solidFill>
              </a:rPr>
              <a:t>Photo: Max </a:t>
            </a:r>
            <a:r>
              <a:rPr lang="en-GB" sz="500" dirty="0" err="1">
                <a:solidFill>
                  <a:schemeClr val="bg1">
                    <a:lumMod val="85000"/>
                  </a:schemeClr>
                </a:solidFill>
              </a:rPr>
              <a:t>Mestour</a:t>
            </a:r>
            <a:r>
              <a:rPr lang="en-GB" sz="500" dirty="0">
                <a:solidFill>
                  <a:schemeClr val="bg1">
                    <a:lumMod val="85000"/>
                  </a:schemeClr>
                </a:solidFill>
              </a:rPr>
              <a:t> </a:t>
            </a:r>
            <a:r>
              <a:rPr lang="en-GB" sz="500" dirty="0" err="1">
                <a:solidFill>
                  <a:schemeClr val="bg1">
                    <a:lumMod val="85000"/>
                  </a:schemeClr>
                </a:solidFill>
              </a:rPr>
              <a:t>og</a:t>
            </a:r>
            <a:r>
              <a:rPr lang="en-GB" sz="500" dirty="0">
                <a:solidFill>
                  <a:schemeClr val="bg1">
                    <a:lumMod val="85000"/>
                  </a:schemeClr>
                </a:solidFill>
              </a:rPr>
              <a:t> Amelie Louys</a:t>
            </a:r>
          </a:p>
        </p:txBody>
      </p:sp>
      <p:sp>
        <p:nvSpPr>
          <p:cNvPr id="9" name="TextBox 8">
            <a:extLst>
              <a:ext uri="{FF2B5EF4-FFF2-40B4-BE49-F238E27FC236}">
                <a16:creationId xmlns:a16="http://schemas.microsoft.com/office/drawing/2014/main" id="{E234F57E-C6C9-4B2D-ADDE-6420D526D4D4}"/>
              </a:ext>
            </a:extLst>
          </p:cNvPr>
          <p:cNvSpPr txBox="1"/>
          <p:nvPr/>
        </p:nvSpPr>
        <p:spPr>
          <a:xfrm>
            <a:off x="9978561" y="6600464"/>
            <a:ext cx="1728000" cy="76944"/>
          </a:xfrm>
          <a:prstGeom prst="rect">
            <a:avLst/>
          </a:prstGeom>
          <a:noFill/>
        </p:spPr>
        <p:txBody>
          <a:bodyPr wrap="square" lIns="0" tIns="0" rIns="0" bIns="0" rtlCol="0">
            <a:spAutoFit/>
          </a:bodyPr>
          <a:lstStyle/>
          <a:p>
            <a:r>
              <a:rPr lang="en-GB" sz="500" dirty="0">
                <a:solidFill>
                  <a:schemeClr val="bg1">
                    <a:lumMod val="85000"/>
                  </a:schemeClr>
                </a:solidFill>
              </a:rPr>
              <a:t>Source: ARC – https://a-r-c.dk/amager-bakke/</a:t>
            </a:r>
          </a:p>
        </p:txBody>
      </p:sp>
    </p:spTree>
    <p:extLst>
      <p:ext uri="{BB962C8B-B14F-4D97-AF65-F5344CB8AC3E}">
        <p14:creationId xmlns:p14="http://schemas.microsoft.com/office/powerpoint/2010/main" val="635138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ONTAINEDIMAGEPATH" val="C:\Users\LBRI\AppData\Local\Templafy\AddIns\PowerPointVsto\b96aa815-63bd-4133-8ec3-55fa5c4afd0b.jp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ONTAINEDIMAGEPATH" val="C:\Users\LBRI\AppData\Local\Templafy\AddIns\PowerPointVsto\57d75437-a89c-4e79-9ee7-6483771ed78a.jpeg"/>
</p:tagLst>
</file>

<file path=ppt/tags/tag12.xml><?xml version="1.0" encoding="utf-8"?>
<p:tagLst xmlns:a="http://schemas.openxmlformats.org/drawingml/2006/main" xmlns:r="http://schemas.openxmlformats.org/officeDocument/2006/relationships" xmlns:p="http://schemas.openxmlformats.org/presentationml/2006/main">
  <p:tag name="CONTAINEDIMAGEPATH" val="C:\Users\LBRI\AppData\Local\Templafy\AddIns\PowerPointVsto\b917dc9d-c936-45ed-8db3-1422bb3c581f.jp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ONTAINEDIMAGEPATH" val="C:\Users\LBRI\AppData\Local\Templafy\AddIns\PowerPointVsto\473c6723-debc-4d6e-b65f-e18c7b6cf01d.jpeg"/>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srny\AppData\Local\Templafy\AddIns\PowerPointVsto\18c90abe-99dd-4105-8db5-b5946f6ef70d.jpeg"/>
  <p:tag name="TEMPLAFYSLIDEID" val="638013487972544926"/>
</p:tagLst>
</file>

<file path=ppt/tags/tag4.xml><?xml version="1.0" encoding="utf-8"?>
<p:tagLst xmlns:a="http://schemas.openxmlformats.org/drawingml/2006/main" xmlns:r="http://schemas.openxmlformats.org/officeDocument/2006/relationships" xmlns:p="http://schemas.openxmlformats.org/presentationml/2006/main">
  <p:tag name="TEMPLAFYSLIDEID" val="63801348797785776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EMPLAFYSLIDEID" val="638013476765883190"/>
</p:tagLst>
</file>

<file path=ppt/tags/tag7.xml><?xml version="1.0" encoding="utf-8"?>
<p:tagLst xmlns:a="http://schemas.openxmlformats.org/drawingml/2006/main" xmlns:r="http://schemas.openxmlformats.org/officeDocument/2006/relationships" xmlns:p="http://schemas.openxmlformats.org/presentationml/2006/main">
  <p:tag name="CONTAINEDIMAGEPATH" val="C:\Users\LBRI\AppData\Local\Templafy\AddIns\PowerPointVsto\562da0cc-78f4-41ec-bc9c-8dd58ebbeb30.jpeg"/>
</p:tagLst>
</file>

<file path=ppt/tags/tag8.xml><?xml version="1.0" encoding="utf-8"?>
<p:tagLst xmlns:a="http://schemas.openxmlformats.org/drawingml/2006/main" xmlns:r="http://schemas.openxmlformats.org/officeDocument/2006/relationships" xmlns:p="http://schemas.openxmlformats.org/presentationml/2006/main">
  <p:tag name="CONTAINEDIMAGEPATH" val="C:\Users\LBRI\AppData\Local\Templafy\AddIns\PowerPointVsto\2d72ac95-653c-4641-84b2-4bf8812dd5f2.jpeg"/>
</p:tagLst>
</file>

<file path=ppt/tags/tag9.xml><?xml version="1.0" encoding="utf-8"?>
<p:tagLst xmlns:a="http://schemas.openxmlformats.org/drawingml/2006/main" xmlns:r="http://schemas.openxmlformats.org/officeDocument/2006/relationships" xmlns:p="http://schemas.openxmlformats.org/presentationml/2006/main">
  <p:tag name="CONTAINEDIMAGEPATH" val="C:\Users\LBRI\AppData\Local\Templafy\AddIns\PowerPointVsto\2ce0938d-8bea-4808-a07f-4ac7319d6e9e.jpeg"/>
</p:tagLst>
</file>

<file path=ppt/theme/theme1.xml><?xml version="1.0" encoding="utf-8"?>
<a:theme xmlns:a="http://schemas.openxmlformats.org/drawingml/2006/main" name="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2.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1F27C5302F48A429B5381DE15A54C23" ma:contentTypeVersion="13" ma:contentTypeDescription="Create a new document." ma:contentTypeScope="" ma:versionID="147b9fc1b52330c4537961adfe927cd2">
  <xsd:schema xmlns:xsd="http://www.w3.org/2001/XMLSchema" xmlns:xs="http://www.w3.org/2001/XMLSchema" xmlns:p="http://schemas.microsoft.com/office/2006/metadata/properties" xmlns:ns2="843ef3d7-207f-4775-acfa-8d4c71c6f0b1" xmlns:ns3="950cebf5-43a6-478c-b185-b8adcfe0a596" targetNamespace="http://schemas.microsoft.com/office/2006/metadata/properties" ma:root="true" ma:fieldsID="e4636732ceb73b7542666f63e58bb797" ns2:_="" ns3:_="">
    <xsd:import namespace="843ef3d7-207f-4775-acfa-8d4c71c6f0b1"/>
    <xsd:import namespace="950cebf5-43a6-478c-b185-b8adcfe0a59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3ef3d7-207f-4775-acfa-8d4c71c6f0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0cebf5-43a6-478c-b185-b8adcfe0a59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AAFA4E-6E34-4C6A-8E9E-2C3B41CC0560}">
  <ds:schemaRefs>
    <ds:schemaRef ds:uri="http://schemas.microsoft.com/sharepoint/v3/contenttype/forms"/>
  </ds:schemaRefs>
</ds:datastoreItem>
</file>

<file path=customXml/itemProps2.xml><?xml version="1.0" encoding="utf-8"?>
<ds:datastoreItem xmlns:ds="http://schemas.openxmlformats.org/officeDocument/2006/customXml" ds:itemID="{E035DA88-201B-4438-B2D2-29482DE91BD6}">
  <ds:schemaRefs>
    <ds:schemaRef ds:uri="http://purl.org/dc/dcmitype/"/>
    <ds:schemaRef ds:uri="950cebf5-43a6-478c-b185-b8adcfe0a596"/>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843ef3d7-207f-4775-acfa-8d4c71c6f0b1"/>
    <ds:schemaRef ds:uri="http://www.w3.org/XML/1998/namespace"/>
  </ds:schemaRefs>
</ds:datastoreItem>
</file>

<file path=customXml/itemProps3.xml><?xml version="1.0" encoding="utf-8"?>
<ds:datastoreItem xmlns:ds="http://schemas.openxmlformats.org/officeDocument/2006/customXml" ds:itemID="{42AD5EAF-616E-4886-B496-638EF83724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3ef3d7-207f-4775-acfa-8d4c71c6f0b1"/>
    <ds:schemaRef ds:uri="950cebf5-43a6-478c-b185-b8adcfe0a5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729</TotalTime>
  <Words>2205</Words>
  <Application>Microsoft Office PowerPoint</Application>
  <PresentationFormat>Widescreen</PresentationFormat>
  <Paragraphs>289</Paragraphs>
  <Slides>2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9" baseType="lpstr">
      <vt:lpstr>Arial</vt:lpstr>
      <vt:lpstr>Gotham Rounded Bold</vt:lpstr>
      <vt:lpstr>Gotham Rounded Book</vt:lpstr>
      <vt:lpstr>Verdana</vt:lpstr>
      <vt:lpstr>Blank</vt:lpstr>
      <vt:lpstr>think-cell Slide</vt:lpstr>
      <vt:lpstr>Integrating Sustainability in Construction Contracts</vt:lpstr>
      <vt:lpstr>Agenda</vt:lpstr>
      <vt:lpstr>Who we are</vt:lpstr>
      <vt:lpstr>Ramboll in brief</vt:lpstr>
      <vt:lpstr>Geographical footprint</vt:lpstr>
      <vt:lpstr>All in on Sustainability</vt:lpstr>
      <vt:lpstr>PowerPoint Presentation</vt:lpstr>
      <vt:lpstr>Green is not always green and green can often be greener</vt:lpstr>
      <vt:lpstr>Case example 1: CopenHill</vt:lpstr>
      <vt:lpstr>Case example 2: Aflandshage</vt:lpstr>
      <vt:lpstr>Case example 3: Fehmarn Tunnel</vt:lpstr>
      <vt:lpstr>PowerPoint Presentation</vt:lpstr>
      <vt:lpstr>Consider sustainability goals as an integrated part of the procurement process</vt:lpstr>
      <vt:lpstr>Aligning sustainability policies/regulations – e.g., EU Taxonomy</vt:lpstr>
      <vt:lpstr>There are no secret tricks – it all comes down to good and consistent practices, which can be tough to maintain</vt:lpstr>
      <vt:lpstr>PowerPoint Presentation</vt:lpstr>
      <vt:lpstr>Why do contracts need to be managed?</vt:lpstr>
      <vt:lpstr>Structured approach to managing sustainability initiatives throughout contract execution</vt:lpstr>
      <vt:lpstr>There are no secret tricks – it all comes down to good and consistent practices, which can be tough to maintain</vt:lpstr>
      <vt:lpstr>PowerPoint Presentation</vt:lpstr>
      <vt:lpstr>Sustainability often starts with a broad dialogue before it is narrowed down to specific initiatives</vt:lpstr>
      <vt:lpstr>Thank you for your tim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ing Sustainability in Construction Contracts</dc:title>
  <dc:creator>Lars Boe Riber</dc:creator>
  <cp:lastModifiedBy>Lars Boe Riber</cp:lastModifiedBy>
  <cp:revision>2</cp:revision>
  <dcterms:created xsi:type="dcterms:W3CDTF">2022-11-10T15:41:57Z</dcterms:created>
  <dcterms:modified xsi:type="dcterms:W3CDTF">2022-11-29T07:5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2-11-10T15:41:57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961bfbb8-5804-494b-aae6-859727d82034</vt:lpwstr>
  </property>
  <property fmtid="{D5CDD505-2E9C-101B-9397-08002B2CF9AE}" pid="8" name="MSIP_Label_20ea7001-5c24-4702-a3ac-e436ccb02747_ContentBits">
    <vt:lpwstr>2</vt:lpwstr>
  </property>
  <property fmtid="{D5CDD505-2E9C-101B-9397-08002B2CF9AE}" pid="9" name="ContentTypeId">
    <vt:lpwstr>0x01010091F27C5302F48A429B5381DE15A54C23</vt:lpwstr>
  </property>
</Properties>
</file>